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2" r:id="rId2"/>
    <p:sldMasterId id="2147483671" r:id="rId3"/>
    <p:sldMasterId id="2147483683" r:id="rId4"/>
  </p:sldMasterIdLst>
  <p:notesMasterIdLst>
    <p:notesMasterId r:id="rId29"/>
  </p:notesMasterIdLst>
  <p:sldIdLst>
    <p:sldId id="256" r:id="rId5"/>
    <p:sldId id="3389" r:id="rId6"/>
    <p:sldId id="276" r:id="rId7"/>
    <p:sldId id="3390" r:id="rId8"/>
    <p:sldId id="3348" r:id="rId9"/>
    <p:sldId id="3351" r:id="rId10"/>
    <p:sldId id="271" r:id="rId11"/>
    <p:sldId id="3352" r:id="rId12"/>
    <p:sldId id="3350" r:id="rId13"/>
    <p:sldId id="269" r:id="rId14"/>
    <p:sldId id="270" r:id="rId15"/>
    <p:sldId id="3388" r:id="rId16"/>
    <p:sldId id="280" r:id="rId17"/>
    <p:sldId id="3395" r:id="rId18"/>
    <p:sldId id="3349" r:id="rId19"/>
    <p:sldId id="3381" r:id="rId20"/>
    <p:sldId id="3382" r:id="rId21"/>
    <p:sldId id="3380" r:id="rId22"/>
    <p:sldId id="3383" r:id="rId23"/>
    <p:sldId id="3347" r:id="rId24"/>
    <p:sldId id="3392" r:id="rId25"/>
    <p:sldId id="290" r:id="rId26"/>
    <p:sldId id="273" r:id="rId27"/>
    <p:sldId id="3379" r:id="rId28"/>
  </p:sldIdLst>
  <p:sldSz cx="12192000" cy="6858000"/>
  <p:notesSz cx="10018713" cy="68865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0DA605-75BC-8546-8C55-734C97B6418C}" v="3" dt="2024-07-25T09:13:02.1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89" autoAdjust="0"/>
    <p:restoredTop sz="94726"/>
  </p:normalViewPr>
  <p:slideViewPr>
    <p:cSldViewPr snapToGrid="0">
      <p:cViewPr varScale="1">
        <p:scale>
          <a:sx n="76" d="100"/>
          <a:sy n="76" d="100"/>
        </p:scale>
        <p:origin x="624" y="90"/>
      </p:cViewPr>
      <p:guideLst/>
    </p:cSldViewPr>
  </p:slideViewPr>
  <p:notesTextViewPr>
    <p:cViewPr>
      <p:scale>
        <a:sx n="20" d="100"/>
        <a:sy n="2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r Deepak Birewar" userId="d3524f07c6b26da6" providerId="LiveId" clId="{1280D893-CFB9-DF45-ADBC-B2CEBA1959EA}"/>
    <pc:docChg chg="modSld">
      <pc:chgData name="Dr Deepak Birewar" userId="d3524f07c6b26da6" providerId="LiveId" clId="{1280D893-CFB9-DF45-ADBC-B2CEBA1959EA}" dt="2024-06-05T02:10:39.046" v="3" actId="20577"/>
      <pc:docMkLst>
        <pc:docMk/>
      </pc:docMkLst>
      <pc:sldChg chg="modSp mod">
        <pc:chgData name="Dr Deepak Birewar" userId="d3524f07c6b26da6" providerId="LiveId" clId="{1280D893-CFB9-DF45-ADBC-B2CEBA1959EA}" dt="2024-06-05T02:10:39.046" v="3" actId="20577"/>
        <pc:sldMkLst>
          <pc:docMk/>
          <pc:sldMk cId="3293246889" sldId="3379"/>
        </pc:sldMkLst>
        <pc:spChg chg="mod">
          <ac:chgData name="Dr Deepak Birewar" userId="d3524f07c6b26da6" providerId="LiveId" clId="{1280D893-CFB9-DF45-ADBC-B2CEBA1959EA}" dt="2024-06-05T02:10:34.267" v="1" actId="20577"/>
          <ac:spMkLst>
            <pc:docMk/>
            <pc:sldMk cId="3293246889" sldId="3379"/>
            <ac:spMk id="8" creationId="{B8226FEA-6A86-D0B6-5D73-3594051ACDA0}"/>
          </ac:spMkLst>
        </pc:spChg>
        <pc:spChg chg="mod">
          <ac:chgData name="Dr Deepak Birewar" userId="d3524f07c6b26da6" providerId="LiveId" clId="{1280D893-CFB9-DF45-ADBC-B2CEBA1959EA}" dt="2024-06-05T02:10:39.046" v="3" actId="20577"/>
          <ac:spMkLst>
            <pc:docMk/>
            <pc:sldMk cId="3293246889" sldId="3379"/>
            <ac:spMk id="11" creationId="{5525B635-BD22-ADD2-8F11-C4E5A322AC04}"/>
          </ac:spMkLst>
        </pc:spChg>
      </pc:sldChg>
    </pc:docChg>
  </pc:docChgLst>
  <pc:docChgLst>
    <pc:chgData name="Dr Deepak Birewar" userId="d3524f07c6b26da6" providerId="LiveId" clId="{5A0DA605-75BC-8546-8C55-734C97B6418C}"/>
    <pc:docChg chg="undo custSel modSld">
      <pc:chgData name="Dr Deepak Birewar" userId="d3524f07c6b26da6" providerId="LiveId" clId="{5A0DA605-75BC-8546-8C55-734C97B6418C}" dt="2024-08-02T07:32:33.279" v="236" actId="1035"/>
      <pc:docMkLst>
        <pc:docMk/>
      </pc:docMkLst>
      <pc:sldChg chg="modSp mod">
        <pc:chgData name="Dr Deepak Birewar" userId="d3524f07c6b26da6" providerId="LiveId" clId="{5A0DA605-75BC-8546-8C55-734C97B6418C}" dt="2024-08-02T07:32:33.279" v="236" actId="1035"/>
        <pc:sldMkLst>
          <pc:docMk/>
          <pc:sldMk cId="4279584541" sldId="3389"/>
        </pc:sldMkLst>
        <pc:spChg chg="mod">
          <ac:chgData name="Dr Deepak Birewar" userId="d3524f07c6b26da6" providerId="LiveId" clId="{5A0DA605-75BC-8546-8C55-734C97B6418C}" dt="2024-08-02T07:32:27.664" v="235" actId="1035"/>
          <ac:spMkLst>
            <pc:docMk/>
            <pc:sldMk cId="4279584541" sldId="3389"/>
            <ac:spMk id="25" creationId="{204983A2-B919-4E27-B694-522D0466787A}"/>
          </ac:spMkLst>
        </pc:spChg>
        <pc:spChg chg="mod">
          <ac:chgData name="Dr Deepak Birewar" userId="d3524f07c6b26da6" providerId="LiveId" clId="{5A0DA605-75BC-8546-8C55-734C97B6418C}" dt="2024-08-02T07:32:33.279" v="236" actId="1035"/>
          <ac:spMkLst>
            <pc:docMk/>
            <pc:sldMk cId="4279584541" sldId="3389"/>
            <ac:spMk id="33" creationId="{C81A1A3A-9D06-47B8-A7B4-A6C40C549A2C}"/>
          </ac:spMkLst>
        </pc:spChg>
        <pc:spChg chg="mod">
          <ac:chgData name="Dr Deepak Birewar" userId="d3524f07c6b26da6" providerId="LiveId" clId="{5A0DA605-75BC-8546-8C55-734C97B6418C}" dt="2024-08-02T07:32:19.506" v="229" actId="1035"/>
          <ac:spMkLst>
            <pc:docMk/>
            <pc:sldMk cId="4279584541" sldId="3389"/>
            <ac:spMk id="62" creationId="{8F3C5D35-114C-4749-B963-0DCF58C4195A}"/>
          </ac:spMkLst>
        </pc:spChg>
      </pc:sldChg>
      <pc:sldChg chg="addSp modSp mod">
        <pc:chgData name="Dr Deepak Birewar" userId="d3524f07c6b26da6" providerId="LiveId" clId="{5A0DA605-75BC-8546-8C55-734C97B6418C}" dt="2024-07-25T09:15:33.919" v="205" actId="20577"/>
        <pc:sldMkLst>
          <pc:docMk/>
          <pc:sldMk cId="1280757294" sldId="3392"/>
        </pc:sldMkLst>
        <pc:spChg chg="mod">
          <ac:chgData name="Dr Deepak Birewar" userId="d3524f07c6b26da6" providerId="LiveId" clId="{5A0DA605-75BC-8546-8C55-734C97B6418C}" dt="2024-07-25T09:15:13.596" v="202" actId="207"/>
          <ac:spMkLst>
            <pc:docMk/>
            <pc:sldMk cId="1280757294" sldId="3392"/>
            <ac:spMk id="2" creationId="{1616D621-FE24-9D15-FD2B-7F802EA082F0}"/>
          </ac:spMkLst>
        </pc:spChg>
        <pc:graphicFrameChg chg="modGraphic">
          <ac:chgData name="Dr Deepak Birewar" userId="d3524f07c6b26da6" providerId="LiveId" clId="{5A0DA605-75BC-8546-8C55-734C97B6418C}" dt="2024-07-25T09:12:46.643" v="23" actId="14100"/>
          <ac:graphicFrameMkLst>
            <pc:docMk/>
            <pc:sldMk cId="1280757294" sldId="3392"/>
            <ac:graphicFrameMk id="3" creationId="{717927A1-AC75-4013-9879-8A42FF5B0BB3}"/>
          </ac:graphicFrameMkLst>
        </pc:graphicFrameChg>
        <pc:graphicFrameChg chg="add mod modGraphic">
          <ac:chgData name="Dr Deepak Birewar" userId="d3524f07c6b26da6" providerId="LiveId" clId="{5A0DA605-75BC-8546-8C55-734C97B6418C}" dt="2024-07-25T09:15:33.919" v="205" actId="20577"/>
          <ac:graphicFrameMkLst>
            <pc:docMk/>
            <pc:sldMk cId="1280757294" sldId="3392"/>
            <ac:graphicFrameMk id="4" creationId="{A6637957-E0E1-3CBF-5026-92E463F18F65}"/>
          </ac:graphicFrameMkLst>
        </pc:graphicFrameChg>
        <pc:graphicFrameChg chg="mod modGraphic">
          <ac:chgData name="Dr Deepak Birewar" userId="d3524f07c6b26da6" providerId="LiveId" clId="{5A0DA605-75BC-8546-8C55-734C97B6418C}" dt="2024-07-25T09:13:30.731" v="27" actId="2165"/>
          <ac:graphicFrameMkLst>
            <pc:docMk/>
            <pc:sldMk cId="1280757294" sldId="3392"/>
            <ac:graphicFrameMk id="7" creationId="{1A8E6CB0-7F90-4479-96EB-260198DE33D5}"/>
          </ac:graphicFrameMkLst>
        </pc:graphicFrameChg>
      </pc:sldChg>
    </pc:docChg>
  </pc:docChgLst>
  <pc:docChgLst>
    <pc:chgData name="Dr Deepak Birewar" userId="d3524f07c6b26da6" providerId="LiveId" clId="{8C0AE20D-3BBE-F14D-A574-2EF626C20C6D}"/>
    <pc:docChg chg="undo custSel addSld delSld modSld">
      <pc:chgData name="Dr Deepak Birewar" userId="d3524f07c6b26da6" providerId="LiveId" clId="{8C0AE20D-3BBE-F14D-A574-2EF626C20C6D}" dt="2024-05-13T10:18:16.072" v="469" actId="20577"/>
      <pc:docMkLst>
        <pc:docMk/>
      </pc:docMkLst>
      <pc:sldChg chg="modSp add mod">
        <pc:chgData name="Dr Deepak Birewar" userId="d3524f07c6b26da6" providerId="LiveId" clId="{8C0AE20D-3BBE-F14D-A574-2EF626C20C6D}" dt="2024-05-13T10:15:45.097" v="294" actId="20577"/>
        <pc:sldMkLst>
          <pc:docMk/>
          <pc:sldMk cId="1247916939" sldId="259"/>
        </pc:sldMkLst>
        <pc:spChg chg="mod">
          <ac:chgData name="Dr Deepak Birewar" userId="d3524f07c6b26da6" providerId="LiveId" clId="{8C0AE20D-3BBE-F14D-A574-2EF626C20C6D}" dt="2024-05-13T10:15:45.097" v="294" actId="20577"/>
          <ac:spMkLst>
            <pc:docMk/>
            <pc:sldMk cId="1247916939" sldId="259"/>
            <ac:spMk id="195" creationId="{88A4B920-409F-4A13-985C-5E9A2DD5436B}"/>
          </ac:spMkLst>
        </pc:spChg>
      </pc:sldChg>
      <pc:sldChg chg="modSp add del mod setBg">
        <pc:chgData name="Dr Deepak Birewar" userId="d3524f07c6b26da6" providerId="LiveId" clId="{8C0AE20D-3BBE-F14D-A574-2EF626C20C6D}" dt="2024-05-13T10:15:37.464" v="292"/>
        <pc:sldMkLst>
          <pc:docMk/>
          <pc:sldMk cId="2210596525" sldId="259"/>
        </pc:sldMkLst>
        <pc:spChg chg="mod">
          <ac:chgData name="Dr Deepak Birewar" userId="d3524f07c6b26da6" providerId="LiveId" clId="{8C0AE20D-3BBE-F14D-A574-2EF626C20C6D}" dt="2024-05-13T10:15:37.464" v="292"/>
          <ac:spMkLst>
            <pc:docMk/>
            <pc:sldMk cId="2210596525" sldId="259"/>
            <ac:spMk id="2" creationId="{14BBA487-97BB-4DD0-9FF8-6C233213D27D}"/>
          </ac:spMkLst>
        </pc:spChg>
      </pc:sldChg>
      <pc:sldChg chg="del">
        <pc:chgData name="Dr Deepak Birewar" userId="d3524f07c6b26da6" providerId="LiveId" clId="{8C0AE20D-3BBE-F14D-A574-2EF626C20C6D}" dt="2024-05-13T10:15:26.339" v="288" actId="2696"/>
        <pc:sldMkLst>
          <pc:docMk/>
          <pc:sldMk cId="2234769934" sldId="259"/>
        </pc:sldMkLst>
      </pc:sldChg>
      <pc:sldChg chg="add">
        <pc:chgData name="Dr Deepak Birewar" userId="d3524f07c6b26da6" providerId="LiveId" clId="{8C0AE20D-3BBE-F14D-A574-2EF626C20C6D}" dt="2024-05-13T10:15:37.528" v="293"/>
        <pc:sldMkLst>
          <pc:docMk/>
          <pc:sldMk cId="864619647" sldId="271"/>
        </pc:sldMkLst>
      </pc:sldChg>
      <pc:sldChg chg="add del modTransition">
        <pc:chgData name="Dr Deepak Birewar" userId="d3524f07c6b26da6" providerId="LiveId" clId="{8C0AE20D-3BBE-F14D-A574-2EF626C20C6D}" dt="2024-05-13T10:15:37.464" v="292"/>
        <pc:sldMkLst>
          <pc:docMk/>
          <pc:sldMk cId="3576793993" sldId="271"/>
        </pc:sldMkLst>
      </pc:sldChg>
      <pc:sldChg chg="del">
        <pc:chgData name="Dr Deepak Birewar" userId="d3524f07c6b26da6" providerId="LiveId" clId="{8C0AE20D-3BBE-F14D-A574-2EF626C20C6D}" dt="2024-05-13T10:15:26.339" v="288" actId="2696"/>
        <pc:sldMkLst>
          <pc:docMk/>
          <pc:sldMk cId="3925853259" sldId="271"/>
        </pc:sldMkLst>
      </pc:sldChg>
      <pc:sldChg chg="modSp">
        <pc:chgData name="Dr Deepak Birewar" userId="d3524f07c6b26da6" providerId="LiveId" clId="{8C0AE20D-3BBE-F14D-A574-2EF626C20C6D}" dt="2024-05-13T07:56:03.623" v="266" actId="20577"/>
        <pc:sldMkLst>
          <pc:docMk/>
          <pc:sldMk cId="683562709" sldId="273"/>
        </pc:sldMkLst>
        <pc:graphicFrameChg chg="mod">
          <ac:chgData name="Dr Deepak Birewar" userId="d3524f07c6b26da6" providerId="LiveId" clId="{8C0AE20D-3BBE-F14D-A574-2EF626C20C6D}" dt="2024-05-13T07:56:03.623" v="266" actId="20577"/>
          <ac:graphicFrameMkLst>
            <pc:docMk/>
            <pc:sldMk cId="683562709" sldId="273"/>
            <ac:graphicFrameMk id="22" creationId="{88908868-341D-29BE-EB64-6DF811531379}"/>
          </ac:graphicFrameMkLst>
        </pc:graphicFrameChg>
      </pc:sldChg>
      <pc:sldChg chg="modSp">
        <pc:chgData name="Dr Deepak Birewar" userId="d3524f07c6b26da6" providerId="LiveId" clId="{8C0AE20D-3BBE-F14D-A574-2EF626C20C6D}" dt="2024-05-13T10:18:16.072" v="469" actId="20577"/>
        <pc:sldMkLst>
          <pc:docMk/>
          <pc:sldMk cId="3408753520" sldId="3347"/>
        </pc:sldMkLst>
        <pc:graphicFrameChg chg="mod">
          <ac:chgData name="Dr Deepak Birewar" userId="d3524f07c6b26da6" providerId="LiveId" clId="{8C0AE20D-3BBE-F14D-A574-2EF626C20C6D}" dt="2024-05-13T10:18:16.072" v="469" actId="20577"/>
          <ac:graphicFrameMkLst>
            <pc:docMk/>
            <pc:sldMk cId="3408753520" sldId="3347"/>
            <ac:graphicFrameMk id="22" creationId="{88908868-341D-29BE-EB64-6DF811531379}"/>
          </ac:graphicFrameMkLst>
        </pc:graphicFrameChg>
      </pc:sldChg>
      <pc:sldChg chg="del">
        <pc:chgData name="Dr Deepak Birewar" userId="d3524f07c6b26da6" providerId="LiveId" clId="{8C0AE20D-3BBE-F14D-A574-2EF626C20C6D}" dt="2024-05-13T07:56:26.029" v="267" actId="2696"/>
        <pc:sldMkLst>
          <pc:docMk/>
          <pc:sldMk cId="2542175286" sldId="3387"/>
        </pc:sldMkLst>
      </pc:sldChg>
      <pc:sldChg chg="modSp mod">
        <pc:chgData name="Dr Deepak Birewar" userId="d3524f07c6b26da6" providerId="LiveId" clId="{8C0AE20D-3BBE-F14D-A574-2EF626C20C6D}" dt="2024-05-13T10:15:08.384" v="287" actId="207"/>
        <pc:sldMkLst>
          <pc:docMk/>
          <pc:sldMk cId="4279584541" sldId="3389"/>
        </pc:sldMkLst>
        <pc:spChg chg="mod">
          <ac:chgData name="Dr Deepak Birewar" userId="d3524f07c6b26da6" providerId="LiveId" clId="{8C0AE20D-3BBE-F14D-A574-2EF626C20C6D}" dt="2024-05-13T10:15:08.384" v="287" actId="207"/>
          <ac:spMkLst>
            <pc:docMk/>
            <pc:sldMk cId="4279584541" sldId="3389"/>
            <ac:spMk id="22" creationId="{07E4F2F9-8121-42EB-A1D5-B06C8D0BD089}"/>
          </ac:spMkLst>
        </pc:spChg>
      </pc:sldChg>
      <pc:sldChg chg="modSp mod">
        <pc:chgData name="Dr Deepak Birewar" userId="d3524f07c6b26da6" providerId="LiveId" clId="{8C0AE20D-3BBE-F14D-A574-2EF626C20C6D}" dt="2024-05-13T07:21:40.156" v="46" actId="1035"/>
        <pc:sldMkLst>
          <pc:docMk/>
          <pc:sldMk cId="4204393309" sldId="3391"/>
        </pc:sldMkLst>
        <pc:graphicFrameChg chg="mod modGraphic">
          <ac:chgData name="Dr Deepak Birewar" userId="d3524f07c6b26da6" providerId="LiveId" clId="{8C0AE20D-3BBE-F14D-A574-2EF626C20C6D}" dt="2024-05-13T07:21:40.156" v="46" actId="1035"/>
          <ac:graphicFrameMkLst>
            <pc:docMk/>
            <pc:sldMk cId="4204393309" sldId="3391"/>
            <ac:graphicFrameMk id="3" creationId="{717927A1-AC75-4013-9879-8A42FF5B0BB3}"/>
          </ac:graphicFrameMkLst>
        </pc:graphicFrameChg>
        <pc:graphicFrameChg chg="mod">
          <ac:chgData name="Dr Deepak Birewar" userId="d3524f07c6b26da6" providerId="LiveId" clId="{8C0AE20D-3BBE-F14D-A574-2EF626C20C6D}" dt="2024-05-13T07:21:40.156" v="46" actId="1035"/>
          <ac:graphicFrameMkLst>
            <pc:docMk/>
            <pc:sldMk cId="4204393309" sldId="3391"/>
            <ac:graphicFrameMk id="7" creationId="{1A8E6CB0-7F90-4479-96EB-260198DE33D5}"/>
          </ac:graphicFrameMkLst>
        </pc:graphicFrameChg>
      </pc:sldChg>
      <pc:sldChg chg="addSp delSp modSp add mod modTransition">
        <pc:chgData name="Dr Deepak Birewar" userId="d3524f07c6b26da6" providerId="LiveId" clId="{8C0AE20D-3BBE-F14D-A574-2EF626C20C6D}" dt="2024-05-13T07:57:24.894" v="286" actId="403"/>
        <pc:sldMkLst>
          <pc:docMk/>
          <pc:sldMk cId="3811972765" sldId="3393"/>
        </pc:sldMkLst>
        <pc:spChg chg="add del mod">
          <ac:chgData name="Dr Deepak Birewar" userId="d3524f07c6b26da6" providerId="LiveId" clId="{8C0AE20D-3BBE-F14D-A574-2EF626C20C6D}" dt="2024-05-13T07:57:03.465" v="279" actId="122"/>
          <ac:spMkLst>
            <pc:docMk/>
            <pc:sldMk cId="3811972765" sldId="3393"/>
            <ac:spMk id="2" creationId="{21F3EC23-F5D6-4270-A796-8E6D8DDAEC90}"/>
          </ac:spMkLst>
        </pc:spChg>
        <pc:spChg chg="mod">
          <ac:chgData name="Dr Deepak Birewar" userId="d3524f07c6b26da6" providerId="LiveId" clId="{8C0AE20D-3BBE-F14D-A574-2EF626C20C6D}" dt="2024-05-13T07:54:53.751" v="249" actId="27636"/>
          <ac:spMkLst>
            <pc:docMk/>
            <pc:sldMk cId="3811972765" sldId="3393"/>
            <ac:spMk id="3" creationId="{AE189C81-94FE-4C17-BDC2-C0E714EC75AF}"/>
          </ac:spMkLst>
        </pc:spChg>
        <pc:spChg chg="add del mod">
          <ac:chgData name="Dr Deepak Birewar" userId="d3524f07c6b26da6" providerId="LiveId" clId="{8C0AE20D-3BBE-F14D-A574-2EF626C20C6D}" dt="2024-05-13T07:55:00.232" v="251" actId="478"/>
          <ac:spMkLst>
            <pc:docMk/>
            <pc:sldMk cId="3811972765" sldId="3393"/>
            <ac:spMk id="5" creationId="{83FEBD21-7E76-26EF-FF47-E522985FBAFD}"/>
          </ac:spMkLst>
        </pc:spChg>
        <pc:graphicFrameChg chg="mod modGraphic">
          <ac:chgData name="Dr Deepak Birewar" userId="d3524f07c6b26da6" providerId="LiveId" clId="{8C0AE20D-3BBE-F14D-A574-2EF626C20C6D}" dt="2024-05-13T07:57:24.894" v="286" actId="403"/>
          <ac:graphicFrameMkLst>
            <pc:docMk/>
            <pc:sldMk cId="3811972765" sldId="3393"/>
            <ac:graphicFrameMk id="11" creationId="{050857AF-8DA9-082D-08A9-17D7F8976689}"/>
          </ac:graphicFrameMkLst>
        </pc:graphicFrameChg>
        <pc:graphicFrameChg chg="mod modGraphic">
          <ac:chgData name="Dr Deepak Birewar" userId="d3524f07c6b26da6" providerId="LiveId" clId="{8C0AE20D-3BBE-F14D-A574-2EF626C20C6D}" dt="2024-05-13T07:56:54.646" v="277" actId="403"/>
          <ac:graphicFrameMkLst>
            <pc:docMk/>
            <pc:sldMk cId="3811972765" sldId="3393"/>
            <ac:graphicFrameMk id="19" creationId="{DA77D5CA-70A3-CFD8-0E1E-A1DD5D070546}"/>
          </ac:graphicFrameMkLst>
        </pc:graphicFrameChg>
        <pc:picChg chg="mod">
          <ac:chgData name="Dr Deepak Birewar" userId="d3524f07c6b26da6" providerId="LiveId" clId="{8C0AE20D-3BBE-F14D-A574-2EF626C20C6D}" dt="2024-05-13T07:53:31.064" v="143" actId="1035"/>
          <ac:picMkLst>
            <pc:docMk/>
            <pc:sldMk cId="3811972765" sldId="3393"/>
            <ac:picMk id="13" creationId="{902D3557-990B-4267-BBE7-4EAAD11A1A2D}"/>
          </ac:picMkLst>
        </pc:picChg>
        <pc:picChg chg="mod">
          <ac:chgData name="Dr Deepak Birewar" userId="d3524f07c6b26da6" providerId="LiveId" clId="{8C0AE20D-3BBE-F14D-A574-2EF626C20C6D}" dt="2024-05-13T07:53:36.931" v="155" actId="1036"/>
          <ac:picMkLst>
            <pc:docMk/>
            <pc:sldMk cId="3811972765" sldId="3393"/>
            <ac:picMk id="15" creationId="{FF41E3AF-3B25-9256-15E9-11107175EFE8}"/>
          </ac:picMkLst>
        </pc:picChg>
        <pc:picChg chg="mod">
          <ac:chgData name="Dr Deepak Birewar" userId="d3524f07c6b26da6" providerId="LiveId" clId="{8C0AE20D-3BBE-F14D-A574-2EF626C20C6D}" dt="2024-05-13T07:53:42.596" v="170" actId="1037"/>
          <ac:picMkLst>
            <pc:docMk/>
            <pc:sldMk cId="3811972765" sldId="3393"/>
            <ac:picMk id="17" creationId="{305365C4-553D-BA8B-D1A1-0523E123418E}"/>
          </ac:picMkLst>
        </pc:picChg>
        <pc:picChg chg="mod">
          <ac:chgData name="Dr Deepak Birewar" userId="d3524f07c6b26da6" providerId="LiveId" clId="{8C0AE20D-3BBE-F14D-A574-2EF626C20C6D}" dt="2024-05-13T07:54:14.311" v="208" actId="1036"/>
          <ac:picMkLst>
            <pc:docMk/>
            <pc:sldMk cId="3811972765" sldId="3393"/>
            <ac:picMk id="21" creationId="{D5F6E360-A44B-6461-C428-0B6D8236C62B}"/>
          </ac:picMkLst>
        </pc:picChg>
        <pc:picChg chg="mod">
          <ac:chgData name="Dr Deepak Birewar" userId="d3524f07c6b26da6" providerId="LiveId" clId="{8C0AE20D-3BBE-F14D-A574-2EF626C20C6D}" dt="2024-05-13T07:54:20.489" v="222" actId="1035"/>
          <ac:picMkLst>
            <pc:docMk/>
            <pc:sldMk cId="3811972765" sldId="3393"/>
            <ac:picMk id="23" creationId="{D08293D4-048E-F0B2-3435-E07585470816}"/>
          </ac:picMkLst>
        </pc:picChg>
        <pc:picChg chg="mod">
          <ac:chgData name="Dr Deepak Birewar" userId="d3524f07c6b26da6" providerId="LiveId" clId="{8C0AE20D-3BBE-F14D-A574-2EF626C20C6D}" dt="2024-05-13T07:54:27.899" v="245" actId="1038"/>
          <ac:picMkLst>
            <pc:docMk/>
            <pc:sldMk cId="3811972765" sldId="3393"/>
            <ac:picMk id="24" creationId="{4E0BF76A-053A-C7DE-4BF8-5BBAC000A7C3}"/>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Admin\Downloads\Peers%20Valuation-Nikhil.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dmin\Downloads\Peers%20Valuation-Nikhil.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73887994650026"/>
          <c:y val="9.3890007507138079E-2"/>
          <c:w val="0.55140031094292097"/>
          <c:h val="0.8122199849857239"/>
        </c:manualLayout>
      </c:layout>
      <c:doughnutChart>
        <c:varyColors val="1"/>
        <c:ser>
          <c:idx val="0"/>
          <c:order val="0"/>
          <c:spPr>
            <a:ln>
              <a:noFill/>
            </a:ln>
          </c:spPr>
          <c:dPt>
            <c:idx val="0"/>
            <c:bubble3D val="0"/>
            <c:spPr>
              <a:solidFill>
                <a:schemeClr val="accent1">
                  <a:lumMod val="60000"/>
                  <a:lumOff val="40000"/>
                </a:schemeClr>
              </a:solidFill>
              <a:ln w="19050">
                <a:noFill/>
              </a:ln>
              <a:effectLst/>
            </c:spPr>
            <c:extLst>
              <c:ext xmlns:c16="http://schemas.microsoft.com/office/drawing/2014/chart" uri="{C3380CC4-5D6E-409C-BE32-E72D297353CC}">
                <c16:uniqueId val="{00000001-1185-4882-B67C-AC9A04BA6CB0}"/>
              </c:ext>
            </c:extLst>
          </c:dPt>
          <c:dPt>
            <c:idx val="1"/>
            <c:bubble3D val="0"/>
            <c:spPr>
              <a:solidFill>
                <a:schemeClr val="accent2"/>
              </a:solidFill>
              <a:ln w="19050">
                <a:noFill/>
              </a:ln>
              <a:effectLst/>
            </c:spPr>
            <c:extLst>
              <c:ext xmlns:c16="http://schemas.microsoft.com/office/drawing/2014/chart" uri="{C3380CC4-5D6E-409C-BE32-E72D297353CC}">
                <c16:uniqueId val="{00000003-1185-4882-B67C-AC9A04BA6CB0}"/>
              </c:ext>
            </c:extLst>
          </c:dPt>
          <c:dPt>
            <c:idx val="2"/>
            <c:bubble3D val="0"/>
            <c:spPr>
              <a:solidFill>
                <a:schemeClr val="accent3"/>
              </a:solidFill>
              <a:ln w="19050">
                <a:noFill/>
              </a:ln>
              <a:effectLst/>
            </c:spPr>
            <c:extLst>
              <c:ext xmlns:c16="http://schemas.microsoft.com/office/drawing/2014/chart" uri="{C3380CC4-5D6E-409C-BE32-E72D297353CC}">
                <c16:uniqueId val="{00000005-1185-4882-B67C-AC9A04BA6CB0}"/>
              </c:ext>
            </c:extLst>
          </c:dPt>
          <c:dPt>
            <c:idx val="3"/>
            <c:bubble3D val="0"/>
            <c:spPr>
              <a:solidFill>
                <a:schemeClr val="accent4"/>
              </a:solidFill>
              <a:ln w="19050">
                <a:noFill/>
              </a:ln>
              <a:effectLst/>
            </c:spPr>
            <c:extLst>
              <c:ext xmlns:c16="http://schemas.microsoft.com/office/drawing/2014/chart" uri="{C3380CC4-5D6E-409C-BE32-E72D297353CC}">
                <c16:uniqueId val="{00000007-1185-4882-B67C-AC9A04BA6CB0}"/>
              </c:ext>
            </c:extLst>
          </c:dPt>
          <c:dPt>
            <c:idx val="4"/>
            <c:bubble3D val="0"/>
            <c:spPr>
              <a:solidFill>
                <a:schemeClr val="accent5"/>
              </a:solidFill>
              <a:ln w="19050">
                <a:noFill/>
              </a:ln>
              <a:effectLst/>
            </c:spPr>
            <c:extLst>
              <c:ext xmlns:c16="http://schemas.microsoft.com/office/drawing/2014/chart" uri="{C3380CC4-5D6E-409C-BE32-E72D297353CC}">
                <c16:uniqueId val="{00000009-1185-4882-B67C-AC9A04BA6CB0}"/>
              </c:ext>
            </c:extLst>
          </c:dPt>
          <c:dPt>
            <c:idx val="5"/>
            <c:bubble3D val="0"/>
            <c:spPr>
              <a:solidFill>
                <a:schemeClr val="accent6"/>
              </a:solidFill>
              <a:ln w="19050">
                <a:noFill/>
              </a:ln>
              <a:effectLst/>
            </c:spPr>
            <c:extLst>
              <c:ext xmlns:c16="http://schemas.microsoft.com/office/drawing/2014/chart" uri="{C3380CC4-5D6E-409C-BE32-E72D297353CC}">
                <c16:uniqueId val="{0000000B-1185-4882-B67C-AC9A04BA6CB0}"/>
              </c:ext>
            </c:extLst>
          </c:dPt>
          <c:dPt>
            <c:idx val="6"/>
            <c:bubble3D val="0"/>
            <c:spPr>
              <a:solidFill>
                <a:schemeClr val="accent1">
                  <a:lumMod val="60000"/>
                </a:schemeClr>
              </a:solidFill>
              <a:ln w="19050">
                <a:noFill/>
              </a:ln>
              <a:effectLst/>
            </c:spPr>
            <c:extLst>
              <c:ext xmlns:c16="http://schemas.microsoft.com/office/drawing/2014/chart" uri="{C3380CC4-5D6E-409C-BE32-E72D297353CC}">
                <c16:uniqueId val="{0000000D-1185-4882-B67C-AC9A04BA6CB0}"/>
              </c:ext>
            </c:extLst>
          </c:dPt>
          <c:dPt>
            <c:idx val="7"/>
            <c:bubble3D val="0"/>
            <c:spPr>
              <a:solidFill>
                <a:schemeClr val="accent2">
                  <a:lumMod val="60000"/>
                </a:schemeClr>
              </a:solidFill>
              <a:ln w="19050">
                <a:noFill/>
              </a:ln>
              <a:effectLst/>
            </c:spPr>
            <c:extLst>
              <c:ext xmlns:c16="http://schemas.microsoft.com/office/drawing/2014/chart" uri="{C3380CC4-5D6E-409C-BE32-E72D297353CC}">
                <c16:uniqueId val="{0000000F-1185-4882-B67C-AC9A04BA6CB0}"/>
              </c:ext>
            </c:extLst>
          </c:dPt>
          <c:dPt>
            <c:idx val="8"/>
            <c:bubble3D val="0"/>
            <c:spPr>
              <a:solidFill>
                <a:schemeClr val="accent3">
                  <a:lumMod val="60000"/>
                </a:schemeClr>
              </a:solidFill>
              <a:ln w="19050">
                <a:noFill/>
              </a:ln>
              <a:effectLst/>
            </c:spPr>
            <c:extLst>
              <c:ext xmlns:c16="http://schemas.microsoft.com/office/drawing/2014/chart" uri="{C3380CC4-5D6E-409C-BE32-E72D297353CC}">
                <c16:uniqueId val="{00000011-1185-4882-B67C-AC9A04BA6CB0}"/>
              </c:ext>
            </c:extLst>
          </c:dPt>
          <c:dPt>
            <c:idx val="9"/>
            <c:bubble3D val="0"/>
            <c:spPr>
              <a:solidFill>
                <a:schemeClr val="accent4">
                  <a:lumMod val="60000"/>
                </a:schemeClr>
              </a:solidFill>
              <a:ln w="19050">
                <a:noFill/>
              </a:ln>
              <a:effectLst/>
            </c:spPr>
            <c:extLst>
              <c:ext xmlns:c16="http://schemas.microsoft.com/office/drawing/2014/chart" uri="{C3380CC4-5D6E-409C-BE32-E72D297353CC}">
                <c16:uniqueId val="{00000013-1185-4882-B67C-AC9A04BA6CB0}"/>
              </c:ext>
            </c:extLst>
          </c:dPt>
          <c:dPt>
            <c:idx val="10"/>
            <c:bubble3D val="0"/>
            <c:spPr>
              <a:solidFill>
                <a:schemeClr val="accent5">
                  <a:lumMod val="60000"/>
                </a:schemeClr>
              </a:solidFill>
              <a:ln w="19050">
                <a:noFill/>
              </a:ln>
              <a:effectLst/>
            </c:spPr>
            <c:extLst>
              <c:ext xmlns:c16="http://schemas.microsoft.com/office/drawing/2014/chart" uri="{C3380CC4-5D6E-409C-BE32-E72D297353CC}">
                <c16:uniqueId val="{00000015-1185-4882-B67C-AC9A04BA6CB0}"/>
              </c:ext>
            </c:extLst>
          </c:dPt>
          <c:dPt>
            <c:idx val="11"/>
            <c:bubble3D val="0"/>
            <c:spPr>
              <a:solidFill>
                <a:schemeClr val="accent6">
                  <a:lumMod val="60000"/>
                </a:schemeClr>
              </a:solidFill>
              <a:ln w="19050">
                <a:noFill/>
              </a:ln>
              <a:effectLst/>
            </c:spPr>
            <c:extLst>
              <c:ext xmlns:c16="http://schemas.microsoft.com/office/drawing/2014/chart" uri="{C3380CC4-5D6E-409C-BE32-E72D297353CC}">
                <c16:uniqueId val="{00000017-1185-4882-B67C-AC9A04BA6CB0}"/>
              </c:ext>
            </c:extLst>
          </c:dPt>
          <c:dPt>
            <c:idx val="12"/>
            <c:bubble3D val="0"/>
            <c:spPr>
              <a:solidFill>
                <a:schemeClr val="accent1">
                  <a:lumMod val="80000"/>
                  <a:lumOff val="20000"/>
                </a:schemeClr>
              </a:solidFill>
              <a:ln w="19050">
                <a:noFill/>
              </a:ln>
              <a:effectLst/>
            </c:spPr>
            <c:extLst>
              <c:ext xmlns:c16="http://schemas.microsoft.com/office/drawing/2014/chart" uri="{C3380CC4-5D6E-409C-BE32-E72D297353CC}">
                <c16:uniqueId val="{00000019-1185-4882-B67C-AC9A04BA6CB0}"/>
              </c:ext>
            </c:extLst>
          </c:dPt>
          <c:dPt>
            <c:idx val="13"/>
            <c:bubble3D val="0"/>
            <c:spPr>
              <a:solidFill>
                <a:schemeClr val="accent2">
                  <a:lumMod val="80000"/>
                  <a:lumOff val="20000"/>
                </a:schemeClr>
              </a:solidFill>
              <a:ln w="19050">
                <a:noFill/>
              </a:ln>
              <a:effectLst/>
            </c:spPr>
            <c:extLst>
              <c:ext xmlns:c16="http://schemas.microsoft.com/office/drawing/2014/chart" uri="{C3380CC4-5D6E-409C-BE32-E72D297353CC}">
                <c16:uniqueId val="{0000001B-1185-4882-B67C-AC9A04BA6CB0}"/>
              </c:ext>
            </c:extLst>
          </c:dPt>
          <c:dPt>
            <c:idx val="14"/>
            <c:bubble3D val="0"/>
            <c:spPr>
              <a:solidFill>
                <a:schemeClr val="accent3">
                  <a:lumMod val="80000"/>
                  <a:lumOff val="20000"/>
                </a:schemeClr>
              </a:solidFill>
              <a:ln w="19050">
                <a:noFill/>
              </a:ln>
              <a:effectLst/>
            </c:spPr>
            <c:extLst>
              <c:ext xmlns:c16="http://schemas.microsoft.com/office/drawing/2014/chart" uri="{C3380CC4-5D6E-409C-BE32-E72D297353CC}">
                <c16:uniqueId val="{0000001D-1185-4882-B67C-AC9A04BA6CB0}"/>
              </c:ext>
            </c:extLst>
          </c:dPt>
          <c:dPt>
            <c:idx val="15"/>
            <c:bubble3D val="0"/>
            <c:spPr>
              <a:solidFill>
                <a:schemeClr val="accent4">
                  <a:lumMod val="80000"/>
                  <a:lumOff val="20000"/>
                </a:schemeClr>
              </a:solidFill>
              <a:ln w="19050">
                <a:noFill/>
              </a:ln>
              <a:effectLst/>
            </c:spPr>
            <c:extLst>
              <c:ext xmlns:c16="http://schemas.microsoft.com/office/drawing/2014/chart" uri="{C3380CC4-5D6E-409C-BE32-E72D297353CC}">
                <c16:uniqueId val="{0000001F-1185-4882-B67C-AC9A04BA6CB0}"/>
              </c:ext>
            </c:extLst>
          </c:dPt>
          <c:dPt>
            <c:idx val="16"/>
            <c:bubble3D val="0"/>
            <c:spPr>
              <a:solidFill>
                <a:schemeClr val="accent5">
                  <a:lumMod val="80000"/>
                  <a:lumOff val="20000"/>
                </a:schemeClr>
              </a:solidFill>
              <a:ln w="19050">
                <a:noFill/>
              </a:ln>
              <a:effectLst/>
            </c:spPr>
            <c:extLst>
              <c:ext xmlns:c16="http://schemas.microsoft.com/office/drawing/2014/chart" uri="{C3380CC4-5D6E-409C-BE32-E72D297353CC}">
                <c16:uniqueId val="{00000021-1185-4882-B67C-AC9A04BA6CB0}"/>
              </c:ext>
            </c:extLst>
          </c:dPt>
          <c:dPt>
            <c:idx val="17"/>
            <c:bubble3D val="0"/>
            <c:spPr>
              <a:solidFill>
                <a:schemeClr val="accent6">
                  <a:lumMod val="80000"/>
                  <a:lumOff val="20000"/>
                </a:schemeClr>
              </a:solidFill>
              <a:ln w="19050">
                <a:noFill/>
              </a:ln>
              <a:effectLst/>
            </c:spPr>
            <c:extLst>
              <c:ext xmlns:c16="http://schemas.microsoft.com/office/drawing/2014/chart" uri="{C3380CC4-5D6E-409C-BE32-E72D297353CC}">
                <c16:uniqueId val="{00000023-1185-4882-B67C-AC9A04BA6CB0}"/>
              </c:ext>
            </c:extLst>
          </c:dPt>
          <c:dPt>
            <c:idx val="18"/>
            <c:bubble3D val="0"/>
            <c:spPr>
              <a:solidFill>
                <a:schemeClr val="accent1">
                  <a:lumMod val="80000"/>
                </a:schemeClr>
              </a:solidFill>
              <a:ln w="19050">
                <a:noFill/>
              </a:ln>
              <a:effectLst/>
            </c:spPr>
            <c:extLst>
              <c:ext xmlns:c16="http://schemas.microsoft.com/office/drawing/2014/chart" uri="{C3380CC4-5D6E-409C-BE32-E72D297353CC}">
                <c16:uniqueId val="{00000025-1185-4882-B67C-AC9A04BA6CB0}"/>
              </c:ext>
            </c:extLst>
          </c:dPt>
          <c:dPt>
            <c:idx val="19"/>
            <c:bubble3D val="0"/>
            <c:spPr>
              <a:solidFill>
                <a:schemeClr val="accent2">
                  <a:lumMod val="80000"/>
                </a:schemeClr>
              </a:solidFill>
              <a:ln w="19050">
                <a:noFill/>
              </a:ln>
              <a:effectLst/>
            </c:spPr>
            <c:extLst>
              <c:ext xmlns:c16="http://schemas.microsoft.com/office/drawing/2014/chart" uri="{C3380CC4-5D6E-409C-BE32-E72D297353CC}">
                <c16:uniqueId val="{00000027-1185-4882-B67C-AC9A04BA6CB0}"/>
              </c:ext>
            </c:extLst>
          </c:dPt>
          <c:dPt>
            <c:idx val="20"/>
            <c:bubble3D val="0"/>
            <c:spPr>
              <a:solidFill>
                <a:schemeClr val="accent3">
                  <a:lumMod val="80000"/>
                </a:schemeClr>
              </a:solidFill>
              <a:ln w="19050">
                <a:noFill/>
              </a:ln>
              <a:effectLst/>
            </c:spPr>
            <c:extLst>
              <c:ext xmlns:c16="http://schemas.microsoft.com/office/drawing/2014/chart" uri="{C3380CC4-5D6E-409C-BE32-E72D297353CC}">
                <c16:uniqueId val="{00000029-1185-4882-B67C-AC9A04BA6CB0}"/>
              </c:ext>
            </c:extLst>
          </c:dPt>
          <c:dPt>
            <c:idx val="21"/>
            <c:bubble3D val="0"/>
            <c:spPr>
              <a:solidFill>
                <a:schemeClr val="accent4">
                  <a:lumMod val="80000"/>
                </a:schemeClr>
              </a:solidFill>
              <a:ln w="19050">
                <a:noFill/>
              </a:ln>
              <a:effectLst/>
            </c:spPr>
            <c:extLst>
              <c:ext xmlns:c16="http://schemas.microsoft.com/office/drawing/2014/chart" uri="{C3380CC4-5D6E-409C-BE32-E72D297353CC}">
                <c16:uniqueId val="{0000002B-1185-4882-B67C-AC9A04BA6CB0}"/>
              </c:ext>
            </c:extLst>
          </c:dPt>
          <c:dPt>
            <c:idx val="22"/>
            <c:bubble3D val="0"/>
            <c:spPr>
              <a:solidFill>
                <a:schemeClr val="accent5">
                  <a:lumMod val="80000"/>
                </a:schemeClr>
              </a:solidFill>
              <a:ln w="19050">
                <a:noFill/>
              </a:ln>
              <a:effectLst/>
            </c:spPr>
            <c:extLst>
              <c:ext xmlns:c16="http://schemas.microsoft.com/office/drawing/2014/chart" uri="{C3380CC4-5D6E-409C-BE32-E72D297353CC}">
                <c16:uniqueId val="{0000002D-1185-4882-B67C-AC9A04BA6CB0}"/>
              </c:ext>
            </c:extLst>
          </c:dPt>
          <c:dPt>
            <c:idx val="23"/>
            <c:bubble3D val="0"/>
            <c:spPr>
              <a:solidFill>
                <a:schemeClr val="accent6">
                  <a:lumMod val="80000"/>
                </a:schemeClr>
              </a:solidFill>
              <a:ln w="19050">
                <a:noFill/>
              </a:ln>
              <a:effectLst/>
            </c:spPr>
            <c:extLst>
              <c:ext xmlns:c16="http://schemas.microsoft.com/office/drawing/2014/chart" uri="{C3380CC4-5D6E-409C-BE32-E72D297353CC}">
                <c16:uniqueId val="{0000002F-1185-4882-B67C-AC9A04BA6CB0}"/>
              </c:ext>
            </c:extLst>
          </c:dPt>
          <c:dPt>
            <c:idx val="24"/>
            <c:bubble3D val="0"/>
            <c:spPr>
              <a:solidFill>
                <a:schemeClr val="accent1">
                  <a:lumMod val="60000"/>
                  <a:lumOff val="40000"/>
                </a:schemeClr>
              </a:solidFill>
              <a:ln w="19050">
                <a:noFill/>
              </a:ln>
              <a:effectLst/>
            </c:spPr>
            <c:extLst>
              <c:ext xmlns:c16="http://schemas.microsoft.com/office/drawing/2014/chart" uri="{C3380CC4-5D6E-409C-BE32-E72D297353CC}">
                <c16:uniqueId val="{00000031-1185-4882-B67C-AC9A04BA6CB0}"/>
              </c:ext>
            </c:extLst>
          </c:dPt>
          <c:dPt>
            <c:idx val="25"/>
            <c:bubble3D val="0"/>
            <c:spPr>
              <a:solidFill>
                <a:schemeClr val="accent2">
                  <a:lumMod val="60000"/>
                  <a:lumOff val="40000"/>
                </a:schemeClr>
              </a:solidFill>
              <a:ln w="19050">
                <a:noFill/>
              </a:ln>
              <a:effectLst/>
            </c:spPr>
            <c:extLst>
              <c:ext xmlns:c16="http://schemas.microsoft.com/office/drawing/2014/chart" uri="{C3380CC4-5D6E-409C-BE32-E72D297353CC}">
                <c16:uniqueId val="{00000033-1185-4882-B67C-AC9A04BA6CB0}"/>
              </c:ext>
            </c:extLst>
          </c:dPt>
          <c:dPt>
            <c:idx val="26"/>
            <c:bubble3D val="0"/>
            <c:spPr>
              <a:solidFill>
                <a:schemeClr val="accent3">
                  <a:lumMod val="60000"/>
                  <a:lumOff val="40000"/>
                </a:schemeClr>
              </a:solidFill>
              <a:ln w="19050">
                <a:noFill/>
              </a:ln>
              <a:effectLst/>
            </c:spPr>
            <c:extLst>
              <c:ext xmlns:c16="http://schemas.microsoft.com/office/drawing/2014/chart" uri="{C3380CC4-5D6E-409C-BE32-E72D297353CC}">
                <c16:uniqueId val="{00000035-1185-4882-B67C-AC9A04BA6CB0}"/>
              </c:ext>
            </c:extLst>
          </c:dPt>
          <c:dPt>
            <c:idx val="27"/>
            <c:bubble3D val="0"/>
            <c:spPr>
              <a:solidFill>
                <a:schemeClr val="accent4">
                  <a:lumMod val="60000"/>
                  <a:lumOff val="40000"/>
                </a:schemeClr>
              </a:solidFill>
              <a:ln w="19050">
                <a:noFill/>
              </a:ln>
              <a:effectLst/>
            </c:spPr>
            <c:extLst>
              <c:ext xmlns:c16="http://schemas.microsoft.com/office/drawing/2014/chart" uri="{C3380CC4-5D6E-409C-BE32-E72D297353CC}">
                <c16:uniqueId val="{00000037-1185-4882-B67C-AC9A04BA6CB0}"/>
              </c:ext>
            </c:extLst>
          </c:dPt>
          <c:dPt>
            <c:idx val="28"/>
            <c:bubble3D val="0"/>
            <c:spPr>
              <a:solidFill>
                <a:schemeClr val="accent5">
                  <a:lumMod val="60000"/>
                  <a:lumOff val="40000"/>
                </a:schemeClr>
              </a:solidFill>
              <a:ln w="19050">
                <a:noFill/>
              </a:ln>
              <a:effectLst/>
            </c:spPr>
            <c:extLst>
              <c:ext xmlns:c16="http://schemas.microsoft.com/office/drawing/2014/chart" uri="{C3380CC4-5D6E-409C-BE32-E72D297353CC}">
                <c16:uniqueId val="{00000039-1185-4882-B67C-AC9A04BA6CB0}"/>
              </c:ext>
            </c:extLst>
          </c:dPt>
          <c:dLbls>
            <c:dLbl>
              <c:idx val="0"/>
              <c:layout>
                <c:manualLayout>
                  <c:x val="0.18323467892214576"/>
                  <c:y val="-0.10243569667746787"/>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85-4882-B67C-AC9A04BA6CB0}"/>
                </c:ext>
              </c:extLst>
            </c:dLbl>
            <c:dLbl>
              <c:idx val="1"/>
              <c:layout>
                <c:manualLayout>
                  <c:x val="0.23129400092501859"/>
                  <c:y val="-8.0485013698673238E-2"/>
                </c:manualLayout>
              </c:layout>
              <c:showLegendKey val="0"/>
              <c:showVal val="0"/>
              <c:showCatName val="1"/>
              <c:showSerName val="0"/>
              <c:showPercent val="0"/>
              <c:showBubbleSize val="0"/>
              <c:extLst>
                <c:ext xmlns:c15="http://schemas.microsoft.com/office/drawing/2012/chart" uri="{CE6537A1-D6FC-4f65-9D91-7224C49458BB}">
                  <c15:layout>
                    <c:manualLayout>
                      <c:w val="0.257207084378544"/>
                      <c:h val="6.9315309011644038E-2"/>
                    </c:manualLayout>
                  </c15:layout>
                </c:ext>
                <c:ext xmlns:c16="http://schemas.microsoft.com/office/drawing/2014/chart" uri="{C3380CC4-5D6E-409C-BE32-E72D297353CC}">
                  <c16:uniqueId val="{00000003-1185-4882-B67C-AC9A04BA6CB0}"/>
                </c:ext>
              </c:extLst>
            </c:dLbl>
            <c:dLbl>
              <c:idx val="2"/>
              <c:layout>
                <c:manualLayout>
                  <c:x val="0.20609548193101884"/>
                  <c:y val="-4.7333393102825347E-2"/>
                </c:manualLayout>
              </c:layout>
              <c:showLegendKey val="0"/>
              <c:showVal val="0"/>
              <c:showCatName val="1"/>
              <c:showSerName val="0"/>
              <c:showPercent val="0"/>
              <c:showBubbleSize val="0"/>
              <c:extLst>
                <c:ext xmlns:c15="http://schemas.microsoft.com/office/drawing/2012/chart" uri="{CE6537A1-D6FC-4f65-9D91-7224C49458BB}">
                  <c15:layout>
                    <c:manualLayout>
                      <c:w val="0.20588573579858513"/>
                      <c:h val="7.0998966167546473E-2"/>
                    </c:manualLayout>
                  </c15:layout>
                </c:ext>
                <c:ext xmlns:c16="http://schemas.microsoft.com/office/drawing/2014/chart" uri="{C3380CC4-5D6E-409C-BE32-E72D297353CC}">
                  <c16:uniqueId val="{00000005-1185-4882-B67C-AC9A04BA6CB0}"/>
                </c:ext>
              </c:extLst>
            </c:dLbl>
            <c:dLbl>
              <c:idx val="3"/>
              <c:layout>
                <c:manualLayout>
                  <c:x val="0.15263004870381466"/>
                  <c:y val="-2.7436893190794381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185-4882-B67C-AC9A04BA6CB0}"/>
                </c:ext>
              </c:extLst>
            </c:dLbl>
            <c:dLbl>
              <c:idx val="4"/>
              <c:layout>
                <c:manualLayout>
                  <c:x val="0.1706133007420893"/>
                  <c:y val="-1.4486462097715877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185-4882-B67C-AC9A04BA6CB0}"/>
                </c:ext>
              </c:extLst>
            </c:dLbl>
            <c:dLbl>
              <c:idx val="5"/>
              <c:layout>
                <c:manualLayout>
                  <c:x val="0.15568677443092441"/>
                  <c:y val="5.0124358741883649E-3"/>
                </c:manualLayout>
              </c:layout>
              <c:showLegendKey val="0"/>
              <c:showVal val="0"/>
              <c:showCatName val="1"/>
              <c:showSerName val="0"/>
              <c:showPercent val="0"/>
              <c:showBubbleSize val="0"/>
              <c:extLst>
                <c:ext xmlns:c15="http://schemas.microsoft.com/office/drawing/2012/chart" uri="{CE6537A1-D6FC-4f65-9D91-7224C49458BB}">
                  <c15:layout>
                    <c:manualLayout>
                      <c:w val="0.13946638143226556"/>
                      <c:h val="9.8865031274498999E-2"/>
                    </c:manualLayout>
                  </c15:layout>
                </c:ext>
                <c:ext xmlns:c16="http://schemas.microsoft.com/office/drawing/2014/chart" uri="{C3380CC4-5D6E-409C-BE32-E72D297353CC}">
                  <c16:uniqueId val="{0000000B-1185-4882-B67C-AC9A04BA6CB0}"/>
                </c:ext>
              </c:extLst>
            </c:dLbl>
            <c:dLbl>
              <c:idx val="6"/>
              <c:layout>
                <c:manualLayout>
                  <c:x val="0.17404097788921408"/>
                  <c:y val="3.2817046259115072E-2"/>
                </c:manualLayout>
              </c:layout>
              <c:showLegendKey val="0"/>
              <c:showVal val="0"/>
              <c:showCatName val="1"/>
              <c:showSerName val="0"/>
              <c:showPercent val="0"/>
              <c:showBubbleSize val="0"/>
              <c:extLst>
                <c:ext xmlns:c15="http://schemas.microsoft.com/office/drawing/2012/chart" uri="{CE6537A1-D6FC-4f65-9D91-7224C49458BB}">
                  <c15:layout>
                    <c:manualLayout>
                      <c:w val="0.16175209868166543"/>
                      <c:h val="0.10457234366738861"/>
                    </c:manualLayout>
                  </c15:layout>
                </c:ext>
                <c:ext xmlns:c16="http://schemas.microsoft.com/office/drawing/2014/chart" uri="{C3380CC4-5D6E-409C-BE32-E72D297353CC}">
                  <c16:uniqueId val="{0000000D-1185-4882-B67C-AC9A04BA6CB0}"/>
                </c:ext>
              </c:extLst>
            </c:dLbl>
            <c:dLbl>
              <c:idx val="7"/>
              <c:layout>
                <c:manualLayout>
                  <c:x val="0.14748164557380689"/>
                  <c:y val="1.6975434514095375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185-4882-B67C-AC9A04BA6CB0}"/>
                </c:ext>
              </c:extLst>
            </c:dLbl>
            <c:dLbl>
              <c:idx val="8"/>
              <c:delete val="1"/>
              <c:extLst>
                <c:ext xmlns:c15="http://schemas.microsoft.com/office/drawing/2012/chart" uri="{CE6537A1-D6FC-4f65-9D91-7224C49458BB}"/>
                <c:ext xmlns:c16="http://schemas.microsoft.com/office/drawing/2014/chart" uri="{C3380CC4-5D6E-409C-BE32-E72D297353CC}">
                  <c16:uniqueId val="{00000011-1185-4882-B67C-AC9A04BA6CB0}"/>
                </c:ext>
              </c:extLst>
            </c:dLbl>
            <c:dLbl>
              <c:idx val="9"/>
              <c:layout>
                <c:manualLayout>
                  <c:x val="0.17150628536701135"/>
                  <c:y val="-5.7658909889851222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185-4882-B67C-AC9A04BA6CB0}"/>
                </c:ext>
              </c:extLst>
            </c:dLbl>
            <c:dLbl>
              <c:idx val="10"/>
              <c:layout>
                <c:manualLayout>
                  <c:x val="0.17784702535746844"/>
                  <c:y val="-5.5098034325214797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5-1185-4882-B67C-AC9A04BA6CB0}"/>
                </c:ext>
              </c:extLst>
            </c:dLbl>
            <c:dLbl>
              <c:idx val="11"/>
              <c:layout>
                <c:manualLayout>
                  <c:x val="0.19061316650456456"/>
                  <c:y val="-4.7269129664070736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7-1185-4882-B67C-AC9A04BA6CB0}"/>
                </c:ext>
              </c:extLst>
            </c:dLbl>
            <c:dLbl>
              <c:idx val="12"/>
              <c:layout>
                <c:manualLayout>
                  <c:x val="0.21458249689118097"/>
                  <c:y val="-2.2171785159684532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9-1185-4882-B67C-AC9A04BA6CB0}"/>
                </c:ext>
              </c:extLst>
            </c:dLbl>
            <c:dLbl>
              <c:idx val="13"/>
              <c:layout>
                <c:manualLayout>
                  <c:x val="0.25231636001527868"/>
                  <c:y val="1.8034770115523537E-2"/>
                </c:manualLayout>
              </c:layout>
              <c:showLegendKey val="0"/>
              <c:showVal val="0"/>
              <c:showCatName val="1"/>
              <c:showSerName val="0"/>
              <c:showPercent val="0"/>
              <c:showBubbleSize val="0"/>
              <c:extLst>
                <c:ext xmlns:c15="http://schemas.microsoft.com/office/drawing/2012/chart" uri="{CE6537A1-D6FC-4f65-9D91-7224C49458BB}">
                  <c15:layout>
                    <c:manualLayout>
                      <c:w val="0.17719460047861779"/>
                      <c:h val="7.1445439778754005E-2"/>
                    </c:manualLayout>
                  </c15:layout>
                </c:ext>
                <c:ext xmlns:c16="http://schemas.microsoft.com/office/drawing/2014/chart" uri="{C3380CC4-5D6E-409C-BE32-E72D297353CC}">
                  <c16:uniqueId val="{0000001B-1185-4882-B67C-AC9A04BA6CB0}"/>
                </c:ext>
              </c:extLst>
            </c:dLbl>
            <c:dLbl>
              <c:idx val="14"/>
              <c:layout>
                <c:manualLayout>
                  <c:x val="0.23094528844593218"/>
                  <c:y val="6.0509420323559673E-2"/>
                </c:manualLayout>
              </c:layout>
              <c:tx>
                <c:rich>
                  <a:bodyPr rot="0" spcFirstLastPara="1" vertOverflow="ellipsis" vert="horz" wrap="square" anchor="ctr" anchorCtr="0"/>
                  <a:lstStyle/>
                  <a:p>
                    <a:pPr algn="l">
                      <a:defRPr sz="900" b="1" i="0" u="none" strike="noStrike" kern="1200" baseline="0">
                        <a:solidFill>
                          <a:srgbClr val="FBB425"/>
                        </a:solidFill>
                        <a:latin typeface="Verdana" panose="020B0604030504040204" pitchFamily="34" charset="0"/>
                        <a:ea typeface="Verdana" panose="020B0604030504040204" pitchFamily="34" charset="0"/>
                        <a:cs typeface="+mn-cs"/>
                      </a:defRPr>
                    </a:pPr>
                    <a:fld id="{0433B934-0968-4297-9237-95DAF77ED57D}" type="CATEGORYNAME">
                      <a:rPr lang="en-US">
                        <a:solidFill>
                          <a:schemeClr val="bg1"/>
                        </a:solidFill>
                      </a:rPr>
                      <a:pPr algn="l">
                        <a:defRPr sz="900" b="1">
                          <a:solidFill>
                            <a:srgbClr val="FBB425"/>
                          </a:solidFill>
                          <a:latin typeface="Verdana" panose="020B0604030504040204" pitchFamily="34" charset="0"/>
                          <a:ea typeface="Verdana" panose="020B0604030504040204" pitchFamily="34" charset="0"/>
                        </a:defRPr>
                      </a:pPr>
                      <a:t>[CATEGORY NAME]</a:t>
                    </a:fld>
                    <a:endParaRPr lang="en-US"/>
                  </a:p>
                </c:rich>
              </c:tx>
              <c:spPr>
                <a:noFill/>
                <a:ln>
                  <a:noFill/>
                </a:ln>
                <a:effectLst/>
              </c:spPr>
              <c:txPr>
                <a:bodyPr rot="0" spcFirstLastPara="1" vertOverflow="ellipsis" vert="horz" wrap="square" anchor="ctr" anchorCtr="0"/>
                <a:lstStyle/>
                <a:p>
                  <a:pPr algn="l">
                    <a:defRPr sz="900" b="1" i="0" u="none" strike="noStrike" kern="1200" baseline="0">
                      <a:solidFill>
                        <a:srgbClr val="FBB425"/>
                      </a:solidFill>
                      <a:latin typeface="Verdana" panose="020B0604030504040204" pitchFamily="34" charset="0"/>
                      <a:ea typeface="Verdana" panose="020B0604030504040204" pitchFamily="34" charset="0"/>
                      <a:cs typeface="+mn-cs"/>
                    </a:defRPr>
                  </a:pPr>
                  <a:endParaRPr lang="en-US"/>
                </a:p>
              </c:txPr>
              <c:showLegendKey val="0"/>
              <c:showVal val="0"/>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1185-4882-B67C-AC9A04BA6CB0}"/>
                </c:ext>
              </c:extLst>
            </c:dLbl>
            <c:dLbl>
              <c:idx val="15"/>
              <c:layout>
                <c:manualLayout>
                  <c:x val="0.20259554355824627"/>
                  <c:y val="0.1309722586419157"/>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F-1185-4882-B67C-AC9A04BA6CB0}"/>
                </c:ext>
              </c:extLst>
            </c:dLbl>
            <c:dLbl>
              <c:idx val="16"/>
              <c:layout>
                <c:manualLayout>
                  <c:x val="0.10604978015554468"/>
                  <c:y val="0.16380031507060777"/>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21-1185-4882-B67C-AC9A04BA6CB0}"/>
                </c:ext>
              </c:extLst>
            </c:dLbl>
            <c:dLbl>
              <c:idx val="17"/>
              <c:layout>
                <c:manualLayout>
                  <c:x val="1.6814165231748883E-2"/>
                  <c:y val="0.1832166367706857"/>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23-1185-4882-B67C-AC9A04BA6CB0}"/>
                </c:ext>
              </c:extLst>
            </c:dLbl>
            <c:dLbl>
              <c:idx val="18"/>
              <c:delete val="1"/>
              <c:extLst>
                <c:ext xmlns:c15="http://schemas.microsoft.com/office/drawing/2012/chart" uri="{CE6537A1-D6FC-4f65-9D91-7224C49458BB}"/>
                <c:ext xmlns:c16="http://schemas.microsoft.com/office/drawing/2014/chart" uri="{C3380CC4-5D6E-409C-BE32-E72D297353CC}">
                  <c16:uniqueId val="{00000025-1185-4882-B67C-AC9A04BA6CB0}"/>
                </c:ext>
              </c:extLst>
            </c:dLbl>
            <c:dLbl>
              <c:idx val="19"/>
              <c:layout>
                <c:manualLayout>
                  <c:x val="-0.11090643278422051"/>
                  <c:y val="0.19924205093843719"/>
                </c:manualLayout>
              </c:layout>
              <c:showLegendKey val="0"/>
              <c:showVal val="0"/>
              <c:showCatName val="1"/>
              <c:showSerName val="0"/>
              <c:showPercent val="0"/>
              <c:showBubbleSize val="0"/>
              <c:extLst>
                <c:ext xmlns:c15="http://schemas.microsoft.com/office/drawing/2012/chart" uri="{CE6537A1-D6FC-4f65-9D91-7224C49458BB}">
                  <c15:layout>
                    <c:manualLayout>
                      <c:w val="0.22457083653164406"/>
                      <c:h val="5.9584341381767297E-2"/>
                    </c:manualLayout>
                  </c15:layout>
                </c:ext>
                <c:ext xmlns:c16="http://schemas.microsoft.com/office/drawing/2014/chart" uri="{C3380CC4-5D6E-409C-BE32-E72D297353CC}">
                  <c16:uniqueId val="{00000027-1185-4882-B67C-AC9A04BA6CB0}"/>
                </c:ext>
              </c:extLst>
            </c:dLbl>
            <c:dLbl>
              <c:idx val="20"/>
              <c:layout>
                <c:manualLayout>
                  <c:x val="-5.0865496440875083E-2"/>
                  <c:y val="0.30899861159514641"/>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29-1185-4882-B67C-AC9A04BA6CB0}"/>
                </c:ext>
              </c:extLst>
            </c:dLbl>
            <c:dLbl>
              <c:idx val="21"/>
              <c:delete val="1"/>
              <c:extLst>
                <c:ext xmlns:c15="http://schemas.microsoft.com/office/drawing/2012/chart" uri="{CE6537A1-D6FC-4f65-9D91-7224C49458BB}"/>
                <c:ext xmlns:c16="http://schemas.microsoft.com/office/drawing/2014/chart" uri="{C3380CC4-5D6E-409C-BE32-E72D297353CC}">
                  <c16:uniqueId val="{0000002B-1185-4882-B67C-AC9A04BA6CB0}"/>
                </c:ext>
              </c:extLst>
            </c:dLbl>
            <c:dLbl>
              <c:idx val="22"/>
              <c:layout>
                <c:manualLayout>
                  <c:x val="-8.8166519818950184E-2"/>
                  <c:y val="0.31843792207990651"/>
                </c:manualLayout>
              </c:layout>
              <c:showLegendKey val="0"/>
              <c:showVal val="0"/>
              <c:showCatName val="1"/>
              <c:showSerName val="0"/>
              <c:showPercent val="0"/>
              <c:showBubbleSize val="0"/>
              <c:extLst>
                <c:ext xmlns:c15="http://schemas.microsoft.com/office/drawing/2012/chart" uri="{CE6537A1-D6FC-4f65-9D91-7224C49458BB}">
                  <c15:layout>
                    <c:manualLayout>
                      <c:w val="0.15363103351910992"/>
                      <c:h val="6.288447118941963E-2"/>
                    </c:manualLayout>
                  </c15:layout>
                </c:ext>
                <c:ext xmlns:c16="http://schemas.microsoft.com/office/drawing/2014/chart" uri="{C3380CC4-5D6E-409C-BE32-E72D297353CC}">
                  <c16:uniqueId val="{0000002D-1185-4882-B67C-AC9A04BA6CB0}"/>
                </c:ext>
              </c:extLst>
            </c:dLbl>
            <c:dLbl>
              <c:idx val="23"/>
              <c:layout>
                <c:manualLayout>
                  <c:x val="-0.15602473265376604"/>
                  <c:y val="0.3081948692160377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2F-1185-4882-B67C-AC9A04BA6CB0}"/>
                </c:ext>
              </c:extLst>
            </c:dLbl>
            <c:dLbl>
              <c:idx val="24"/>
              <c:layout>
                <c:manualLayout>
                  <c:x val="-0.17761409274348552"/>
                  <c:y val="0.29421936886562222"/>
                </c:manualLayout>
              </c:layout>
              <c:tx>
                <c:rich>
                  <a:bodyPr/>
                  <a:lstStyle/>
                  <a:p>
                    <a:r>
                      <a:rPr lang="en-US" sz="900" b="1" i="0" u="none" strike="noStrike" kern="1200" baseline="0" dirty="0">
                        <a:solidFill>
                          <a:schemeClr val="bg1"/>
                        </a:solidFill>
                        <a:latin typeface="Verdana" panose="020B0604030504040204" pitchFamily="34" charset="0"/>
                        <a:ea typeface="Verdana" panose="020B0604030504040204" pitchFamily="34" charset="0"/>
                      </a:rPr>
                      <a:t>Glydicyl Ether Synthesis</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31-1185-4882-B67C-AC9A04BA6CB0}"/>
                </c:ext>
              </c:extLst>
            </c:dLbl>
            <c:dLbl>
              <c:idx val="25"/>
              <c:layout>
                <c:manualLayout>
                  <c:x val="-0.21537510845781829"/>
                  <c:y val="0.26041477780466654"/>
                </c:manualLayout>
              </c:layout>
              <c:tx>
                <c:rich>
                  <a:bodyPr rot="0" spcFirstLastPara="1" vertOverflow="ellipsis" vert="horz" wrap="square" anchor="ctr" anchorCtr="0"/>
                  <a:lstStyle/>
                  <a:p>
                    <a:pPr algn="l">
                      <a:defRPr sz="900" b="1" i="0" u="none" strike="noStrike" kern="1200" baseline="0">
                        <a:solidFill>
                          <a:srgbClr val="FBB425"/>
                        </a:solidFill>
                        <a:latin typeface="Verdana" panose="020B0604030504040204" pitchFamily="34" charset="0"/>
                        <a:ea typeface="Verdana" panose="020B0604030504040204" pitchFamily="34" charset="0"/>
                        <a:cs typeface="+mn-cs"/>
                      </a:defRPr>
                    </a:pPr>
                    <a:r>
                      <a:rPr lang="en-US">
                        <a:solidFill>
                          <a:srgbClr val="FBB425"/>
                        </a:solidFill>
                      </a:rPr>
                      <a:t>Lithiation</a:t>
                    </a:r>
                  </a:p>
                </c:rich>
              </c:tx>
              <c:spPr>
                <a:noFill/>
                <a:ln>
                  <a:noFill/>
                </a:ln>
                <a:effectLst/>
              </c:spPr>
              <c:txPr>
                <a:bodyPr rot="0" spcFirstLastPara="1" vertOverflow="ellipsis" vert="horz" wrap="square" anchor="ctr" anchorCtr="0"/>
                <a:lstStyle/>
                <a:p>
                  <a:pPr algn="l">
                    <a:defRPr sz="900" b="1" i="0" u="none" strike="noStrike" kern="1200" baseline="0">
                      <a:solidFill>
                        <a:srgbClr val="FBB425"/>
                      </a:solidFill>
                      <a:latin typeface="Verdana" panose="020B0604030504040204" pitchFamily="34" charset="0"/>
                      <a:ea typeface="Verdana" panose="020B0604030504040204" pitchFamily="34" charset="0"/>
                      <a:cs typeface="+mn-cs"/>
                    </a:defRPr>
                  </a:pPr>
                  <a:endParaRPr lang="en-US"/>
                </a:p>
              </c:txP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33-1185-4882-B67C-AC9A04BA6CB0}"/>
                </c:ext>
              </c:extLst>
            </c:dLbl>
            <c:dLbl>
              <c:idx val="26"/>
              <c:layout>
                <c:manualLayout>
                  <c:x val="-0.26154671526878626"/>
                  <c:y val="0.24643927745425107"/>
                </c:manualLayout>
              </c:layout>
              <c:tx>
                <c:rich>
                  <a:bodyPr rot="0" spcFirstLastPara="1" vertOverflow="ellipsis" vert="horz" wrap="square" anchor="ctr" anchorCtr="0"/>
                  <a:lstStyle/>
                  <a:p>
                    <a:pPr algn="l">
                      <a:defRPr sz="900" b="1" i="0" u="none" strike="noStrike" kern="1200" baseline="0">
                        <a:solidFill>
                          <a:srgbClr val="FBB425"/>
                        </a:solidFill>
                        <a:latin typeface="Verdana" panose="020B0604030504040204" pitchFamily="34" charset="0"/>
                        <a:ea typeface="Verdana" panose="020B0604030504040204" pitchFamily="34" charset="0"/>
                        <a:cs typeface="+mn-cs"/>
                      </a:defRPr>
                    </a:pPr>
                    <a:r>
                      <a:rPr lang="en-US" dirty="0"/>
                      <a:t>Azidation</a:t>
                    </a:r>
                  </a:p>
                </c:rich>
              </c:tx>
              <c:spPr>
                <a:noFill/>
                <a:ln>
                  <a:noFill/>
                </a:ln>
                <a:effectLst/>
              </c:spPr>
              <c:txPr>
                <a:bodyPr rot="0" spcFirstLastPara="1" vertOverflow="ellipsis" vert="horz" wrap="square" anchor="ctr" anchorCtr="0"/>
                <a:lstStyle/>
                <a:p>
                  <a:pPr algn="l">
                    <a:defRPr sz="900" b="1" i="0" u="none" strike="noStrike" kern="1200" baseline="0">
                      <a:solidFill>
                        <a:srgbClr val="FBB425"/>
                      </a:solidFill>
                      <a:latin typeface="Verdana" panose="020B0604030504040204" pitchFamily="34" charset="0"/>
                      <a:ea typeface="Verdana" panose="020B0604030504040204" pitchFamily="34" charset="0"/>
                      <a:cs typeface="+mn-cs"/>
                    </a:defRPr>
                  </a:pPr>
                  <a:endParaRPr lang="en-US"/>
                </a:p>
              </c:txP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35-1185-4882-B67C-AC9A04BA6CB0}"/>
                </c:ext>
              </c:extLst>
            </c:dLbl>
            <c:dLbl>
              <c:idx val="27"/>
              <c:layout>
                <c:manualLayout>
                  <c:x val="1.9920391046113029E-2"/>
                  <c:y val="-0.16060848938001734"/>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37-1185-4882-B67C-AC9A04BA6CB0}"/>
                </c:ext>
              </c:extLst>
            </c:dLbl>
            <c:dLbl>
              <c:idx val="28"/>
              <c:layout>
                <c:manualLayout>
                  <c:x val="0.13853663403067693"/>
                  <c:y val="-0.15155790529052129"/>
                </c:manualLayout>
              </c:layout>
              <c:tx>
                <c:rich>
                  <a:bodyPr/>
                  <a:lstStyle/>
                  <a:p>
                    <a:r>
                      <a:rPr lang="en-US" dirty="0"/>
                      <a:t>Fluorination</a:t>
                    </a:r>
                    <a:r>
                      <a:rPr lang="en-US" baseline="0" dirty="0"/>
                      <a:t> (KF)</a:t>
                    </a:r>
                    <a:endParaRPr lang="en-US" dirty="0"/>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39-1185-4882-B67C-AC9A04BA6CB0}"/>
                </c:ext>
              </c:extLst>
            </c:dLbl>
            <c:spPr>
              <a:noFill/>
              <a:ln>
                <a:noFill/>
              </a:ln>
              <a:effectLst/>
            </c:spPr>
            <c:txPr>
              <a:bodyPr rot="0" spcFirstLastPara="1" vertOverflow="ellipsis" vert="horz" wrap="square" anchor="ctr" anchorCtr="0"/>
              <a:lstStyle/>
              <a:p>
                <a:pPr algn="l">
                  <a:defRPr sz="900" b="1"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Sheet6!$B$2:$B$30</c:f>
              <c:strCache>
                <c:ptCount val="29"/>
                <c:pt idx="0">
                  <c:v>Alkylation</c:v>
                </c:pt>
                <c:pt idx="1">
                  <c:v>Amination/Ammonolysis</c:v>
                </c:pt>
                <c:pt idx="2">
                  <c:v>Aromatic Chemistry</c:v>
                </c:pt>
                <c:pt idx="3">
                  <c:v>Bromination</c:v>
                </c:pt>
                <c:pt idx="4">
                  <c:v>Bucherer Berg Reaction </c:v>
                </c:pt>
                <c:pt idx="5">
                  <c:v>Catalytic Dehydration</c:v>
                </c:pt>
                <c:pt idx="6">
                  <c:v>Chiral Technologies</c:v>
                </c:pt>
                <c:pt idx="7">
                  <c:v>Chlorination</c:v>
                </c:pt>
                <c:pt idx="8">
                  <c:v>Chloro Cyano Chemistry</c:v>
                </c:pt>
                <c:pt idx="9">
                  <c:v>Cyanation</c:v>
                </c:pt>
                <c:pt idx="10">
                  <c:v>Cyclization</c:v>
                </c:pt>
                <c:pt idx="11">
                  <c:v>Diazotation </c:v>
                </c:pt>
                <c:pt idx="12">
                  <c:v>Esterification</c:v>
                </c:pt>
                <c:pt idx="13">
                  <c:v>Friedel-Crafts</c:v>
                </c:pt>
                <c:pt idx="14">
                  <c:v>Grignard Reaction</c:v>
                </c:pt>
                <c:pt idx="15">
                  <c:v>Hydrogenation</c:v>
                </c:pt>
                <c:pt idx="16">
                  <c:v>Hydrolysis</c:v>
                </c:pt>
                <c:pt idx="17">
                  <c:v>Oxidation </c:v>
                </c:pt>
                <c:pt idx="18">
                  <c:v>Phosgenation </c:v>
                </c:pt>
                <c:pt idx="19">
                  <c:v>Sandmeyer Reactions</c:v>
                </c:pt>
                <c:pt idx="20">
                  <c:v>Vilsmeier Reaction</c:v>
                </c:pt>
                <c:pt idx="21">
                  <c:v>BF3 Chemistry</c:v>
                </c:pt>
                <c:pt idx="22">
                  <c:v>Carbonylation</c:v>
                </c:pt>
                <c:pt idx="23">
                  <c:v>Chloromethylation</c:v>
                </c:pt>
                <c:pt idx="24">
                  <c:v>Epichlorhydrine</c:v>
                </c:pt>
                <c:pt idx="25">
                  <c:v>Ethylenoxide Reactions</c:v>
                </c:pt>
                <c:pt idx="26">
                  <c:v>Iodation</c:v>
                </c:pt>
                <c:pt idx="27">
                  <c:v>Nitration</c:v>
                </c:pt>
                <c:pt idx="28">
                  <c:v>Fluorination with KF</c:v>
                </c:pt>
              </c:strCache>
            </c:strRef>
          </c:cat>
          <c:val>
            <c:numRef>
              <c:f>Sheet6!$C$2:$C$30</c:f>
              <c:numCache>
                <c:formatCode>General</c:formatCode>
                <c:ptCount val="29"/>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pt idx="24">
                  <c:v>1</c:v>
                </c:pt>
                <c:pt idx="25">
                  <c:v>1</c:v>
                </c:pt>
                <c:pt idx="26">
                  <c:v>1</c:v>
                </c:pt>
                <c:pt idx="27">
                  <c:v>1</c:v>
                </c:pt>
                <c:pt idx="28">
                  <c:v>1</c:v>
                </c:pt>
              </c:numCache>
            </c:numRef>
          </c:val>
          <c:extLst>
            <c:ext xmlns:c16="http://schemas.microsoft.com/office/drawing/2014/chart" uri="{C3380CC4-5D6E-409C-BE32-E72D297353CC}">
              <c16:uniqueId val="{0000003A-1185-4882-B67C-AC9A04BA6CB0}"/>
            </c:ext>
          </c:extLst>
        </c:ser>
        <c:dLbls>
          <c:showLegendKey val="0"/>
          <c:showVal val="0"/>
          <c:showCatName val="0"/>
          <c:showSerName val="0"/>
          <c:showPercent val="0"/>
          <c:showBubbleSize val="0"/>
          <c:showLeaderLines val="0"/>
        </c:dLbls>
        <c:firstSliceAng val="0"/>
        <c:holeSize val="58"/>
      </c:doughnutChart>
      <c:spPr>
        <a:noFill/>
        <a:ln>
          <a:noFill/>
        </a:ln>
        <a:effectLst/>
      </c:spPr>
    </c:plotArea>
    <c:plotVisOnly val="1"/>
    <c:dispBlanksAs val="zero"/>
    <c:showDLblsOverMax val="0"/>
  </c:chart>
  <c:spPr>
    <a:noFill/>
    <a:ln>
      <a:noFill/>
    </a:ln>
    <a:effectLst/>
  </c:spPr>
  <c:txPr>
    <a:bodyPr/>
    <a:lstStyle/>
    <a:p>
      <a:pPr>
        <a:defRPr sz="800">
          <a:solidFill>
            <a:schemeClr val="tx1"/>
          </a:solidFill>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588456283955103"/>
          <c:y val="0.14532722144193122"/>
          <c:w val="0.57105937312943322"/>
          <c:h val="0.68863872991915254"/>
        </c:manualLayout>
      </c:layout>
      <c:doughnutChart>
        <c:varyColors val="1"/>
        <c:ser>
          <c:idx val="0"/>
          <c:order val="0"/>
          <c:spPr>
            <a:ln>
              <a:noFill/>
            </a:ln>
          </c:spPr>
          <c:dPt>
            <c:idx val="0"/>
            <c:bubble3D val="0"/>
            <c:spPr>
              <a:solidFill>
                <a:schemeClr val="accent1">
                  <a:lumMod val="60000"/>
                  <a:lumOff val="40000"/>
                </a:schemeClr>
              </a:solidFill>
              <a:ln w="19050">
                <a:noFill/>
              </a:ln>
              <a:effectLst/>
            </c:spPr>
            <c:extLst>
              <c:ext xmlns:c16="http://schemas.microsoft.com/office/drawing/2014/chart" uri="{C3380CC4-5D6E-409C-BE32-E72D297353CC}">
                <c16:uniqueId val="{00000001-BC04-4656-9941-6EBBB65D9330}"/>
              </c:ext>
            </c:extLst>
          </c:dPt>
          <c:dPt>
            <c:idx val="1"/>
            <c:bubble3D val="0"/>
            <c:spPr>
              <a:solidFill>
                <a:schemeClr val="accent2"/>
              </a:solidFill>
              <a:ln w="19050">
                <a:noFill/>
              </a:ln>
              <a:effectLst/>
            </c:spPr>
            <c:extLst>
              <c:ext xmlns:c16="http://schemas.microsoft.com/office/drawing/2014/chart" uri="{C3380CC4-5D6E-409C-BE32-E72D297353CC}">
                <c16:uniqueId val="{00000003-BC04-4656-9941-6EBBB65D9330}"/>
              </c:ext>
            </c:extLst>
          </c:dPt>
          <c:dPt>
            <c:idx val="2"/>
            <c:bubble3D val="0"/>
            <c:spPr>
              <a:solidFill>
                <a:schemeClr val="accent3"/>
              </a:solidFill>
              <a:ln w="19050">
                <a:noFill/>
              </a:ln>
              <a:effectLst/>
            </c:spPr>
            <c:extLst>
              <c:ext xmlns:c16="http://schemas.microsoft.com/office/drawing/2014/chart" uri="{C3380CC4-5D6E-409C-BE32-E72D297353CC}">
                <c16:uniqueId val="{00000005-BC04-4656-9941-6EBBB65D9330}"/>
              </c:ext>
            </c:extLst>
          </c:dPt>
          <c:dPt>
            <c:idx val="3"/>
            <c:bubble3D val="0"/>
            <c:spPr>
              <a:solidFill>
                <a:schemeClr val="accent4"/>
              </a:solidFill>
              <a:ln w="19050">
                <a:noFill/>
              </a:ln>
              <a:effectLst/>
            </c:spPr>
            <c:extLst>
              <c:ext xmlns:c16="http://schemas.microsoft.com/office/drawing/2014/chart" uri="{C3380CC4-5D6E-409C-BE32-E72D297353CC}">
                <c16:uniqueId val="{00000007-BC04-4656-9941-6EBBB65D9330}"/>
              </c:ext>
            </c:extLst>
          </c:dPt>
          <c:dPt>
            <c:idx val="4"/>
            <c:bubble3D val="0"/>
            <c:spPr>
              <a:solidFill>
                <a:schemeClr val="accent5"/>
              </a:solidFill>
              <a:ln w="19050">
                <a:noFill/>
              </a:ln>
              <a:effectLst/>
            </c:spPr>
            <c:extLst>
              <c:ext xmlns:c16="http://schemas.microsoft.com/office/drawing/2014/chart" uri="{C3380CC4-5D6E-409C-BE32-E72D297353CC}">
                <c16:uniqueId val="{00000009-BC04-4656-9941-6EBBB65D9330}"/>
              </c:ext>
            </c:extLst>
          </c:dPt>
          <c:dPt>
            <c:idx val="5"/>
            <c:bubble3D val="0"/>
            <c:spPr>
              <a:solidFill>
                <a:schemeClr val="accent6"/>
              </a:solidFill>
              <a:ln w="19050">
                <a:noFill/>
              </a:ln>
              <a:effectLst/>
            </c:spPr>
            <c:extLst>
              <c:ext xmlns:c16="http://schemas.microsoft.com/office/drawing/2014/chart" uri="{C3380CC4-5D6E-409C-BE32-E72D297353CC}">
                <c16:uniqueId val="{0000000B-BC04-4656-9941-6EBBB65D9330}"/>
              </c:ext>
            </c:extLst>
          </c:dPt>
          <c:dPt>
            <c:idx val="6"/>
            <c:bubble3D val="0"/>
            <c:spPr>
              <a:solidFill>
                <a:schemeClr val="accent1">
                  <a:lumMod val="60000"/>
                </a:schemeClr>
              </a:solidFill>
              <a:ln w="19050">
                <a:noFill/>
              </a:ln>
              <a:effectLst/>
            </c:spPr>
            <c:extLst>
              <c:ext xmlns:c16="http://schemas.microsoft.com/office/drawing/2014/chart" uri="{C3380CC4-5D6E-409C-BE32-E72D297353CC}">
                <c16:uniqueId val="{0000000D-BC04-4656-9941-6EBBB65D9330}"/>
              </c:ext>
            </c:extLst>
          </c:dPt>
          <c:dPt>
            <c:idx val="7"/>
            <c:bubble3D val="0"/>
            <c:spPr>
              <a:solidFill>
                <a:schemeClr val="accent2">
                  <a:lumMod val="60000"/>
                </a:schemeClr>
              </a:solidFill>
              <a:ln w="19050">
                <a:noFill/>
              </a:ln>
              <a:effectLst/>
            </c:spPr>
            <c:extLst>
              <c:ext xmlns:c16="http://schemas.microsoft.com/office/drawing/2014/chart" uri="{C3380CC4-5D6E-409C-BE32-E72D297353CC}">
                <c16:uniqueId val="{0000000F-BC04-4656-9941-6EBBB65D9330}"/>
              </c:ext>
            </c:extLst>
          </c:dPt>
          <c:dPt>
            <c:idx val="8"/>
            <c:bubble3D val="0"/>
            <c:spPr>
              <a:solidFill>
                <a:schemeClr val="accent3">
                  <a:lumMod val="60000"/>
                </a:schemeClr>
              </a:solidFill>
              <a:ln w="19050">
                <a:noFill/>
              </a:ln>
              <a:effectLst/>
            </c:spPr>
            <c:extLst>
              <c:ext xmlns:c16="http://schemas.microsoft.com/office/drawing/2014/chart" uri="{C3380CC4-5D6E-409C-BE32-E72D297353CC}">
                <c16:uniqueId val="{00000011-BC04-4656-9941-6EBBB65D9330}"/>
              </c:ext>
            </c:extLst>
          </c:dPt>
          <c:dPt>
            <c:idx val="9"/>
            <c:bubble3D val="0"/>
            <c:spPr>
              <a:solidFill>
                <a:schemeClr val="accent4">
                  <a:lumMod val="60000"/>
                </a:schemeClr>
              </a:solidFill>
              <a:ln w="19050">
                <a:noFill/>
              </a:ln>
              <a:effectLst/>
            </c:spPr>
            <c:extLst>
              <c:ext xmlns:c16="http://schemas.microsoft.com/office/drawing/2014/chart" uri="{C3380CC4-5D6E-409C-BE32-E72D297353CC}">
                <c16:uniqueId val="{00000013-BC04-4656-9941-6EBBB65D9330}"/>
              </c:ext>
            </c:extLst>
          </c:dPt>
          <c:dPt>
            <c:idx val="10"/>
            <c:bubble3D val="0"/>
            <c:spPr>
              <a:solidFill>
                <a:schemeClr val="accent5">
                  <a:lumMod val="60000"/>
                </a:schemeClr>
              </a:solidFill>
              <a:ln w="19050">
                <a:noFill/>
              </a:ln>
              <a:effectLst/>
            </c:spPr>
            <c:extLst>
              <c:ext xmlns:c16="http://schemas.microsoft.com/office/drawing/2014/chart" uri="{C3380CC4-5D6E-409C-BE32-E72D297353CC}">
                <c16:uniqueId val="{00000015-BC04-4656-9941-6EBBB65D9330}"/>
              </c:ext>
            </c:extLst>
          </c:dPt>
          <c:dPt>
            <c:idx val="11"/>
            <c:bubble3D val="0"/>
            <c:spPr>
              <a:solidFill>
                <a:schemeClr val="accent6">
                  <a:lumMod val="60000"/>
                </a:schemeClr>
              </a:solidFill>
              <a:ln w="19050">
                <a:noFill/>
              </a:ln>
              <a:effectLst/>
            </c:spPr>
            <c:extLst>
              <c:ext xmlns:c16="http://schemas.microsoft.com/office/drawing/2014/chart" uri="{C3380CC4-5D6E-409C-BE32-E72D297353CC}">
                <c16:uniqueId val="{00000017-BC04-4656-9941-6EBBB65D9330}"/>
              </c:ext>
            </c:extLst>
          </c:dPt>
          <c:dPt>
            <c:idx val="12"/>
            <c:bubble3D val="0"/>
            <c:spPr>
              <a:solidFill>
                <a:schemeClr val="accent1">
                  <a:lumMod val="80000"/>
                  <a:lumOff val="20000"/>
                </a:schemeClr>
              </a:solidFill>
              <a:ln w="19050">
                <a:noFill/>
              </a:ln>
              <a:effectLst/>
            </c:spPr>
            <c:extLst>
              <c:ext xmlns:c16="http://schemas.microsoft.com/office/drawing/2014/chart" uri="{C3380CC4-5D6E-409C-BE32-E72D297353CC}">
                <c16:uniqueId val="{00000019-BC04-4656-9941-6EBBB65D9330}"/>
              </c:ext>
            </c:extLst>
          </c:dPt>
          <c:dPt>
            <c:idx val="13"/>
            <c:bubble3D val="0"/>
            <c:spPr>
              <a:solidFill>
                <a:schemeClr val="accent2">
                  <a:lumMod val="80000"/>
                  <a:lumOff val="20000"/>
                </a:schemeClr>
              </a:solidFill>
              <a:ln w="19050">
                <a:noFill/>
              </a:ln>
              <a:effectLst/>
            </c:spPr>
            <c:extLst>
              <c:ext xmlns:c16="http://schemas.microsoft.com/office/drawing/2014/chart" uri="{C3380CC4-5D6E-409C-BE32-E72D297353CC}">
                <c16:uniqueId val="{0000001B-BC04-4656-9941-6EBBB65D9330}"/>
              </c:ext>
            </c:extLst>
          </c:dPt>
          <c:dPt>
            <c:idx val="14"/>
            <c:bubble3D val="0"/>
            <c:spPr>
              <a:solidFill>
                <a:schemeClr val="accent3">
                  <a:lumMod val="80000"/>
                  <a:lumOff val="20000"/>
                </a:schemeClr>
              </a:solidFill>
              <a:ln w="19050">
                <a:noFill/>
              </a:ln>
              <a:effectLst/>
            </c:spPr>
            <c:extLst>
              <c:ext xmlns:c16="http://schemas.microsoft.com/office/drawing/2014/chart" uri="{C3380CC4-5D6E-409C-BE32-E72D297353CC}">
                <c16:uniqueId val="{0000001D-BC04-4656-9941-6EBBB65D9330}"/>
              </c:ext>
            </c:extLst>
          </c:dPt>
          <c:dLbls>
            <c:dLbl>
              <c:idx val="0"/>
              <c:layout>
                <c:manualLayout>
                  <c:x val="7.6368957906344237E-2"/>
                  <c:y val="-0.12459290936745185"/>
                </c:manualLayout>
              </c:layout>
              <c:showLegendKey val="0"/>
              <c:showVal val="0"/>
              <c:showCatName val="1"/>
              <c:showSerName val="0"/>
              <c:showPercent val="0"/>
              <c:showBubbleSize val="0"/>
              <c:extLst>
                <c:ext xmlns:c15="http://schemas.microsoft.com/office/drawing/2012/chart" uri="{CE6537A1-D6FC-4f65-9D91-7224C49458BB}">
                  <c15:layout>
                    <c:manualLayout>
                      <c:w val="0.15733824251179343"/>
                      <c:h val="7.3597980094426863E-2"/>
                    </c:manualLayout>
                  </c15:layout>
                </c:ext>
                <c:ext xmlns:c16="http://schemas.microsoft.com/office/drawing/2014/chart" uri="{C3380CC4-5D6E-409C-BE32-E72D297353CC}">
                  <c16:uniqueId val="{00000001-BC04-4656-9941-6EBBB65D9330}"/>
                </c:ext>
              </c:extLst>
            </c:dLbl>
            <c:dLbl>
              <c:idx val="1"/>
              <c:layout>
                <c:manualLayout>
                  <c:x val="0.1725330151715942"/>
                  <c:y val="-8.1276975359108564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C04-4656-9941-6EBBB65D9330}"/>
                </c:ext>
              </c:extLst>
            </c:dLbl>
            <c:dLbl>
              <c:idx val="2"/>
              <c:layout>
                <c:manualLayout>
                  <c:x val="0.145129036875046"/>
                  <c:y val="-4.0896798943462674E-2"/>
                </c:manualLayout>
              </c:layout>
              <c:tx>
                <c:rich>
                  <a:bodyPr rot="0" spcFirstLastPara="1" vertOverflow="ellipsis" vert="horz" wrap="square" anchor="ctr" anchorCtr="1"/>
                  <a:lstStyle/>
                  <a:p>
                    <a:pPr>
                      <a:defRPr sz="900" b="1" i="0" u="none" strike="noStrike" kern="1200" baseline="0">
                        <a:solidFill>
                          <a:srgbClr val="FFC000"/>
                        </a:solidFill>
                        <a:latin typeface="Verdana" panose="020B0604030504040204" pitchFamily="34" charset="0"/>
                        <a:ea typeface="Verdana" panose="020B0604030504040204" pitchFamily="34" charset="0"/>
                        <a:cs typeface="+mn-cs"/>
                      </a:defRPr>
                    </a:pPr>
                    <a:r>
                      <a:rPr lang="en-US" dirty="0">
                        <a:solidFill>
                          <a:srgbClr val="FFC000"/>
                        </a:solidFill>
                      </a:rPr>
                      <a:t>Na</a:t>
                    </a:r>
                    <a:r>
                      <a:rPr lang="en-US" baseline="0" dirty="0">
                        <a:solidFill>
                          <a:srgbClr val="FFC000"/>
                        </a:solidFill>
                      </a:rPr>
                      <a:t> Azide</a:t>
                    </a:r>
                    <a:endParaRPr lang="en-US" dirty="0">
                      <a:solidFill>
                        <a:srgbClr val="FFC000"/>
                      </a:solidFill>
                    </a:endParaRPr>
                  </a:p>
                </c:rich>
              </c:tx>
              <c:spPr>
                <a:noFill/>
                <a:ln>
                  <a:noFill/>
                </a:ln>
                <a:effectLst/>
              </c:spPr>
              <c:txPr>
                <a:bodyPr rot="0" spcFirstLastPara="1" vertOverflow="ellipsis" vert="horz" wrap="square" anchor="ctr" anchorCtr="1"/>
                <a:lstStyle/>
                <a:p>
                  <a:pPr>
                    <a:defRPr sz="900" b="1" i="0" u="none" strike="noStrike" kern="1200" baseline="0">
                      <a:solidFill>
                        <a:srgbClr val="FFC000"/>
                      </a:solidFill>
                      <a:latin typeface="Verdana" panose="020B0604030504040204" pitchFamily="34" charset="0"/>
                      <a:ea typeface="Verdana" panose="020B0604030504040204" pitchFamily="34" charset="0"/>
                      <a:cs typeface="+mn-cs"/>
                    </a:defRPr>
                  </a:pPr>
                  <a:endParaRPr lang="en-US"/>
                </a:p>
              </c:txP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C04-4656-9941-6EBBB65D9330}"/>
                </c:ext>
              </c:extLst>
            </c:dLbl>
            <c:dLbl>
              <c:idx val="3"/>
              <c:layout>
                <c:manualLayout>
                  <c:x val="0.1398982585512244"/>
                  <c:y val="2.1608470932412877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C04-4656-9941-6EBBB65D9330}"/>
                </c:ext>
              </c:extLst>
            </c:dLbl>
            <c:dLbl>
              <c:idx val="4"/>
              <c:layout>
                <c:manualLayout>
                  <c:x val="0.1514202255602935"/>
                  <c:y val="4.5757429651524364E-2"/>
                </c:manualLayout>
              </c:layout>
              <c:tx>
                <c:rich>
                  <a:bodyPr/>
                  <a:lstStyle/>
                  <a:p>
                    <a:r>
                      <a:rPr lang="en-US" dirty="0"/>
                      <a:t>Chlorine, Dry HCl</a:t>
                    </a:r>
                    <a:r>
                      <a:rPr lang="en-US" baseline="0" dirty="0"/>
                      <a:t> gas</a:t>
                    </a:r>
                    <a:r>
                      <a:rPr lang="en-US" dirty="0"/>
                      <a:t> </a:t>
                    </a:r>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C04-4656-9941-6EBBB65D9330}"/>
                </c:ext>
              </c:extLst>
            </c:dLbl>
            <c:dLbl>
              <c:idx val="5"/>
              <c:layout>
                <c:manualLayout>
                  <c:x val="0.16752127243062473"/>
                  <c:y val="8.1293629331488579E-2"/>
                </c:manualLayout>
              </c:layout>
              <c:tx>
                <c:rich>
                  <a:bodyPr/>
                  <a:lstStyle/>
                  <a:p>
                    <a:r>
                      <a:rPr lang="en-IN" sz="900" b="1" i="0" u="none" strike="noStrike" kern="1200" baseline="0" dirty="0">
                        <a:solidFill>
                          <a:srgbClr val="FBB425"/>
                        </a:solidFill>
                        <a:latin typeface="Verdana" panose="020B0604030504040204" pitchFamily="34" charset="0"/>
                        <a:ea typeface="Verdana" panose="020B0604030504040204" pitchFamily="34" charset="0"/>
                      </a:rPr>
                      <a:t>HF gas</a:t>
                    </a:r>
                    <a:r>
                      <a:rPr lang="en-IN" sz="900" b="1" i="0" u="none" strike="noStrike" kern="1200" baseline="0" dirty="0">
                        <a:solidFill>
                          <a:prstClr val="white"/>
                        </a:solidFill>
                        <a:latin typeface="Verdana" panose="020B0604030504040204" pitchFamily="34" charset="0"/>
                        <a:ea typeface="Verdana" panose="020B0604030504040204" pitchFamily="34" charset="0"/>
                      </a:rPr>
                      <a:t>, </a:t>
                    </a:r>
                    <a:fld id="{DC4974DF-00A0-46FF-B6F8-02AF61D92F7F}" type="CATEGORYNAME">
                      <a:rPr lang="en-IN" smtClean="0"/>
                      <a:pPr/>
                      <a:t>[CATEGORY NAME]</a:t>
                    </a:fld>
                    <a:endParaRPr lang="en-IN" sz="900" b="1" i="0" u="none" strike="noStrike" kern="1200" baseline="0" dirty="0">
                      <a:solidFill>
                        <a:prstClr val="white"/>
                      </a:solidFill>
                      <a:latin typeface="Verdana" panose="020B0604030504040204" pitchFamily="34" charset="0"/>
                      <a:ea typeface="Verdana" panose="020B0604030504040204" pitchFamily="34" charset="0"/>
                    </a:endParaRPr>
                  </a:p>
                </c:rich>
              </c:tx>
              <c:showLegendKey val="0"/>
              <c:showVal val="0"/>
              <c:showCatName val="1"/>
              <c:showSerName val="0"/>
              <c:showPercent val="0"/>
              <c:showBubbleSize val="0"/>
              <c:extLst>
                <c:ext xmlns:c15="http://schemas.microsoft.com/office/drawing/2012/chart" uri="{CE6537A1-D6FC-4f65-9D91-7224C49458BB}">
                  <c15:layout>
                    <c:manualLayout>
                      <c:w val="0.2138119511917641"/>
                      <c:h val="0.1178202162920105"/>
                    </c:manualLayout>
                  </c15:layout>
                  <c15:dlblFieldTable/>
                  <c15:showDataLabelsRange val="0"/>
                </c:ext>
                <c:ext xmlns:c16="http://schemas.microsoft.com/office/drawing/2014/chart" uri="{C3380CC4-5D6E-409C-BE32-E72D297353CC}">
                  <c16:uniqueId val="{0000000B-BC04-4656-9941-6EBBB65D9330}"/>
                </c:ext>
              </c:extLst>
            </c:dLbl>
            <c:dLbl>
              <c:idx val="6"/>
              <c:layout>
                <c:manualLayout>
                  <c:x val="9.5145271390688596E-2"/>
                  <c:y val="0.10735849364237506"/>
                </c:manualLayout>
              </c:layout>
              <c:showLegendKey val="0"/>
              <c:showVal val="0"/>
              <c:showCatName val="1"/>
              <c:showSerName val="0"/>
              <c:showPercent val="0"/>
              <c:showBubbleSize val="0"/>
              <c:extLst>
                <c:ext xmlns:c15="http://schemas.microsoft.com/office/drawing/2012/chart" uri="{CE6537A1-D6FC-4f65-9D91-7224C49458BB}">
                  <c15:layout>
                    <c:manualLayout>
                      <c:w val="0.24556187359251772"/>
                      <c:h val="9.7262226694337886E-2"/>
                    </c:manualLayout>
                  </c15:layout>
                </c:ext>
                <c:ext xmlns:c16="http://schemas.microsoft.com/office/drawing/2014/chart" uri="{C3380CC4-5D6E-409C-BE32-E72D297353CC}">
                  <c16:uniqueId val="{0000000D-BC04-4656-9941-6EBBB65D9330}"/>
                </c:ext>
              </c:extLst>
            </c:dLbl>
            <c:dLbl>
              <c:idx val="7"/>
              <c:layout>
                <c:manualLayout>
                  <c:x val="-2.0456455475030041E-2"/>
                  <c:y val="0.11767580422382007"/>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BC04-4656-9941-6EBBB65D9330}"/>
                </c:ext>
              </c:extLst>
            </c:dLbl>
            <c:dLbl>
              <c:idx val="8"/>
              <c:layout>
                <c:manualLayout>
                  <c:x val="-0.11998591527804095"/>
                  <c:y val="9.383500222441169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C04-4656-9941-6EBBB65D9330}"/>
                </c:ext>
              </c:extLst>
            </c:dLbl>
            <c:dLbl>
              <c:idx val="9"/>
              <c:layout>
                <c:manualLayout>
                  <c:x val="-0.12007978767069179"/>
                  <c:y val="6.8036717932950769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3-BC04-4656-9941-6EBBB65D9330}"/>
                </c:ext>
              </c:extLst>
            </c:dLbl>
            <c:dLbl>
              <c:idx val="10"/>
              <c:layout>
                <c:manualLayout>
                  <c:x val="-0.14687572009879393"/>
                  <c:y val="3.6454031542390762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5-BC04-4656-9941-6EBBB65D9330}"/>
                </c:ext>
              </c:extLst>
            </c:dLbl>
            <c:dLbl>
              <c:idx val="11"/>
              <c:layout>
                <c:manualLayout>
                  <c:x val="-0.15904706773356697"/>
                  <c:y val="-1.2965175728523945E-2"/>
                </c:manualLayout>
              </c:layout>
              <c:tx>
                <c:rich>
                  <a:bodyPr/>
                  <a:lstStyle/>
                  <a:p>
                    <a:r>
                      <a:rPr lang="en-US" dirty="0"/>
                      <a:t>Liquified</a:t>
                    </a:r>
                    <a:r>
                      <a:rPr lang="en-US" baseline="0" dirty="0"/>
                      <a:t> Ammonia</a:t>
                    </a:r>
                    <a:endParaRPr lang="en-US" dirty="0"/>
                  </a:p>
                </c:rich>
              </c:tx>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7-BC04-4656-9941-6EBBB65D9330}"/>
                </c:ext>
              </c:extLst>
            </c:dLbl>
            <c:dLbl>
              <c:idx val="12"/>
              <c:layout>
                <c:manualLayout>
                  <c:x val="-0.17184423131934559"/>
                  <c:y val="-6.3340880028509738E-2"/>
                </c:manualLayout>
              </c:layout>
              <c:showLegendKey val="0"/>
              <c:showVal val="0"/>
              <c:showCatName val="1"/>
              <c:showSerName val="0"/>
              <c:showPercent val="0"/>
              <c:showBubbleSize val="0"/>
              <c:extLst>
                <c:ext xmlns:c15="http://schemas.microsoft.com/office/drawing/2012/chart" uri="{CE6537A1-D6FC-4f65-9D91-7224C49458BB}">
                  <c15:layout>
                    <c:manualLayout>
                      <c:w val="0.24844429687549796"/>
                      <c:h val="0.1383216056758601"/>
                    </c:manualLayout>
                  </c15:layout>
                </c:ext>
                <c:ext xmlns:c16="http://schemas.microsoft.com/office/drawing/2014/chart" uri="{C3380CC4-5D6E-409C-BE32-E72D297353CC}">
                  <c16:uniqueId val="{00000019-BC04-4656-9941-6EBBB65D9330}"/>
                </c:ext>
              </c:extLst>
            </c:dLbl>
            <c:dLbl>
              <c:idx val="13"/>
              <c:layout>
                <c:manualLayout>
                  <c:x val="-0.11617519833440243"/>
                  <c:y val="-0.11667516834487465"/>
                </c:manualLayout>
              </c:layout>
              <c:spPr>
                <a:noFill/>
                <a:ln>
                  <a:noFill/>
                </a:ln>
                <a:effectLst/>
              </c:spPr>
              <c:txPr>
                <a:bodyPr rot="0" spcFirstLastPara="1" vertOverflow="ellipsis" vert="horz" wrap="square" anchor="ctr" anchorCtr="1"/>
                <a:lstStyle/>
                <a:p>
                  <a:pPr>
                    <a:defRPr sz="900" b="1" i="0" u="none" strike="noStrike" kern="1200" baseline="0">
                      <a:solidFill>
                        <a:srgbClr val="FBB425"/>
                      </a:solidFill>
                      <a:latin typeface="Verdana" panose="020B0604030504040204" pitchFamily="34" charset="0"/>
                      <a:ea typeface="Verdana" panose="020B0604030504040204" pitchFamily="34" charset="0"/>
                      <a:cs typeface="+mn-cs"/>
                    </a:defRPr>
                  </a:pPr>
                  <a:endParaRPr lang="en-US"/>
                </a:p>
              </c:txP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B-BC04-4656-9941-6EBBB65D9330}"/>
                </c:ext>
              </c:extLst>
            </c:dLbl>
            <c:dLbl>
              <c:idx val="14"/>
              <c:layout>
                <c:manualLayout>
                  <c:x val="-2.6275771207096597E-2"/>
                  <c:y val="-0.13642538205144331"/>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D-BC04-4656-9941-6EBBB65D9330}"/>
                </c:ext>
              </c:extLst>
            </c:dLbl>
            <c:spPr>
              <a:noFill/>
              <a:ln>
                <a:noFill/>
              </a:ln>
              <a:effectLst/>
            </c:spPr>
            <c:txPr>
              <a:bodyPr rot="0" spcFirstLastPara="1" vertOverflow="ellipsis" vert="horz" wrap="square" anchor="ctr" anchorCtr="1"/>
              <a:lstStyle/>
              <a:p>
                <a:pPr>
                  <a:defRPr sz="900" b="1"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Sheet6!$B$36:$B$50</c:f>
              <c:strCache>
                <c:ptCount val="15"/>
                <c:pt idx="0">
                  <c:v>Sodium Cyanide</c:v>
                </c:pt>
                <c:pt idx="1">
                  <c:v>Hydrazine Hydrate (80% &amp; 64%)</c:v>
                </c:pt>
                <c:pt idx="2">
                  <c:v>Dry HCl gas</c:v>
                </c:pt>
                <c:pt idx="3">
                  <c:v>Bromine</c:v>
                </c:pt>
                <c:pt idx="4">
                  <c:v>Chlorine</c:v>
                </c:pt>
                <c:pt idx="5">
                  <c:v>KF &amp; Fluorinating agents</c:v>
                </c:pt>
                <c:pt idx="6">
                  <c:v>Sodium Fluoroborate</c:v>
                </c:pt>
                <c:pt idx="7">
                  <c:v>Dimethyl Sulphate</c:v>
                </c:pt>
                <c:pt idx="8">
                  <c:v>Sodium Methoxide</c:v>
                </c:pt>
                <c:pt idx="9">
                  <c:v>Hydrogen</c:v>
                </c:pt>
                <c:pt idx="10">
                  <c:v>Precious Metal Catalysts</c:v>
                </c:pt>
                <c:pt idx="11">
                  <c:v>Liquefied Ammonia &amp; Aqueous Ammonia</c:v>
                </c:pt>
                <c:pt idx="12">
                  <c:v>Thionyl Chloride / Sulfuryl Chloride</c:v>
                </c:pt>
                <c:pt idx="13">
                  <c:v>Triphosgene</c:v>
                </c:pt>
                <c:pt idx="14">
                  <c:v>CO2</c:v>
                </c:pt>
              </c:strCache>
            </c:strRef>
          </c:cat>
          <c:val>
            <c:numRef>
              <c:f>Sheet6!$C$36:$C$50</c:f>
              <c:numCache>
                <c:formatCode>General</c:formatCode>
                <c:ptCount val="15"/>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numCache>
            </c:numRef>
          </c:val>
          <c:extLst>
            <c:ext xmlns:c16="http://schemas.microsoft.com/office/drawing/2014/chart" uri="{C3380CC4-5D6E-409C-BE32-E72D297353CC}">
              <c16:uniqueId val="{0000001E-BC04-4656-9941-6EBBB65D9330}"/>
            </c:ext>
          </c:extLst>
        </c:ser>
        <c:dLbls>
          <c:showLegendKey val="0"/>
          <c:showVal val="1"/>
          <c:showCatName val="0"/>
          <c:showSerName val="0"/>
          <c:showPercent val="0"/>
          <c:showBubbleSize val="0"/>
          <c:showLeaderLines val="0"/>
        </c:dLbls>
        <c:firstSliceAng val="0"/>
        <c:holeSize val="58"/>
      </c:doughnutChart>
      <c:spPr>
        <a:noFill/>
        <a:ln>
          <a:noFill/>
        </a:ln>
        <a:effectLst/>
      </c:spPr>
    </c:plotArea>
    <c:plotVisOnly val="1"/>
    <c:dispBlanksAs val="zero"/>
    <c:showDLblsOverMax val="0"/>
  </c:chart>
  <c:spPr>
    <a:noFill/>
    <a:ln>
      <a:noFill/>
    </a:ln>
    <a:effectLst/>
  </c:spPr>
  <c:txPr>
    <a:bodyPr/>
    <a:lstStyle/>
    <a:p>
      <a:pPr>
        <a:defRPr sz="800">
          <a:solidFill>
            <a:schemeClr val="tx1"/>
          </a:solidFill>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0AB22E9-8BC7-4E16-A985-9B183E769FE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A8CE860-BB0E-4C45-A041-859BFE01B00C}">
      <dgm:prSet/>
      <dgm:spPr/>
      <dgm:t>
        <a:bodyPr/>
        <a:lstStyle/>
        <a:p>
          <a:pPr>
            <a:lnSpc>
              <a:spcPct val="100000"/>
            </a:lnSpc>
          </a:pPr>
          <a:r>
            <a:rPr lang="en-US" dirty="0"/>
            <a:t>Site 2 – Intermediates &amp; Actives</a:t>
          </a:r>
        </a:p>
      </dgm:t>
    </dgm:pt>
    <dgm:pt modelId="{88DD69FE-7C0F-4DC6-AD9F-51C5E5FEE9F7}" type="parTrans" cxnId="{9EC7B65C-7D34-4F72-92AC-FFCDB97DCE1F}">
      <dgm:prSet/>
      <dgm:spPr/>
      <dgm:t>
        <a:bodyPr/>
        <a:lstStyle/>
        <a:p>
          <a:endParaRPr lang="en-US"/>
        </a:p>
      </dgm:t>
    </dgm:pt>
    <dgm:pt modelId="{9B99DE5D-A21E-4AAD-8421-7FDB79489D58}" type="sibTrans" cxnId="{9EC7B65C-7D34-4F72-92AC-FFCDB97DCE1F}">
      <dgm:prSet/>
      <dgm:spPr/>
      <dgm:t>
        <a:bodyPr/>
        <a:lstStyle/>
        <a:p>
          <a:endParaRPr lang="en-US"/>
        </a:p>
      </dgm:t>
    </dgm:pt>
    <dgm:pt modelId="{52B6A7B9-B25C-4C05-BD6E-2A5DC7A4B39F}">
      <dgm:prSet/>
      <dgm:spPr/>
      <dgm:t>
        <a:bodyPr/>
        <a:lstStyle/>
        <a:p>
          <a:pPr>
            <a:lnSpc>
              <a:spcPct val="100000"/>
            </a:lnSpc>
          </a:pPr>
          <a:r>
            <a:rPr lang="en-US" dirty="0"/>
            <a:t>Site 3 - Herbicides</a:t>
          </a:r>
        </a:p>
      </dgm:t>
    </dgm:pt>
    <dgm:pt modelId="{62CB5A3D-E5CB-420E-A44A-402CC085774A}" type="parTrans" cxnId="{030A4186-0586-468B-BD35-8F77D2CF041D}">
      <dgm:prSet/>
      <dgm:spPr/>
    </dgm:pt>
    <dgm:pt modelId="{7BC488A0-6B21-4C45-94B4-D7194ECFC3A6}" type="sibTrans" cxnId="{030A4186-0586-468B-BD35-8F77D2CF041D}">
      <dgm:prSet/>
      <dgm:spPr/>
    </dgm:pt>
    <dgm:pt modelId="{706626B3-BBBA-4717-83D4-2A65FB2EFC4C}">
      <dgm:prSet/>
      <dgm:spPr/>
      <dgm:t>
        <a:bodyPr/>
        <a:lstStyle/>
        <a:p>
          <a:pPr>
            <a:lnSpc>
              <a:spcPct val="100000"/>
            </a:lnSpc>
          </a:pPr>
          <a:r>
            <a:rPr lang="en-US" dirty="0"/>
            <a:t>New Pilot Scale Up Studies </a:t>
          </a:r>
        </a:p>
        <a:p>
          <a:pPr>
            <a:lnSpc>
              <a:spcPct val="100000"/>
            </a:lnSpc>
          </a:pPr>
          <a:r>
            <a:rPr lang="en-US" dirty="0"/>
            <a:t>New Kilo Plant for CDMO Services</a:t>
          </a:r>
        </a:p>
      </dgm:t>
    </dgm:pt>
    <dgm:pt modelId="{FE49977B-3262-4F6E-AF88-00910682CE17}" type="parTrans" cxnId="{D9991B00-234A-443A-910E-D9BD67F69307}">
      <dgm:prSet/>
      <dgm:spPr/>
    </dgm:pt>
    <dgm:pt modelId="{63E419B0-4D2A-45B4-AFD5-86A64519C2A1}" type="sibTrans" cxnId="{D9991B00-234A-443A-910E-D9BD67F69307}">
      <dgm:prSet/>
      <dgm:spPr/>
    </dgm:pt>
    <dgm:pt modelId="{D5C3F3A9-2758-EB44-B0BC-388EAC004AE8}" type="pres">
      <dgm:prSet presAssocID="{B0AB22E9-8BC7-4E16-A985-9B183E769FE8}" presName="diagram" presStyleCnt="0">
        <dgm:presLayoutVars>
          <dgm:dir/>
          <dgm:resizeHandles val="exact"/>
        </dgm:presLayoutVars>
      </dgm:prSet>
      <dgm:spPr/>
    </dgm:pt>
    <dgm:pt modelId="{A1475E74-6503-CA4D-844F-1D41CE845CFA}" type="pres">
      <dgm:prSet presAssocID="{0A8CE860-BB0E-4C45-A041-859BFE01B00C}" presName="node" presStyleLbl="node1" presStyleIdx="0" presStyleCnt="3">
        <dgm:presLayoutVars>
          <dgm:bulletEnabled val="1"/>
        </dgm:presLayoutVars>
      </dgm:prSet>
      <dgm:spPr/>
    </dgm:pt>
    <dgm:pt modelId="{4005FC79-4507-499E-8CF0-805A0E020E8C}" type="pres">
      <dgm:prSet presAssocID="{9B99DE5D-A21E-4AAD-8421-7FDB79489D58}" presName="sibTrans" presStyleCnt="0"/>
      <dgm:spPr/>
    </dgm:pt>
    <dgm:pt modelId="{88420C14-6ED2-47CB-892B-AB8B28EB56C0}" type="pres">
      <dgm:prSet presAssocID="{52B6A7B9-B25C-4C05-BD6E-2A5DC7A4B39F}" presName="node" presStyleLbl="node1" presStyleIdx="1" presStyleCnt="3">
        <dgm:presLayoutVars>
          <dgm:bulletEnabled val="1"/>
        </dgm:presLayoutVars>
      </dgm:prSet>
      <dgm:spPr/>
    </dgm:pt>
    <dgm:pt modelId="{595B4434-B328-47C9-A7D0-0EEC0CD2E78B}" type="pres">
      <dgm:prSet presAssocID="{7BC488A0-6B21-4C45-94B4-D7194ECFC3A6}" presName="sibTrans" presStyleCnt="0"/>
      <dgm:spPr/>
    </dgm:pt>
    <dgm:pt modelId="{661890CA-1748-48F8-9951-0A383BB37B61}" type="pres">
      <dgm:prSet presAssocID="{706626B3-BBBA-4717-83D4-2A65FB2EFC4C}" presName="node" presStyleLbl="node1" presStyleIdx="2" presStyleCnt="3">
        <dgm:presLayoutVars>
          <dgm:bulletEnabled val="1"/>
        </dgm:presLayoutVars>
      </dgm:prSet>
      <dgm:spPr/>
    </dgm:pt>
  </dgm:ptLst>
  <dgm:cxnLst>
    <dgm:cxn modelId="{D9991B00-234A-443A-910E-D9BD67F69307}" srcId="{B0AB22E9-8BC7-4E16-A985-9B183E769FE8}" destId="{706626B3-BBBA-4717-83D4-2A65FB2EFC4C}" srcOrd="2" destOrd="0" parTransId="{FE49977B-3262-4F6E-AF88-00910682CE17}" sibTransId="{63E419B0-4D2A-45B4-AFD5-86A64519C2A1}"/>
    <dgm:cxn modelId="{2DD50331-AC0E-9A45-950C-8763E4729572}" type="presOf" srcId="{0A8CE860-BB0E-4C45-A041-859BFE01B00C}" destId="{A1475E74-6503-CA4D-844F-1D41CE845CFA}" srcOrd="0" destOrd="0" presId="urn:microsoft.com/office/officeart/2005/8/layout/default"/>
    <dgm:cxn modelId="{9EC7B65C-7D34-4F72-92AC-FFCDB97DCE1F}" srcId="{B0AB22E9-8BC7-4E16-A985-9B183E769FE8}" destId="{0A8CE860-BB0E-4C45-A041-859BFE01B00C}" srcOrd="0" destOrd="0" parTransId="{88DD69FE-7C0F-4DC6-AD9F-51C5E5FEE9F7}" sibTransId="{9B99DE5D-A21E-4AAD-8421-7FDB79489D58}"/>
    <dgm:cxn modelId="{71743371-44F9-0F46-BAA8-64592D8644CC}" type="presOf" srcId="{B0AB22E9-8BC7-4E16-A985-9B183E769FE8}" destId="{D5C3F3A9-2758-EB44-B0BC-388EAC004AE8}" srcOrd="0" destOrd="0" presId="urn:microsoft.com/office/officeart/2005/8/layout/default"/>
    <dgm:cxn modelId="{7258D875-785B-4714-8440-7F232B71FCA9}" type="presOf" srcId="{52B6A7B9-B25C-4C05-BD6E-2A5DC7A4B39F}" destId="{88420C14-6ED2-47CB-892B-AB8B28EB56C0}" srcOrd="0" destOrd="0" presId="urn:microsoft.com/office/officeart/2005/8/layout/default"/>
    <dgm:cxn modelId="{030A4186-0586-468B-BD35-8F77D2CF041D}" srcId="{B0AB22E9-8BC7-4E16-A985-9B183E769FE8}" destId="{52B6A7B9-B25C-4C05-BD6E-2A5DC7A4B39F}" srcOrd="1" destOrd="0" parTransId="{62CB5A3D-E5CB-420E-A44A-402CC085774A}" sibTransId="{7BC488A0-6B21-4C45-94B4-D7194ECFC3A6}"/>
    <dgm:cxn modelId="{D267B6E2-912A-4279-9B98-B1B70382D73B}" type="presOf" srcId="{706626B3-BBBA-4717-83D4-2A65FB2EFC4C}" destId="{661890CA-1748-48F8-9951-0A383BB37B61}" srcOrd="0" destOrd="0" presId="urn:microsoft.com/office/officeart/2005/8/layout/default"/>
    <dgm:cxn modelId="{B4A85475-26F6-894B-9EC4-0CB0B2976F07}" type="presParOf" srcId="{D5C3F3A9-2758-EB44-B0BC-388EAC004AE8}" destId="{A1475E74-6503-CA4D-844F-1D41CE845CFA}" srcOrd="0" destOrd="0" presId="urn:microsoft.com/office/officeart/2005/8/layout/default"/>
    <dgm:cxn modelId="{4AAF418D-3AEF-457B-9B9F-9ACE9D671CB6}" type="presParOf" srcId="{D5C3F3A9-2758-EB44-B0BC-388EAC004AE8}" destId="{4005FC79-4507-499E-8CF0-805A0E020E8C}" srcOrd="1" destOrd="0" presId="urn:microsoft.com/office/officeart/2005/8/layout/default"/>
    <dgm:cxn modelId="{D394865C-9EF7-4021-BC37-D69C35DA5507}" type="presParOf" srcId="{D5C3F3A9-2758-EB44-B0BC-388EAC004AE8}" destId="{88420C14-6ED2-47CB-892B-AB8B28EB56C0}" srcOrd="2" destOrd="0" presId="urn:microsoft.com/office/officeart/2005/8/layout/default"/>
    <dgm:cxn modelId="{F5FCFC19-DE61-446A-91F3-3BBFC909AC3B}" type="presParOf" srcId="{D5C3F3A9-2758-EB44-B0BC-388EAC004AE8}" destId="{595B4434-B328-47C9-A7D0-0EEC0CD2E78B}" srcOrd="3" destOrd="0" presId="urn:microsoft.com/office/officeart/2005/8/layout/default"/>
    <dgm:cxn modelId="{F387F3F5-809B-4DE9-A5A9-35A3CD4B40C6}" type="presParOf" srcId="{D5C3F3A9-2758-EB44-B0BC-388EAC004AE8}" destId="{661890CA-1748-48F8-9951-0A383BB37B61}"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0AB22E9-8BC7-4E16-A985-9B183E769FE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A8CE860-BB0E-4C45-A041-859BFE01B00C}">
      <dgm:prSet/>
      <dgm:spPr/>
      <dgm:t>
        <a:bodyPr/>
        <a:lstStyle/>
        <a:p>
          <a:pPr>
            <a:lnSpc>
              <a:spcPct val="100000"/>
            </a:lnSpc>
          </a:pPr>
          <a:r>
            <a:rPr lang="en-US" dirty="0"/>
            <a:t>Commercial Scale</a:t>
          </a:r>
        </a:p>
      </dgm:t>
    </dgm:pt>
    <dgm:pt modelId="{88DD69FE-7C0F-4DC6-AD9F-51C5E5FEE9F7}" type="parTrans" cxnId="{9EC7B65C-7D34-4F72-92AC-FFCDB97DCE1F}">
      <dgm:prSet/>
      <dgm:spPr/>
      <dgm:t>
        <a:bodyPr/>
        <a:lstStyle/>
        <a:p>
          <a:endParaRPr lang="en-US"/>
        </a:p>
      </dgm:t>
    </dgm:pt>
    <dgm:pt modelId="{9B99DE5D-A21E-4AAD-8421-7FDB79489D58}" type="sibTrans" cxnId="{9EC7B65C-7D34-4F72-92AC-FFCDB97DCE1F}">
      <dgm:prSet/>
      <dgm:spPr/>
      <dgm:t>
        <a:bodyPr/>
        <a:lstStyle/>
        <a:p>
          <a:endParaRPr lang="en-US"/>
        </a:p>
      </dgm:t>
    </dgm:pt>
    <dgm:pt modelId="{52B6A7B9-B25C-4C05-BD6E-2A5DC7A4B39F}">
      <dgm:prSet/>
      <dgm:spPr/>
      <dgm:t>
        <a:bodyPr/>
        <a:lstStyle/>
        <a:p>
          <a:pPr>
            <a:lnSpc>
              <a:spcPct val="100000"/>
            </a:lnSpc>
          </a:pPr>
          <a:r>
            <a:rPr lang="en-US" dirty="0"/>
            <a:t>Lab / Pilot Scale</a:t>
          </a:r>
        </a:p>
      </dgm:t>
    </dgm:pt>
    <dgm:pt modelId="{62CB5A3D-E5CB-420E-A44A-402CC085774A}" type="parTrans" cxnId="{030A4186-0586-468B-BD35-8F77D2CF041D}">
      <dgm:prSet/>
      <dgm:spPr/>
    </dgm:pt>
    <dgm:pt modelId="{7BC488A0-6B21-4C45-94B4-D7194ECFC3A6}" type="sibTrans" cxnId="{030A4186-0586-468B-BD35-8F77D2CF041D}">
      <dgm:prSet/>
      <dgm:spPr/>
    </dgm:pt>
    <dgm:pt modelId="{706626B3-BBBA-4717-83D4-2A65FB2EFC4C}">
      <dgm:prSet/>
      <dgm:spPr/>
      <dgm:t>
        <a:bodyPr/>
        <a:lstStyle/>
        <a:p>
          <a:pPr>
            <a:lnSpc>
              <a:spcPct val="100000"/>
            </a:lnSpc>
          </a:pPr>
          <a:r>
            <a:rPr lang="en-US" dirty="0"/>
            <a:t>Analysis Capabilities</a:t>
          </a:r>
        </a:p>
      </dgm:t>
    </dgm:pt>
    <dgm:pt modelId="{FE49977B-3262-4F6E-AF88-00910682CE17}" type="parTrans" cxnId="{D9991B00-234A-443A-910E-D9BD67F69307}">
      <dgm:prSet/>
      <dgm:spPr/>
    </dgm:pt>
    <dgm:pt modelId="{63E419B0-4D2A-45B4-AFD5-86A64519C2A1}" type="sibTrans" cxnId="{D9991B00-234A-443A-910E-D9BD67F69307}">
      <dgm:prSet/>
      <dgm:spPr/>
    </dgm:pt>
    <dgm:pt modelId="{D5C3F3A9-2758-EB44-B0BC-388EAC004AE8}" type="pres">
      <dgm:prSet presAssocID="{B0AB22E9-8BC7-4E16-A985-9B183E769FE8}" presName="diagram" presStyleCnt="0">
        <dgm:presLayoutVars>
          <dgm:dir/>
          <dgm:resizeHandles val="exact"/>
        </dgm:presLayoutVars>
      </dgm:prSet>
      <dgm:spPr/>
    </dgm:pt>
    <dgm:pt modelId="{A1475E74-6503-CA4D-844F-1D41CE845CFA}" type="pres">
      <dgm:prSet presAssocID="{0A8CE860-BB0E-4C45-A041-859BFE01B00C}" presName="node" presStyleLbl="node1" presStyleIdx="0" presStyleCnt="3">
        <dgm:presLayoutVars>
          <dgm:bulletEnabled val="1"/>
        </dgm:presLayoutVars>
      </dgm:prSet>
      <dgm:spPr/>
    </dgm:pt>
    <dgm:pt modelId="{4005FC79-4507-499E-8CF0-805A0E020E8C}" type="pres">
      <dgm:prSet presAssocID="{9B99DE5D-A21E-4AAD-8421-7FDB79489D58}" presName="sibTrans" presStyleCnt="0"/>
      <dgm:spPr/>
    </dgm:pt>
    <dgm:pt modelId="{88420C14-6ED2-47CB-892B-AB8B28EB56C0}" type="pres">
      <dgm:prSet presAssocID="{52B6A7B9-B25C-4C05-BD6E-2A5DC7A4B39F}" presName="node" presStyleLbl="node1" presStyleIdx="1" presStyleCnt="3">
        <dgm:presLayoutVars>
          <dgm:bulletEnabled val="1"/>
        </dgm:presLayoutVars>
      </dgm:prSet>
      <dgm:spPr/>
    </dgm:pt>
    <dgm:pt modelId="{595B4434-B328-47C9-A7D0-0EEC0CD2E78B}" type="pres">
      <dgm:prSet presAssocID="{7BC488A0-6B21-4C45-94B4-D7194ECFC3A6}" presName="sibTrans" presStyleCnt="0"/>
      <dgm:spPr/>
    </dgm:pt>
    <dgm:pt modelId="{661890CA-1748-48F8-9951-0A383BB37B61}" type="pres">
      <dgm:prSet presAssocID="{706626B3-BBBA-4717-83D4-2A65FB2EFC4C}" presName="node" presStyleLbl="node1" presStyleIdx="2" presStyleCnt="3">
        <dgm:presLayoutVars>
          <dgm:bulletEnabled val="1"/>
        </dgm:presLayoutVars>
      </dgm:prSet>
      <dgm:spPr/>
    </dgm:pt>
  </dgm:ptLst>
  <dgm:cxnLst>
    <dgm:cxn modelId="{D9991B00-234A-443A-910E-D9BD67F69307}" srcId="{B0AB22E9-8BC7-4E16-A985-9B183E769FE8}" destId="{706626B3-BBBA-4717-83D4-2A65FB2EFC4C}" srcOrd="2" destOrd="0" parTransId="{FE49977B-3262-4F6E-AF88-00910682CE17}" sibTransId="{63E419B0-4D2A-45B4-AFD5-86A64519C2A1}"/>
    <dgm:cxn modelId="{2DD50331-AC0E-9A45-950C-8763E4729572}" type="presOf" srcId="{0A8CE860-BB0E-4C45-A041-859BFE01B00C}" destId="{A1475E74-6503-CA4D-844F-1D41CE845CFA}" srcOrd="0" destOrd="0" presId="urn:microsoft.com/office/officeart/2005/8/layout/default"/>
    <dgm:cxn modelId="{9EC7B65C-7D34-4F72-92AC-FFCDB97DCE1F}" srcId="{B0AB22E9-8BC7-4E16-A985-9B183E769FE8}" destId="{0A8CE860-BB0E-4C45-A041-859BFE01B00C}" srcOrd="0" destOrd="0" parTransId="{88DD69FE-7C0F-4DC6-AD9F-51C5E5FEE9F7}" sibTransId="{9B99DE5D-A21E-4AAD-8421-7FDB79489D58}"/>
    <dgm:cxn modelId="{71743371-44F9-0F46-BAA8-64592D8644CC}" type="presOf" srcId="{B0AB22E9-8BC7-4E16-A985-9B183E769FE8}" destId="{D5C3F3A9-2758-EB44-B0BC-388EAC004AE8}" srcOrd="0" destOrd="0" presId="urn:microsoft.com/office/officeart/2005/8/layout/default"/>
    <dgm:cxn modelId="{7258D875-785B-4714-8440-7F232B71FCA9}" type="presOf" srcId="{52B6A7B9-B25C-4C05-BD6E-2A5DC7A4B39F}" destId="{88420C14-6ED2-47CB-892B-AB8B28EB56C0}" srcOrd="0" destOrd="0" presId="urn:microsoft.com/office/officeart/2005/8/layout/default"/>
    <dgm:cxn modelId="{030A4186-0586-468B-BD35-8F77D2CF041D}" srcId="{B0AB22E9-8BC7-4E16-A985-9B183E769FE8}" destId="{52B6A7B9-B25C-4C05-BD6E-2A5DC7A4B39F}" srcOrd="1" destOrd="0" parTransId="{62CB5A3D-E5CB-420E-A44A-402CC085774A}" sibTransId="{7BC488A0-6B21-4C45-94B4-D7194ECFC3A6}"/>
    <dgm:cxn modelId="{D267B6E2-912A-4279-9B98-B1B70382D73B}" type="presOf" srcId="{706626B3-BBBA-4717-83D4-2A65FB2EFC4C}" destId="{661890CA-1748-48F8-9951-0A383BB37B61}" srcOrd="0" destOrd="0" presId="urn:microsoft.com/office/officeart/2005/8/layout/default"/>
    <dgm:cxn modelId="{B4A85475-26F6-894B-9EC4-0CB0B2976F07}" type="presParOf" srcId="{D5C3F3A9-2758-EB44-B0BC-388EAC004AE8}" destId="{A1475E74-6503-CA4D-844F-1D41CE845CFA}" srcOrd="0" destOrd="0" presId="urn:microsoft.com/office/officeart/2005/8/layout/default"/>
    <dgm:cxn modelId="{4AAF418D-3AEF-457B-9B9F-9ACE9D671CB6}" type="presParOf" srcId="{D5C3F3A9-2758-EB44-B0BC-388EAC004AE8}" destId="{4005FC79-4507-499E-8CF0-805A0E020E8C}" srcOrd="1" destOrd="0" presId="urn:microsoft.com/office/officeart/2005/8/layout/default"/>
    <dgm:cxn modelId="{D394865C-9EF7-4021-BC37-D69C35DA5507}" type="presParOf" srcId="{D5C3F3A9-2758-EB44-B0BC-388EAC004AE8}" destId="{88420C14-6ED2-47CB-892B-AB8B28EB56C0}" srcOrd="2" destOrd="0" presId="urn:microsoft.com/office/officeart/2005/8/layout/default"/>
    <dgm:cxn modelId="{F5FCFC19-DE61-446A-91F3-3BBFC909AC3B}" type="presParOf" srcId="{D5C3F3A9-2758-EB44-B0BC-388EAC004AE8}" destId="{595B4434-B328-47C9-A7D0-0EEC0CD2E78B}" srcOrd="3" destOrd="0" presId="urn:microsoft.com/office/officeart/2005/8/layout/default"/>
    <dgm:cxn modelId="{F387F3F5-809B-4DE9-A5A9-35A3CD4B40C6}" type="presParOf" srcId="{D5C3F3A9-2758-EB44-B0BC-388EAC004AE8}" destId="{661890CA-1748-48F8-9951-0A383BB37B61}"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0AB22E9-8BC7-4E16-A985-9B183E769FE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A8CE860-BB0E-4C45-A041-859BFE01B00C}">
      <dgm:prSet/>
      <dgm:spPr/>
      <dgm:t>
        <a:bodyPr/>
        <a:lstStyle/>
        <a:p>
          <a:pPr>
            <a:lnSpc>
              <a:spcPct val="100000"/>
            </a:lnSpc>
          </a:pPr>
          <a:r>
            <a:rPr lang="en-US" dirty="0"/>
            <a:t>Exclusive Synthesis</a:t>
          </a:r>
        </a:p>
        <a:p>
          <a:pPr>
            <a:lnSpc>
              <a:spcPct val="100000"/>
            </a:lnSpc>
          </a:pPr>
          <a:r>
            <a:rPr lang="en-US" dirty="0"/>
            <a:t>(70%-75% revenue)</a:t>
          </a:r>
        </a:p>
        <a:p>
          <a:pPr>
            <a:lnSpc>
              <a:spcPct val="100000"/>
            </a:lnSpc>
          </a:pPr>
          <a:r>
            <a:rPr lang="en-US" dirty="0"/>
            <a:t>Agrochemical Innovators</a:t>
          </a:r>
        </a:p>
        <a:p>
          <a:pPr>
            <a:lnSpc>
              <a:spcPct val="100000"/>
            </a:lnSpc>
          </a:pPr>
          <a:r>
            <a:rPr lang="en-US" dirty="0"/>
            <a:t>(All Exports)</a:t>
          </a:r>
        </a:p>
      </dgm:t>
    </dgm:pt>
    <dgm:pt modelId="{88DD69FE-7C0F-4DC6-AD9F-51C5E5FEE9F7}" type="parTrans" cxnId="{9EC7B65C-7D34-4F72-92AC-FFCDB97DCE1F}">
      <dgm:prSet/>
      <dgm:spPr/>
      <dgm:t>
        <a:bodyPr/>
        <a:lstStyle/>
        <a:p>
          <a:endParaRPr lang="en-US"/>
        </a:p>
      </dgm:t>
    </dgm:pt>
    <dgm:pt modelId="{9B99DE5D-A21E-4AAD-8421-7FDB79489D58}" type="sibTrans" cxnId="{9EC7B65C-7D34-4F72-92AC-FFCDB97DCE1F}">
      <dgm:prSet/>
      <dgm:spPr/>
      <dgm:t>
        <a:bodyPr/>
        <a:lstStyle/>
        <a:p>
          <a:endParaRPr lang="en-US"/>
        </a:p>
      </dgm:t>
    </dgm:pt>
    <dgm:pt modelId="{52B6A7B9-B25C-4C05-BD6E-2A5DC7A4B39F}">
      <dgm:prSet/>
      <dgm:spPr/>
      <dgm:t>
        <a:bodyPr/>
        <a:lstStyle/>
        <a:p>
          <a:pPr>
            <a:lnSpc>
              <a:spcPct val="100000"/>
            </a:lnSpc>
          </a:pPr>
          <a:r>
            <a:rPr lang="en-US" dirty="0"/>
            <a:t>CDMO Services</a:t>
          </a:r>
        </a:p>
        <a:p>
          <a:pPr>
            <a:lnSpc>
              <a:spcPct val="100000"/>
            </a:lnSpc>
          </a:pPr>
          <a:r>
            <a:rPr lang="en-US" dirty="0"/>
            <a:t>(~5% revenue)</a:t>
          </a:r>
        </a:p>
        <a:p>
          <a:pPr>
            <a:lnSpc>
              <a:spcPct val="100000"/>
            </a:lnSpc>
          </a:pPr>
          <a:r>
            <a:rPr lang="en-US" dirty="0"/>
            <a:t>Primarily for Pharma</a:t>
          </a:r>
        </a:p>
        <a:p>
          <a:pPr>
            <a:lnSpc>
              <a:spcPct val="100000"/>
            </a:lnSpc>
          </a:pPr>
          <a:r>
            <a:rPr lang="en-US" dirty="0"/>
            <a:t>(Mostly Exports)</a:t>
          </a:r>
        </a:p>
      </dgm:t>
    </dgm:pt>
    <dgm:pt modelId="{62CB5A3D-E5CB-420E-A44A-402CC085774A}" type="parTrans" cxnId="{030A4186-0586-468B-BD35-8F77D2CF041D}">
      <dgm:prSet/>
      <dgm:spPr/>
      <dgm:t>
        <a:bodyPr/>
        <a:lstStyle/>
        <a:p>
          <a:endParaRPr lang="en-GB"/>
        </a:p>
      </dgm:t>
    </dgm:pt>
    <dgm:pt modelId="{7BC488A0-6B21-4C45-94B4-D7194ECFC3A6}" type="sibTrans" cxnId="{030A4186-0586-468B-BD35-8F77D2CF041D}">
      <dgm:prSet/>
      <dgm:spPr/>
      <dgm:t>
        <a:bodyPr/>
        <a:lstStyle/>
        <a:p>
          <a:endParaRPr lang="en-GB"/>
        </a:p>
      </dgm:t>
    </dgm:pt>
    <dgm:pt modelId="{706626B3-BBBA-4717-83D4-2A65FB2EFC4C}">
      <dgm:prSet/>
      <dgm:spPr/>
      <dgm:t>
        <a:bodyPr/>
        <a:lstStyle/>
        <a:p>
          <a:pPr>
            <a:lnSpc>
              <a:spcPct val="100000"/>
            </a:lnSpc>
          </a:pPr>
          <a:r>
            <a:rPr lang="en-US" dirty="0"/>
            <a:t>Inventys Chemicals</a:t>
          </a:r>
        </a:p>
        <a:p>
          <a:pPr>
            <a:lnSpc>
              <a:spcPct val="100000"/>
            </a:lnSpc>
          </a:pPr>
          <a:r>
            <a:rPr lang="en-US" dirty="0"/>
            <a:t>(20%-25% revenue)</a:t>
          </a:r>
        </a:p>
        <a:p>
          <a:pPr>
            <a:lnSpc>
              <a:spcPct val="100000"/>
            </a:lnSpc>
          </a:pPr>
          <a:r>
            <a:rPr lang="en-US" dirty="0"/>
            <a:t>Pharma Manufacturers</a:t>
          </a:r>
        </a:p>
        <a:p>
          <a:pPr>
            <a:lnSpc>
              <a:spcPct val="100000"/>
            </a:lnSpc>
          </a:pPr>
          <a:r>
            <a:rPr lang="en-US" dirty="0"/>
            <a:t>(All within India)</a:t>
          </a:r>
        </a:p>
      </dgm:t>
    </dgm:pt>
    <dgm:pt modelId="{FE49977B-3262-4F6E-AF88-00910682CE17}" type="parTrans" cxnId="{D9991B00-234A-443A-910E-D9BD67F69307}">
      <dgm:prSet/>
      <dgm:spPr/>
      <dgm:t>
        <a:bodyPr/>
        <a:lstStyle/>
        <a:p>
          <a:endParaRPr lang="en-GB"/>
        </a:p>
      </dgm:t>
    </dgm:pt>
    <dgm:pt modelId="{63E419B0-4D2A-45B4-AFD5-86A64519C2A1}" type="sibTrans" cxnId="{D9991B00-234A-443A-910E-D9BD67F69307}">
      <dgm:prSet/>
      <dgm:spPr/>
      <dgm:t>
        <a:bodyPr/>
        <a:lstStyle/>
        <a:p>
          <a:endParaRPr lang="en-GB"/>
        </a:p>
      </dgm:t>
    </dgm:pt>
    <dgm:pt modelId="{D5C3F3A9-2758-EB44-B0BC-388EAC004AE8}" type="pres">
      <dgm:prSet presAssocID="{B0AB22E9-8BC7-4E16-A985-9B183E769FE8}" presName="diagram" presStyleCnt="0">
        <dgm:presLayoutVars>
          <dgm:dir/>
          <dgm:resizeHandles val="exact"/>
        </dgm:presLayoutVars>
      </dgm:prSet>
      <dgm:spPr/>
    </dgm:pt>
    <dgm:pt modelId="{A1475E74-6503-CA4D-844F-1D41CE845CFA}" type="pres">
      <dgm:prSet presAssocID="{0A8CE860-BB0E-4C45-A041-859BFE01B00C}" presName="node" presStyleLbl="node1" presStyleIdx="0" presStyleCnt="3">
        <dgm:presLayoutVars>
          <dgm:bulletEnabled val="1"/>
        </dgm:presLayoutVars>
      </dgm:prSet>
      <dgm:spPr/>
    </dgm:pt>
    <dgm:pt modelId="{4005FC79-4507-499E-8CF0-805A0E020E8C}" type="pres">
      <dgm:prSet presAssocID="{9B99DE5D-A21E-4AAD-8421-7FDB79489D58}" presName="sibTrans" presStyleCnt="0"/>
      <dgm:spPr/>
    </dgm:pt>
    <dgm:pt modelId="{88420C14-6ED2-47CB-892B-AB8B28EB56C0}" type="pres">
      <dgm:prSet presAssocID="{52B6A7B9-B25C-4C05-BD6E-2A5DC7A4B39F}" presName="node" presStyleLbl="node1" presStyleIdx="1" presStyleCnt="3">
        <dgm:presLayoutVars>
          <dgm:bulletEnabled val="1"/>
        </dgm:presLayoutVars>
      </dgm:prSet>
      <dgm:spPr/>
    </dgm:pt>
    <dgm:pt modelId="{595B4434-B328-47C9-A7D0-0EEC0CD2E78B}" type="pres">
      <dgm:prSet presAssocID="{7BC488A0-6B21-4C45-94B4-D7194ECFC3A6}" presName="sibTrans" presStyleCnt="0"/>
      <dgm:spPr/>
    </dgm:pt>
    <dgm:pt modelId="{661890CA-1748-48F8-9951-0A383BB37B61}" type="pres">
      <dgm:prSet presAssocID="{706626B3-BBBA-4717-83D4-2A65FB2EFC4C}" presName="node" presStyleLbl="node1" presStyleIdx="2" presStyleCnt="3">
        <dgm:presLayoutVars>
          <dgm:bulletEnabled val="1"/>
        </dgm:presLayoutVars>
      </dgm:prSet>
      <dgm:spPr/>
    </dgm:pt>
  </dgm:ptLst>
  <dgm:cxnLst>
    <dgm:cxn modelId="{D9991B00-234A-443A-910E-D9BD67F69307}" srcId="{B0AB22E9-8BC7-4E16-A985-9B183E769FE8}" destId="{706626B3-BBBA-4717-83D4-2A65FB2EFC4C}" srcOrd="2" destOrd="0" parTransId="{FE49977B-3262-4F6E-AF88-00910682CE17}" sibTransId="{63E419B0-4D2A-45B4-AFD5-86A64519C2A1}"/>
    <dgm:cxn modelId="{2DD50331-AC0E-9A45-950C-8763E4729572}" type="presOf" srcId="{0A8CE860-BB0E-4C45-A041-859BFE01B00C}" destId="{A1475E74-6503-CA4D-844F-1D41CE845CFA}" srcOrd="0" destOrd="0" presId="urn:microsoft.com/office/officeart/2005/8/layout/default"/>
    <dgm:cxn modelId="{9EC7B65C-7D34-4F72-92AC-FFCDB97DCE1F}" srcId="{B0AB22E9-8BC7-4E16-A985-9B183E769FE8}" destId="{0A8CE860-BB0E-4C45-A041-859BFE01B00C}" srcOrd="0" destOrd="0" parTransId="{88DD69FE-7C0F-4DC6-AD9F-51C5E5FEE9F7}" sibTransId="{9B99DE5D-A21E-4AAD-8421-7FDB79489D58}"/>
    <dgm:cxn modelId="{71743371-44F9-0F46-BAA8-64592D8644CC}" type="presOf" srcId="{B0AB22E9-8BC7-4E16-A985-9B183E769FE8}" destId="{D5C3F3A9-2758-EB44-B0BC-388EAC004AE8}" srcOrd="0" destOrd="0" presId="urn:microsoft.com/office/officeart/2005/8/layout/default"/>
    <dgm:cxn modelId="{7258D875-785B-4714-8440-7F232B71FCA9}" type="presOf" srcId="{52B6A7B9-B25C-4C05-BD6E-2A5DC7A4B39F}" destId="{88420C14-6ED2-47CB-892B-AB8B28EB56C0}" srcOrd="0" destOrd="0" presId="urn:microsoft.com/office/officeart/2005/8/layout/default"/>
    <dgm:cxn modelId="{030A4186-0586-468B-BD35-8F77D2CF041D}" srcId="{B0AB22E9-8BC7-4E16-A985-9B183E769FE8}" destId="{52B6A7B9-B25C-4C05-BD6E-2A5DC7A4B39F}" srcOrd="1" destOrd="0" parTransId="{62CB5A3D-E5CB-420E-A44A-402CC085774A}" sibTransId="{7BC488A0-6B21-4C45-94B4-D7194ECFC3A6}"/>
    <dgm:cxn modelId="{D267B6E2-912A-4279-9B98-B1B70382D73B}" type="presOf" srcId="{706626B3-BBBA-4717-83D4-2A65FB2EFC4C}" destId="{661890CA-1748-48F8-9951-0A383BB37B61}" srcOrd="0" destOrd="0" presId="urn:microsoft.com/office/officeart/2005/8/layout/default"/>
    <dgm:cxn modelId="{B4A85475-26F6-894B-9EC4-0CB0B2976F07}" type="presParOf" srcId="{D5C3F3A9-2758-EB44-B0BC-388EAC004AE8}" destId="{A1475E74-6503-CA4D-844F-1D41CE845CFA}" srcOrd="0" destOrd="0" presId="urn:microsoft.com/office/officeart/2005/8/layout/default"/>
    <dgm:cxn modelId="{4AAF418D-3AEF-457B-9B9F-9ACE9D671CB6}" type="presParOf" srcId="{D5C3F3A9-2758-EB44-B0BC-388EAC004AE8}" destId="{4005FC79-4507-499E-8CF0-805A0E020E8C}" srcOrd="1" destOrd="0" presId="urn:microsoft.com/office/officeart/2005/8/layout/default"/>
    <dgm:cxn modelId="{D394865C-9EF7-4021-BC37-D69C35DA5507}" type="presParOf" srcId="{D5C3F3A9-2758-EB44-B0BC-388EAC004AE8}" destId="{88420C14-6ED2-47CB-892B-AB8B28EB56C0}" srcOrd="2" destOrd="0" presId="urn:microsoft.com/office/officeart/2005/8/layout/default"/>
    <dgm:cxn modelId="{F5FCFC19-DE61-446A-91F3-3BBFC909AC3B}" type="presParOf" srcId="{D5C3F3A9-2758-EB44-B0BC-388EAC004AE8}" destId="{595B4434-B328-47C9-A7D0-0EEC0CD2E78B}" srcOrd="3" destOrd="0" presId="urn:microsoft.com/office/officeart/2005/8/layout/default"/>
    <dgm:cxn modelId="{F387F3F5-809B-4DE9-A5A9-35A3CD4B40C6}" type="presParOf" srcId="{D5C3F3A9-2758-EB44-B0BC-388EAC004AE8}" destId="{661890CA-1748-48F8-9951-0A383BB37B61}"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0AB22E9-8BC7-4E16-A985-9B183E769FE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A8CE860-BB0E-4C45-A041-859BFE01B00C}">
      <dgm:prSet custT="1"/>
      <dgm:spPr/>
      <dgm:t>
        <a:bodyPr/>
        <a:lstStyle/>
        <a:p>
          <a:pPr>
            <a:lnSpc>
              <a:spcPct val="100000"/>
            </a:lnSpc>
          </a:pPr>
          <a:r>
            <a:rPr lang="en-US" sz="3600" kern="1200" dirty="0">
              <a:solidFill>
                <a:schemeClr val="bg1"/>
              </a:solidFill>
              <a:latin typeface="Verdana" panose="020B0604030504040204" pitchFamily="34" charset="0"/>
              <a:ea typeface="Verdana" panose="020B0604030504040204" pitchFamily="34" charset="0"/>
              <a:cs typeface="Verdana" panose="020B0604030504040204" pitchFamily="34" charset="0"/>
            </a:rPr>
            <a:t>Safer </a:t>
          </a:r>
          <a:r>
            <a:rPr lang="en-US" sz="3600" kern="1200" dirty="0">
              <a:solidFill>
                <a:prstClr val="white"/>
              </a:solidFill>
              <a:latin typeface="Verdana" panose="020B0604030504040204" pitchFamily="34" charset="0"/>
              <a:ea typeface="Verdana" panose="020B0604030504040204" pitchFamily="34" charset="0"/>
              <a:cs typeface="Verdana" panose="020B0604030504040204" pitchFamily="34" charset="0"/>
            </a:rPr>
            <a:t>Sustainable Supply Chain</a:t>
          </a:r>
        </a:p>
      </dgm:t>
    </dgm:pt>
    <dgm:pt modelId="{88DD69FE-7C0F-4DC6-AD9F-51C5E5FEE9F7}" type="parTrans" cxnId="{9EC7B65C-7D34-4F72-92AC-FFCDB97DCE1F}">
      <dgm:prSet/>
      <dgm:spPr/>
      <dgm:t>
        <a:bodyPr/>
        <a:lstStyle/>
        <a:p>
          <a:endParaRPr lang="en-US"/>
        </a:p>
      </dgm:t>
    </dgm:pt>
    <dgm:pt modelId="{9B99DE5D-A21E-4AAD-8421-7FDB79489D58}" type="sibTrans" cxnId="{9EC7B65C-7D34-4F72-92AC-FFCDB97DCE1F}">
      <dgm:prSet/>
      <dgm:spPr/>
      <dgm:t>
        <a:bodyPr/>
        <a:lstStyle/>
        <a:p>
          <a:endParaRPr lang="en-US"/>
        </a:p>
      </dgm:t>
    </dgm:pt>
    <dgm:pt modelId="{BF417EF5-99DA-408C-B257-4CA0CDCF4796}">
      <dgm:prSet/>
      <dgm:spPr/>
      <dgm:t>
        <a:bodyPr/>
        <a:lstStyle/>
        <a:p>
          <a:pPr>
            <a:lnSpc>
              <a:spcPct val="100000"/>
            </a:lnSpc>
          </a:pPr>
          <a:r>
            <a:rPr lang="en-US" dirty="0"/>
            <a:t>Stable Raw Material Supply</a:t>
          </a:r>
        </a:p>
      </dgm:t>
    </dgm:pt>
    <dgm:pt modelId="{4FE5705B-C41D-406E-90EB-D119CCBB1842}" type="sibTrans" cxnId="{C0D77754-AC7D-4566-B073-A9503B25CC26}">
      <dgm:prSet/>
      <dgm:spPr/>
      <dgm:t>
        <a:bodyPr/>
        <a:lstStyle/>
        <a:p>
          <a:endParaRPr lang="en-US"/>
        </a:p>
      </dgm:t>
    </dgm:pt>
    <dgm:pt modelId="{A85B0A4C-FC84-48D4-933B-8C4612A9E68B}" type="parTrans" cxnId="{C0D77754-AC7D-4566-B073-A9503B25CC26}">
      <dgm:prSet/>
      <dgm:spPr/>
      <dgm:t>
        <a:bodyPr/>
        <a:lstStyle/>
        <a:p>
          <a:endParaRPr lang="en-US"/>
        </a:p>
      </dgm:t>
    </dgm:pt>
    <dgm:pt modelId="{D5C3F3A9-2758-EB44-B0BC-388EAC004AE8}" type="pres">
      <dgm:prSet presAssocID="{B0AB22E9-8BC7-4E16-A985-9B183E769FE8}" presName="diagram" presStyleCnt="0">
        <dgm:presLayoutVars>
          <dgm:dir/>
          <dgm:resizeHandles val="exact"/>
        </dgm:presLayoutVars>
      </dgm:prSet>
      <dgm:spPr/>
    </dgm:pt>
    <dgm:pt modelId="{A1475E74-6503-CA4D-844F-1D41CE845CFA}" type="pres">
      <dgm:prSet presAssocID="{0A8CE860-BB0E-4C45-A041-859BFE01B00C}" presName="node" presStyleLbl="node1" presStyleIdx="0" presStyleCnt="2">
        <dgm:presLayoutVars>
          <dgm:bulletEnabled val="1"/>
        </dgm:presLayoutVars>
      </dgm:prSet>
      <dgm:spPr/>
    </dgm:pt>
    <dgm:pt modelId="{35865986-FA6F-2C4B-82F0-9960A5C25261}" type="pres">
      <dgm:prSet presAssocID="{9B99DE5D-A21E-4AAD-8421-7FDB79489D58}" presName="sibTrans" presStyleCnt="0"/>
      <dgm:spPr/>
    </dgm:pt>
    <dgm:pt modelId="{F8AB19EF-A14B-0044-B080-B100777A1FA1}" type="pres">
      <dgm:prSet presAssocID="{BF417EF5-99DA-408C-B257-4CA0CDCF4796}" presName="node" presStyleLbl="node1" presStyleIdx="1" presStyleCnt="2">
        <dgm:presLayoutVars>
          <dgm:bulletEnabled val="1"/>
        </dgm:presLayoutVars>
      </dgm:prSet>
      <dgm:spPr/>
    </dgm:pt>
  </dgm:ptLst>
  <dgm:cxnLst>
    <dgm:cxn modelId="{2DD50331-AC0E-9A45-950C-8763E4729572}" type="presOf" srcId="{0A8CE860-BB0E-4C45-A041-859BFE01B00C}" destId="{A1475E74-6503-CA4D-844F-1D41CE845CFA}" srcOrd="0" destOrd="0" presId="urn:microsoft.com/office/officeart/2005/8/layout/default"/>
    <dgm:cxn modelId="{9EC7B65C-7D34-4F72-92AC-FFCDB97DCE1F}" srcId="{B0AB22E9-8BC7-4E16-A985-9B183E769FE8}" destId="{0A8CE860-BB0E-4C45-A041-859BFE01B00C}" srcOrd="0" destOrd="0" parTransId="{88DD69FE-7C0F-4DC6-AD9F-51C5E5FEE9F7}" sibTransId="{9B99DE5D-A21E-4AAD-8421-7FDB79489D58}"/>
    <dgm:cxn modelId="{71743371-44F9-0F46-BAA8-64592D8644CC}" type="presOf" srcId="{B0AB22E9-8BC7-4E16-A985-9B183E769FE8}" destId="{D5C3F3A9-2758-EB44-B0BC-388EAC004AE8}" srcOrd="0" destOrd="0" presId="urn:microsoft.com/office/officeart/2005/8/layout/default"/>
    <dgm:cxn modelId="{C0D77754-AC7D-4566-B073-A9503B25CC26}" srcId="{B0AB22E9-8BC7-4E16-A985-9B183E769FE8}" destId="{BF417EF5-99DA-408C-B257-4CA0CDCF4796}" srcOrd="1" destOrd="0" parTransId="{A85B0A4C-FC84-48D4-933B-8C4612A9E68B}" sibTransId="{4FE5705B-C41D-406E-90EB-D119CCBB1842}"/>
    <dgm:cxn modelId="{9B11ADC6-9213-A147-B5B4-C0D093539946}" type="presOf" srcId="{BF417EF5-99DA-408C-B257-4CA0CDCF4796}" destId="{F8AB19EF-A14B-0044-B080-B100777A1FA1}" srcOrd="0" destOrd="0" presId="urn:microsoft.com/office/officeart/2005/8/layout/default"/>
    <dgm:cxn modelId="{B4A85475-26F6-894B-9EC4-0CB0B2976F07}" type="presParOf" srcId="{D5C3F3A9-2758-EB44-B0BC-388EAC004AE8}" destId="{A1475E74-6503-CA4D-844F-1D41CE845CFA}" srcOrd="0" destOrd="0" presId="urn:microsoft.com/office/officeart/2005/8/layout/default"/>
    <dgm:cxn modelId="{08B1A182-9803-BC43-B4A0-77AB786408C0}" type="presParOf" srcId="{D5C3F3A9-2758-EB44-B0BC-388EAC004AE8}" destId="{35865986-FA6F-2C4B-82F0-9960A5C25261}" srcOrd="1" destOrd="0" presId="urn:microsoft.com/office/officeart/2005/8/layout/default"/>
    <dgm:cxn modelId="{69ACC7DF-8EF7-2147-AEE1-DC239FFC8398}" type="presParOf" srcId="{D5C3F3A9-2758-EB44-B0BC-388EAC004AE8}" destId="{F8AB19EF-A14B-0044-B080-B100777A1FA1}" srcOrd="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475E74-6503-CA4D-844F-1D41CE845CFA}">
      <dsp:nvSpPr>
        <dsp:cNvPr id="0" name=""/>
        <dsp:cNvSpPr/>
      </dsp:nvSpPr>
      <dsp:spPr>
        <a:xfrm>
          <a:off x="800" y="744482"/>
          <a:ext cx="3120831" cy="18724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100000"/>
            </a:lnSpc>
            <a:spcBef>
              <a:spcPct val="0"/>
            </a:spcBef>
            <a:spcAft>
              <a:spcPct val="35000"/>
            </a:spcAft>
            <a:buNone/>
          </a:pPr>
          <a:r>
            <a:rPr lang="en-US" sz="2400" kern="1200" dirty="0"/>
            <a:t>Site 2 – Intermediates &amp; Actives</a:t>
          </a:r>
        </a:p>
      </dsp:txBody>
      <dsp:txXfrm>
        <a:off x="800" y="744482"/>
        <a:ext cx="3120831" cy="1872499"/>
      </dsp:txXfrm>
    </dsp:sp>
    <dsp:sp modelId="{88420C14-6ED2-47CB-892B-AB8B28EB56C0}">
      <dsp:nvSpPr>
        <dsp:cNvPr id="0" name=""/>
        <dsp:cNvSpPr/>
      </dsp:nvSpPr>
      <dsp:spPr>
        <a:xfrm>
          <a:off x="3433715" y="744482"/>
          <a:ext cx="3120831" cy="18724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100000"/>
            </a:lnSpc>
            <a:spcBef>
              <a:spcPct val="0"/>
            </a:spcBef>
            <a:spcAft>
              <a:spcPct val="35000"/>
            </a:spcAft>
            <a:buNone/>
          </a:pPr>
          <a:r>
            <a:rPr lang="en-US" sz="2400" kern="1200" dirty="0"/>
            <a:t>Site 3 - Herbicides</a:t>
          </a:r>
        </a:p>
      </dsp:txBody>
      <dsp:txXfrm>
        <a:off x="3433715" y="744482"/>
        <a:ext cx="3120831" cy="1872499"/>
      </dsp:txXfrm>
    </dsp:sp>
    <dsp:sp modelId="{661890CA-1748-48F8-9951-0A383BB37B61}">
      <dsp:nvSpPr>
        <dsp:cNvPr id="0" name=""/>
        <dsp:cNvSpPr/>
      </dsp:nvSpPr>
      <dsp:spPr>
        <a:xfrm>
          <a:off x="1717257" y="2929065"/>
          <a:ext cx="3120831" cy="18724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100000"/>
            </a:lnSpc>
            <a:spcBef>
              <a:spcPct val="0"/>
            </a:spcBef>
            <a:spcAft>
              <a:spcPct val="35000"/>
            </a:spcAft>
            <a:buNone/>
          </a:pPr>
          <a:r>
            <a:rPr lang="en-US" sz="2400" kern="1200" dirty="0"/>
            <a:t>New Pilot Scale Up Studies </a:t>
          </a:r>
        </a:p>
        <a:p>
          <a:pPr marL="0" lvl="0" indent="0" algn="ctr" defTabSz="1066800">
            <a:lnSpc>
              <a:spcPct val="100000"/>
            </a:lnSpc>
            <a:spcBef>
              <a:spcPct val="0"/>
            </a:spcBef>
            <a:spcAft>
              <a:spcPct val="35000"/>
            </a:spcAft>
            <a:buNone/>
          </a:pPr>
          <a:r>
            <a:rPr lang="en-US" sz="2400" kern="1200" dirty="0"/>
            <a:t>New Kilo Plant for CDMO Services</a:t>
          </a:r>
        </a:p>
      </dsp:txBody>
      <dsp:txXfrm>
        <a:off x="1717257" y="2929065"/>
        <a:ext cx="3120831" cy="187249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475E74-6503-CA4D-844F-1D41CE845CFA}">
      <dsp:nvSpPr>
        <dsp:cNvPr id="0" name=""/>
        <dsp:cNvSpPr/>
      </dsp:nvSpPr>
      <dsp:spPr>
        <a:xfrm>
          <a:off x="800" y="744482"/>
          <a:ext cx="3120831" cy="18724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171450" rIns="171450" bIns="171450" numCol="1" spcCol="1270" anchor="ctr" anchorCtr="0">
          <a:noAutofit/>
        </a:bodyPr>
        <a:lstStyle/>
        <a:p>
          <a:pPr marL="0" lvl="0" indent="0" algn="ctr" defTabSz="2000250">
            <a:lnSpc>
              <a:spcPct val="100000"/>
            </a:lnSpc>
            <a:spcBef>
              <a:spcPct val="0"/>
            </a:spcBef>
            <a:spcAft>
              <a:spcPct val="35000"/>
            </a:spcAft>
            <a:buNone/>
          </a:pPr>
          <a:r>
            <a:rPr lang="en-US" sz="4500" kern="1200" dirty="0"/>
            <a:t>Commercial Scale</a:t>
          </a:r>
        </a:p>
      </dsp:txBody>
      <dsp:txXfrm>
        <a:off x="800" y="744482"/>
        <a:ext cx="3120831" cy="1872499"/>
      </dsp:txXfrm>
    </dsp:sp>
    <dsp:sp modelId="{88420C14-6ED2-47CB-892B-AB8B28EB56C0}">
      <dsp:nvSpPr>
        <dsp:cNvPr id="0" name=""/>
        <dsp:cNvSpPr/>
      </dsp:nvSpPr>
      <dsp:spPr>
        <a:xfrm>
          <a:off x="3433715" y="744482"/>
          <a:ext cx="3120831" cy="18724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171450" rIns="171450" bIns="171450" numCol="1" spcCol="1270" anchor="ctr" anchorCtr="0">
          <a:noAutofit/>
        </a:bodyPr>
        <a:lstStyle/>
        <a:p>
          <a:pPr marL="0" lvl="0" indent="0" algn="ctr" defTabSz="2000250">
            <a:lnSpc>
              <a:spcPct val="100000"/>
            </a:lnSpc>
            <a:spcBef>
              <a:spcPct val="0"/>
            </a:spcBef>
            <a:spcAft>
              <a:spcPct val="35000"/>
            </a:spcAft>
            <a:buNone/>
          </a:pPr>
          <a:r>
            <a:rPr lang="en-US" sz="4500" kern="1200" dirty="0"/>
            <a:t>Lab / Pilot Scale</a:t>
          </a:r>
        </a:p>
      </dsp:txBody>
      <dsp:txXfrm>
        <a:off x="3433715" y="744482"/>
        <a:ext cx="3120831" cy="1872499"/>
      </dsp:txXfrm>
    </dsp:sp>
    <dsp:sp modelId="{661890CA-1748-48F8-9951-0A383BB37B61}">
      <dsp:nvSpPr>
        <dsp:cNvPr id="0" name=""/>
        <dsp:cNvSpPr/>
      </dsp:nvSpPr>
      <dsp:spPr>
        <a:xfrm>
          <a:off x="1717257" y="2929065"/>
          <a:ext cx="3120831" cy="18724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171450" rIns="171450" bIns="171450" numCol="1" spcCol="1270" anchor="ctr" anchorCtr="0">
          <a:noAutofit/>
        </a:bodyPr>
        <a:lstStyle/>
        <a:p>
          <a:pPr marL="0" lvl="0" indent="0" algn="ctr" defTabSz="2000250">
            <a:lnSpc>
              <a:spcPct val="100000"/>
            </a:lnSpc>
            <a:spcBef>
              <a:spcPct val="0"/>
            </a:spcBef>
            <a:spcAft>
              <a:spcPct val="35000"/>
            </a:spcAft>
            <a:buNone/>
          </a:pPr>
          <a:r>
            <a:rPr lang="en-US" sz="4500" kern="1200" dirty="0"/>
            <a:t>Analysis Capabilities</a:t>
          </a:r>
        </a:p>
      </dsp:txBody>
      <dsp:txXfrm>
        <a:off x="1717257" y="2929065"/>
        <a:ext cx="3120831" cy="187249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475E74-6503-CA4D-844F-1D41CE845CFA}">
      <dsp:nvSpPr>
        <dsp:cNvPr id="0" name=""/>
        <dsp:cNvSpPr/>
      </dsp:nvSpPr>
      <dsp:spPr>
        <a:xfrm>
          <a:off x="800" y="744482"/>
          <a:ext cx="3120831" cy="18724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100000"/>
            </a:lnSpc>
            <a:spcBef>
              <a:spcPct val="0"/>
            </a:spcBef>
            <a:spcAft>
              <a:spcPct val="35000"/>
            </a:spcAft>
            <a:buNone/>
          </a:pPr>
          <a:r>
            <a:rPr lang="en-US" sz="2100" kern="1200" dirty="0"/>
            <a:t>Exclusive Synthesis</a:t>
          </a:r>
        </a:p>
        <a:p>
          <a:pPr marL="0" lvl="0" indent="0" algn="ctr" defTabSz="933450">
            <a:lnSpc>
              <a:spcPct val="100000"/>
            </a:lnSpc>
            <a:spcBef>
              <a:spcPct val="0"/>
            </a:spcBef>
            <a:spcAft>
              <a:spcPct val="35000"/>
            </a:spcAft>
            <a:buNone/>
          </a:pPr>
          <a:r>
            <a:rPr lang="en-US" sz="2100" kern="1200" dirty="0"/>
            <a:t>(70%-75% revenue)</a:t>
          </a:r>
        </a:p>
        <a:p>
          <a:pPr marL="0" lvl="0" indent="0" algn="ctr" defTabSz="933450">
            <a:lnSpc>
              <a:spcPct val="100000"/>
            </a:lnSpc>
            <a:spcBef>
              <a:spcPct val="0"/>
            </a:spcBef>
            <a:spcAft>
              <a:spcPct val="35000"/>
            </a:spcAft>
            <a:buNone/>
          </a:pPr>
          <a:r>
            <a:rPr lang="en-US" sz="2100" kern="1200" dirty="0"/>
            <a:t>Agrochemical Innovators</a:t>
          </a:r>
        </a:p>
        <a:p>
          <a:pPr marL="0" lvl="0" indent="0" algn="ctr" defTabSz="933450">
            <a:lnSpc>
              <a:spcPct val="100000"/>
            </a:lnSpc>
            <a:spcBef>
              <a:spcPct val="0"/>
            </a:spcBef>
            <a:spcAft>
              <a:spcPct val="35000"/>
            </a:spcAft>
            <a:buNone/>
          </a:pPr>
          <a:r>
            <a:rPr lang="en-US" sz="2100" kern="1200" dirty="0"/>
            <a:t>(All Exports)</a:t>
          </a:r>
        </a:p>
      </dsp:txBody>
      <dsp:txXfrm>
        <a:off x="800" y="744482"/>
        <a:ext cx="3120831" cy="1872499"/>
      </dsp:txXfrm>
    </dsp:sp>
    <dsp:sp modelId="{88420C14-6ED2-47CB-892B-AB8B28EB56C0}">
      <dsp:nvSpPr>
        <dsp:cNvPr id="0" name=""/>
        <dsp:cNvSpPr/>
      </dsp:nvSpPr>
      <dsp:spPr>
        <a:xfrm>
          <a:off x="3433715" y="744482"/>
          <a:ext cx="3120831" cy="18724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100000"/>
            </a:lnSpc>
            <a:spcBef>
              <a:spcPct val="0"/>
            </a:spcBef>
            <a:spcAft>
              <a:spcPct val="35000"/>
            </a:spcAft>
            <a:buNone/>
          </a:pPr>
          <a:r>
            <a:rPr lang="en-US" sz="2100" kern="1200" dirty="0"/>
            <a:t>CDMO Services</a:t>
          </a:r>
        </a:p>
        <a:p>
          <a:pPr marL="0" lvl="0" indent="0" algn="ctr" defTabSz="933450">
            <a:lnSpc>
              <a:spcPct val="100000"/>
            </a:lnSpc>
            <a:spcBef>
              <a:spcPct val="0"/>
            </a:spcBef>
            <a:spcAft>
              <a:spcPct val="35000"/>
            </a:spcAft>
            <a:buNone/>
          </a:pPr>
          <a:r>
            <a:rPr lang="en-US" sz="2100" kern="1200" dirty="0"/>
            <a:t>(~5% revenue)</a:t>
          </a:r>
        </a:p>
        <a:p>
          <a:pPr marL="0" lvl="0" indent="0" algn="ctr" defTabSz="933450">
            <a:lnSpc>
              <a:spcPct val="100000"/>
            </a:lnSpc>
            <a:spcBef>
              <a:spcPct val="0"/>
            </a:spcBef>
            <a:spcAft>
              <a:spcPct val="35000"/>
            </a:spcAft>
            <a:buNone/>
          </a:pPr>
          <a:r>
            <a:rPr lang="en-US" sz="2100" kern="1200" dirty="0"/>
            <a:t>Primarily for Pharma</a:t>
          </a:r>
        </a:p>
        <a:p>
          <a:pPr marL="0" lvl="0" indent="0" algn="ctr" defTabSz="933450">
            <a:lnSpc>
              <a:spcPct val="100000"/>
            </a:lnSpc>
            <a:spcBef>
              <a:spcPct val="0"/>
            </a:spcBef>
            <a:spcAft>
              <a:spcPct val="35000"/>
            </a:spcAft>
            <a:buNone/>
          </a:pPr>
          <a:r>
            <a:rPr lang="en-US" sz="2100" kern="1200" dirty="0"/>
            <a:t>(Mostly Exports)</a:t>
          </a:r>
        </a:p>
      </dsp:txBody>
      <dsp:txXfrm>
        <a:off x="3433715" y="744482"/>
        <a:ext cx="3120831" cy="1872499"/>
      </dsp:txXfrm>
    </dsp:sp>
    <dsp:sp modelId="{661890CA-1748-48F8-9951-0A383BB37B61}">
      <dsp:nvSpPr>
        <dsp:cNvPr id="0" name=""/>
        <dsp:cNvSpPr/>
      </dsp:nvSpPr>
      <dsp:spPr>
        <a:xfrm>
          <a:off x="1717257" y="2929065"/>
          <a:ext cx="3120831" cy="187249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100000"/>
            </a:lnSpc>
            <a:spcBef>
              <a:spcPct val="0"/>
            </a:spcBef>
            <a:spcAft>
              <a:spcPct val="35000"/>
            </a:spcAft>
            <a:buNone/>
          </a:pPr>
          <a:r>
            <a:rPr lang="en-US" sz="2100" kern="1200" dirty="0"/>
            <a:t>Inventys Chemicals</a:t>
          </a:r>
        </a:p>
        <a:p>
          <a:pPr marL="0" lvl="0" indent="0" algn="ctr" defTabSz="933450">
            <a:lnSpc>
              <a:spcPct val="100000"/>
            </a:lnSpc>
            <a:spcBef>
              <a:spcPct val="0"/>
            </a:spcBef>
            <a:spcAft>
              <a:spcPct val="35000"/>
            </a:spcAft>
            <a:buNone/>
          </a:pPr>
          <a:r>
            <a:rPr lang="en-US" sz="2100" kern="1200" dirty="0"/>
            <a:t>(20%-25% revenue)</a:t>
          </a:r>
        </a:p>
        <a:p>
          <a:pPr marL="0" lvl="0" indent="0" algn="ctr" defTabSz="933450">
            <a:lnSpc>
              <a:spcPct val="100000"/>
            </a:lnSpc>
            <a:spcBef>
              <a:spcPct val="0"/>
            </a:spcBef>
            <a:spcAft>
              <a:spcPct val="35000"/>
            </a:spcAft>
            <a:buNone/>
          </a:pPr>
          <a:r>
            <a:rPr lang="en-US" sz="2100" kern="1200" dirty="0"/>
            <a:t>Pharma Manufacturers</a:t>
          </a:r>
        </a:p>
        <a:p>
          <a:pPr marL="0" lvl="0" indent="0" algn="ctr" defTabSz="933450">
            <a:lnSpc>
              <a:spcPct val="100000"/>
            </a:lnSpc>
            <a:spcBef>
              <a:spcPct val="0"/>
            </a:spcBef>
            <a:spcAft>
              <a:spcPct val="35000"/>
            </a:spcAft>
            <a:buNone/>
          </a:pPr>
          <a:r>
            <a:rPr lang="en-US" sz="2100" kern="1200" dirty="0"/>
            <a:t>(All within India)</a:t>
          </a:r>
        </a:p>
      </dsp:txBody>
      <dsp:txXfrm>
        <a:off x="1717257" y="2929065"/>
        <a:ext cx="3120831" cy="18724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475E74-6503-CA4D-844F-1D41CE845CFA}">
      <dsp:nvSpPr>
        <dsp:cNvPr id="0" name=""/>
        <dsp:cNvSpPr/>
      </dsp:nvSpPr>
      <dsp:spPr>
        <a:xfrm>
          <a:off x="1145905" y="1724"/>
          <a:ext cx="4263536" cy="25581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100000"/>
            </a:lnSpc>
            <a:spcBef>
              <a:spcPct val="0"/>
            </a:spcBef>
            <a:spcAft>
              <a:spcPct val="35000"/>
            </a:spcAft>
            <a:buNone/>
          </a:pPr>
          <a:r>
            <a:rPr lang="en-US" sz="3600" kern="1200" dirty="0">
              <a:solidFill>
                <a:schemeClr val="bg1"/>
              </a:solidFill>
              <a:latin typeface="Verdana" panose="020B0604030504040204" pitchFamily="34" charset="0"/>
              <a:ea typeface="Verdana" panose="020B0604030504040204" pitchFamily="34" charset="0"/>
              <a:cs typeface="Verdana" panose="020B0604030504040204" pitchFamily="34" charset="0"/>
            </a:rPr>
            <a:t>Safer </a:t>
          </a:r>
          <a:r>
            <a:rPr lang="en-US" sz="3600" kern="1200" dirty="0">
              <a:solidFill>
                <a:prstClr val="white"/>
              </a:solidFill>
              <a:latin typeface="Verdana" panose="020B0604030504040204" pitchFamily="34" charset="0"/>
              <a:ea typeface="Verdana" panose="020B0604030504040204" pitchFamily="34" charset="0"/>
              <a:cs typeface="Verdana" panose="020B0604030504040204" pitchFamily="34" charset="0"/>
            </a:rPr>
            <a:t>Sustainable Supply Chain</a:t>
          </a:r>
        </a:p>
      </dsp:txBody>
      <dsp:txXfrm>
        <a:off x="1145905" y="1724"/>
        <a:ext cx="4263536" cy="2558121"/>
      </dsp:txXfrm>
    </dsp:sp>
    <dsp:sp modelId="{F8AB19EF-A14B-0044-B080-B100777A1FA1}">
      <dsp:nvSpPr>
        <dsp:cNvPr id="0" name=""/>
        <dsp:cNvSpPr/>
      </dsp:nvSpPr>
      <dsp:spPr>
        <a:xfrm>
          <a:off x="1145905" y="2986200"/>
          <a:ext cx="4263536" cy="25581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2880" tIns="182880" rIns="182880" bIns="182880" numCol="1" spcCol="1270" anchor="ctr" anchorCtr="0">
          <a:noAutofit/>
        </a:bodyPr>
        <a:lstStyle/>
        <a:p>
          <a:pPr marL="0" lvl="0" indent="0" algn="ctr" defTabSz="2133600">
            <a:lnSpc>
              <a:spcPct val="100000"/>
            </a:lnSpc>
            <a:spcBef>
              <a:spcPct val="0"/>
            </a:spcBef>
            <a:spcAft>
              <a:spcPct val="35000"/>
            </a:spcAft>
            <a:buNone/>
          </a:pPr>
          <a:r>
            <a:rPr lang="en-US" sz="4800" kern="1200" dirty="0"/>
            <a:t>Stable Raw Material Supply</a:t>
          </a:r>
        </a:p>
      </dsp:txBody>
      <dsp:txXfrm>
        <a:off x="1145905" y="2986200"/>
        <a:ext cx="4263536" cy="2558121"/>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03224</cdr:x>
      <cdr:y>0.30478</cdr:y>
    </cdr:from>
    <cdr:to>
      <cdr:x>0.17172</cdr:x>
      <cdr:y>0.34864</cdr:y>
    </cdr:to>
    <cdr:sp macro="" textlink="">
      <cdr:nvSpPr>
        <cdr:cNvPr id="2" name="TextBox 1">
          <a:extLst xmlns:a="http://schemas.openxmlformats.org/drawingml/2006/main">
            <a:ext uri="{FF2B5EF4-FFF2-40B4-BE49-F238E27FC236}">
              <a16:creationId xmlns:a16="http://schemas.microsoft.com/office/drawing/2014/main" id="{086BF20E-0C4E-1FE7-B77C-E1C8BE457DAF}"/>
            </a:ext>
          </a:extLst>
        </cdr:cNvPr>
        <cdr:cNvSpPr txBox="1"/>
      </cdr:nvSpPr>
      <cdr:spPr>
        <a:xfrm xmlns:a="http://schemas.openxmlformats.org/drawingml/2006/main">
          <a:off x="211323" y="1356412"/>
          <a:ext cx="914367" cy="19519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b="1" dirty="0">
              <a:solidFill>
                <a:srgbClr val="FBB425"/>
              </a:solidFill>
              <a:latin typeface="Verdana" panose="020B0604030504040204" pitchFamily="34" charset="0"/>
              <a:ea typeface="Verdana" panose="020B0604030504040204" pitchFamily="34" charset="0"/>
            </a:rPr>
            <a:t>Annulation</a:t>
          </a:r>
          <a:endParaRPr lang="en-IN" sz="900" b="1" dirty="0">
            <a:solidFill>
              <a:srgbClr val="FBB425"/>
            </a:solidFill>
            <a:latin typeface="Verdana" panose="020B0604030504040204" pitchFamily="34" charset="0"/>
            <a:ea typeface="Verdana" panose="020B0604030504040204" pitchFamily="34" charset="0"/>
          </a:endParaRPr>
        </a:p>
      </cdr:txBody>
    </cdr:sp>
  </cdr:relSizeAnchor>
  <cdr:relSizeAnchor xmlns:cdr="http://schemas.openxmlformats.org/drawingml/2006/chartDrawing">
    <cdr:from>
      <cdr:x>0.03262</cdr:x>
      <cdr:y>0.23376</cdr:y>
    </cdr:from>
    <cdr:to>
      <cdr:x>0.22472</cdr:x>
      <cdr:y>0.27544</cdr:y>
    </cdr:to>
    <cdr:sp macro="" textlink="">
      <cdr:nvSpPr>
        <cdr:cNvPr id="3" name="TextBox 1">
          <a:extLst xmlns:a="http://schemas.openxmlformats.org/drawingml/2006/main">
            <a:ext uri="{FF2B5EF4-FFF2-40B4-BE49-F238E27FC236}">
              <a16:creationId xmlns:a16="http://schemas.microsoft.com/office/drawing/2014/main" id="{7798C2D1-7298-C027-0C71-C73CD70C88AD}"/>
            </a:ext>
          </a:extLst>
        </cdr:cNvPr>
        <cdr:cNvSpPr txBox="1"/>
      </cdr:nvSpPr>
      <cdr:spPr>
        <a:xfrm xmlns:a="http://schemas.openxmlformats.org/drawingml/2006/main">
          <a:off x="213838" y="1040320"/>
          <a:ext cx="1259320" cy="185494"/>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dirty="0">
              <a:solidFill>
                <a:srgbClr val="FBB425"/>
              </a:solidFill>
              <a:latin typeface="Verdana" panose="020B0604030504040204" pitchFamily="34" charset="0"/>
              <a:ea typeface="Verdana" panose="020B0604030504040204" pitchFamily="34" charset="0"/>
            </a:rPr>
            <a:t>TOSMIC (Imidazole)</a:t>
          </a:r>
          <a:endParaRPr lang="en-IN" sz="900" b="1" dirty="0">
            <a:solidFill>
              <a:srgbClr val="FBB425"/>
            </a:solidFill>
            <a:latin typeface="Verdana" panose="020B0604030504040204" pitchFamily="34" charset="0"/>
            <a:ea typeface="Verdana" panose="020B0604030504040204" pitchFamily="34" charset="0"/>
          </a:endParaRPr>
        </a:p>
      </cdr:txBody>
    </cdr:sp>
  </cdr:relSizeAnchor>
  <cdr:relSizeAnchor xmlns:cdr="http://schemas.openxmlformats.org/drawingml/2006/chartDrawing">
    <cdr:from>
      <cdr:x>0.1765</cdr:x>
      <cdr:y>0.05774</cdr:y>
    </cdr:from>
    <cdr:to>
      <cdr:x>0.31598</cdr:x>
      <cdr:y>0.2632</cdr:y>
    </cdr:to>
    <cdr:sp macro="" textlink="">
      <cdr:nvSpPr>
        <cdr:cNvPr id="4" name="TextBox 3">
          <a:extLst xmlns:a="http://schemas.openxmlformats.org/drawingml/2006/main">
            <a:ext uri="{FF2B5EF4-FFF2-40B4-BE49-F238E27FC236}">
              <a16:creationId xmlns:a16="http://schemas.microsoft.com/office/drawing/2014/main" id="{F10B4AC0-123F-0F66-6395-76D6B9261A32}"/>
            </a:ext>
          </a:extLst>
        </cdr:cNvPr>
        <cdr:cNvSpPr txBox="1"/>
      </cdr:nvSpPr>
      <cdr:spPr>
        <a:xfrm xmlns:a="http://schemas.openxmlformats.org/drawingml/2006/main">
          <a:off x="1157028" y="25697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01165</cdr:x>
      <cdr:y>0.14892</cdr:y>
    </cdr:from>
    <cdr:to>
      <cdr:x>0.4224</cdr:x>
      <cdr:y>0.24603</cdr:y>
    </cdr:to>
    <cdr:sp macro="" textlink="">
      <cdr:nvSpPr>
        <cdr:cNvPr id="5" name="TextBox 4">
          <a:extLst xmlns:a="http://schemas.openxmlformats.org/drawingml/2006/main">
            <a:ext uri="{FF2B5EF4-FFF2-40B4-BE49-F238E27FC236}">
              <a16:creationId xmlns:a16="http://schemas.microsoft.com/office/drawing/2014/main" id="{927485E9-7124-2DCE-F766-5094B44DE724}"/>
            </a:ext>
          </a:extLst>
        </cdr:cNvPr>
        <cdr:cNvSpPr txBox="1"/>
      </cdr:nvSpPr>
      <cdr:spPr>
        <a:xfrm xmlns:a="http://schemas.openxmlformats.org/drawingml/2006/main">
          <a:off x="76358" y="662758"/>
          <a:ext cx="2692690" cy="43217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900" b="1" dirty="0" err="1">
              <a:solidFill>
                <a:srgbClr val="FBB425"/>
              </a:solidFill>
              <a:latin typeface="Verdana" panose="020B0604030504040204" pitchFamily="34" charset="0"/>
              <a:ea typeface="Verdana" panose="020B0604030504040204" pitchFamily="34" charset="0"/>
            </a:rPr>
            <a:t>Dihalocyclopropanation</a:t>
          </a:r>
          <a:r>
            <a:rPr lang="en-US" sz="900" b="1" dirty="0">
              <a:solidFill>
                <a:srgbClr val="FBB425"/>
              </a:solidFill>
              <a:latin typeface="Verdana" panose="020B0604030504040204" pitchFamily="34" charset="0"/>
              <a:ea typeface="Verdana" panose="020B0604030504040204" pitchFamily="34" charset="0"/>
            </a:rPr>
            <a:t> </a:t>
          </a:r>
        </a:p>
        <a:p xmlns:a="http://schemas.openxmlformats.org/drawingml/2006/main">
          <a:r>
            <a:rPr lang="en-US" sz="900" b="1" dirty="0">
              <a:solidFill>
                <a:srgbClr val="FBB425"/>
              </a:solidFill>
              <a:latin typeface="Verdana" panose="020B0604030504040204" pitchFamily="34" charset="0"/>
              <a:ea typeface="Verdana" panose="020B0604030504040204" pitchFamily="34" charset="0"/>
            </a:rPr>
            <a:t>(Carbene)</a:t>
          </a:r>
          <a:endParaRPr lang="en-IN" sz="900" b="1" dirty="0">
            <a:solidFill>
              <a:srgbClr val="FBB425"/>
            </a:solidFill>
            <a:latin typeface="Verdana" panose="020B0604030504040204" pitchFamily="34" charset="0"/>
            <a:ea typeface="Verdana" panose="020B0604030504040204" pitchFamily="34" charset="0"/>
          </a:endParaRPr>
        </a:p>
      </cdr:txBody>
    </cdr:sp>
  </cdr:relSizeAnchor>
  <cdr:relSizeAnchor xmlns:cdr="http://schemas.openxmlformats.org/drawingml/2006/chartDrawing">
    <cdr:from>
      <cdr:x>0.24709</cdr:x>
      <cdr:y>0.0326</cdr:y>
    </cdr:from>
    <cdr:to>
      <cdr:x>0.38657</cdr:x>
      <cdr:y>0.08289</cdr:y>
    </cdr:to>
    <cdr:sp macro="" textlink="">
      <cdr:nvSpPr>
        <cdr:cNvPr id="6" name="TextBox 1">
          <a:extLst xmlns:a="http://schemas.openxmlformats.org/drawingml/2006/main">
            <a:ext uri="{FF2B5EF4-FFF2-40B4-BE49-F238E27FC236}">
              <a16:creationId xmlns:a16="http://schemas.microsoft.com/office/drawing/2014/main" id="{B3224ABB-09C2-2DA1-665A-8F6B2F0EB79F}"/>
            </a:ext>
          </a:extLst>
        </cdr:cNvPr>
        <cdr:cNvSpPr txBox="1"/>
      </cdr:nvSpPr>
      <cdr:spPr>
        <a:xfrm xmlns:a="http://schemas.openxmlformats.org/drawingml/2006/main">
          <a:off x="1619828" y="145064"/>
          <a:ext cx="914367" cy="22381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dirty="0" err="1">
              <a:solidFill>
                <a:srgbClr val="FBB425"/>
              </a:solidFill>
              <a:latin typeface="Verdana" panose="020B0604030504040204" pitchFamily="34" charset="0"/>
              <a:ea typeface="Verdana" panose="020B0604030504040204" pitchFamily="34" charset="0"/>
            </a:rPr>
            <a:t>Nitrosation</a:t>
          </a:r>
          <a:endParaRPr lang="en-IN" sz="900" b="1" dirty="0">
            <a:solidFill>
              <a:srgbClr val="FBB425"/>
            </a:solidFill>
            <a:latin typeface="Verdana" panose="020B0604030504040204" pitchFamily="34" charset="0"/>
            <a:ea typeface="Verdana" panose="020B0604030504040204" pitchFamily="34" charset="0"/>
          </a:endParaRPr>
        </a:p>
      </cdr:txBody>
    </cdr:sp>
  </cdr:relSizeAnchor>
  <cdr:relSizeAnchor xmlns:cdr="http://schemas.openxmlformats.org/drawingml/2006/chartDrawing">
    <cdr:from>
      <cdr:x>0.11633</cdr:x>
      <cdr:y>0.09704</cdr:y>
    </cdr:from>
    <cdr:to>
      <cdr:x>0.4094</cdr:x>
      <cdr:y>0.15002</cdr:y>
    </cdr:to>
    <cdr:sp macro="" textlink="">
      <cdr:nvSpPr>
        <cdr:cNvPr id="7" name="TextBox 1">
          <a:extLst xmlns:a="http://schemas.openxmlformats.org/drawingml/2006/main">
            <a:ext uri="{FF2B5EF4-FFF2-40B4-BE49-F238E27FC236}">
              <a16:creationId xmlns:a16="http://schemas.microsoft.com/office/drawing/2014/main" id="{74C78E44-35C7-B2AD-5C9D-C6A5963E57D4}"/>
            </a:ext>
          </a:extLst>
        </cdr:cNvPr>
        <cdr:cNvSpPr txBox="1"/>
      </cdr:nvSpPr>
      <cdr:spPr>
        <a:xfrm xmlns:a="http://schemas.openxmlformats.org/drawingml/2006/main">
          <a:off x="762584" y="431869"/>
          <a:ext cx="1921233" cy="235784"/>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dirty="0" err="1">
              <a:solidFill>
                <a:srgbClr val="FBB425"/>
              </a:solidFill>
              <a:latin typeface="Verdana" panose="020B0604030504040204" pitchFamily="34" charset="0"/>
              <a:ea typeface="Verdana" panose="020B0604030504040204" pitchFamily="34" charset="0"/>
            </a:rPr>
            <a:t>Dechlorination</a:t>
          </a:r>
          <a:endParaRPr lang="en-IN" sz="900" b="1" dirty="0">
            <a:solidFill>
              <a:srgbClr val="FBB425"/>
            </a:solidFill>
            <a:latin typeface="Verdana" panose="020B0604030504040204" pitchFamily="34" charset="0"/>
            <a:ea typeface="Verdana" panose="020B0604030504040204" pitchFamily="34" charset="0"/>
          </a:endParaRPr>
        </a:p>
      </cdr:txBody>
    </cdr:sp>
  </cdr:relSizeAnchor>
  <cdr:relSizeAnchor xmlns:cdr="http://schemas.openxmlformats.org/drawingml/2006/chartDrawing">
    <cdr:from>
      <cdr:x>0</cdr:x>
      <cdr:y>0.37093</cdr:y>
    </cdr:from>
    <cdr:to>
      <cdr:x>0.23773</cdr:x>
      <cdr:y>0.44908</cdr:y>
    </cdr:to>
    <cdr:sp macro="" textlink="">
      <cdr:nvSpPr>
        <cdr:cNvPr id="8" name="TextBox 1">
          <a:extLst xmlns:a="http://schemas.openxmlformats.org/drawingml/2006/main">
            <a:ext uri="{FF2B5EF4-FFF2-40B4-BE49-F238E27FC236}">
              <a16:creationId xmlns:a16="http://schemas.microsoft.com/office/drawing/2014/main" id="{4E817CE9-135B-7FD4-B87C-A8067E5B2271}"/>
            </a:ext>
          </a:extLst>
        </cdr:cNvPr>
        <cdr:cNvSpPr txBox="1"/>
      </cdr:nvSpPr>
      <cdr:spPr>
        <a:xfrm xmlns:a="http://schemas.openxmlformats.org/drawingml/2006/main">
          <a:off x="-281354" y="1650794"/>
          <a:ext cx="1558449" cy="3478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dirty="0">
              <a:solidFill>
                <a:srgbClr val="FBB425"/>
              </a:solidFill>
              <a:latin typeface="Verdana" panose="020B0604030504040204" pitchFamily="34" charset="0"/>
              <a:ea typeface="Verdana" panose="020B0604030504040204" pitchFamily="34" charset="0"/>
            </a:rPr>
            <a:t>Indole Synthesis</a:t>
          </a:r>
        </a:p>
        <a:p xmlns:a="http://schemas.openxmlformats.org/drawingml/2006/main">
          <a:r>
            <a:rPr lang="en-US" sz="900" b="1" dirty="0">
              <a:solidFill>
                <a:srgbClr val="FBB425"/>
              </a:solidFill>
              <a:latin typeface="Verdana" panose="020B0604030504040204" pitchFamily="34" charset="0"/>
              <a:ea typeface="Verdana" panose="020B0604030504040204" pitchFamily="34" charset="0"/>
            </a:rPr>
            <a:t>(</a:t>
          </a:r>
          <a:r>
            <a:rPr lang="en-US" sz="900" b="1" dirty="0" err="1">
              <a:solidFill>
                <a:srgbClr val="FBB425"/>
              </a:solidFill>
              <a:latin typeface="Verdana" panose="020B0604030504040204" pitchFamily="34" charset="0"/>
              <a:ea typeface="Verdana" panose="020B0604030504040204" pitchFamily="34" charset="0"/>
            </a:rPr>
            <a:t>Leimgruber-Batcho</a:t>
          </a:r>
          <a:r>
            <a:rPr lang="en-US" sz="900" b="1" dirty="0">
              <a:solidFill>
                <a:srgbClr val="FBB425"/>
              </a:solidFill>
              <a:latin typeface="Verdana" panose="020B0604030504040204" pitchFamily="34" charset="0"/>
              <a:ea typeface="Verdana" panose="020B0604030504040204" pitchFamily="34" charset="0"/>
            </a:rPr>
            <a:t>)</a:t>
          </a:r>
          <a:endParaRPr lang="en-IN" sz="900" b="1" dirty="0">
            <a:solidFill>
              <a:srgbClr val="FBB425"/>
            </a:solidFill>
            <a:latin typeface="Verdana" panose="020B0604030504040204" pitchFamily="34" charset="0"/>
            <a:ea typeface="Verdana" panose="020B0604030504040204"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7967</cdr:x>
      <cdr:y>0.37622</cdr:y>
    </cdr:from>
    <cdr:to>
      <cdr:x>0.97331</cdr:x>
      <cdr:y>0.42168</cdr:y>
    </cdr:to>
    <cdr:sp macro="" textlink="">
      <cdr:nvSpPr>
        <cdr:cNvPr id="2" name="TextBox 1">
          <a:extLst xmlns:a="http://schemas.openxmlformats.org/drawingml/2006/main">
            <a:ext uri="{FF2B5EF4-FFF2-40B4-BE49-F238E27FC236}">
              <a16:creationId xmlns:a16="http://schemas.microsoft.com/office/drawing/2014/main" id="{AA88E031-0E99-D067-72D1-F694C513DAD3}"/>
            </a:ext>
          </a:extLst>
        </cdr:cNvPr>
        <cdr:cNvSpPr txBox="1"/>
      </cdr:nvSpPr>
      <cdr:spPr>
        <a:xfrm xmlns:a="http://schemas.openxmlformats.org/drawingml/2006/main">
          <a:off x="4124698" y="1615199"/>
          <a:ext cx="914367" cy="19519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900" b="1" dirty="0">
              <a:solidFill>
                <a:srgbClr val="FBB425"/>
              </a:solidFill>
              <a:latin typeface="Verdana" panose="020B0604030504040204" pitchFamily="34" charset="0"/>
              <a:ea typeface="Verdana" panose="020B0604030504040204" pitchFamily="34" charset="0"/>
            </a:rPr>
            <a:t>nBuLi</a:t>
          </a:r>
          <a:endParaRPr lang="en-IN" sz="900" b="1" dirty="0">
            <a:solidFill>
              <a:srgbClr val="FBB425"/>
            </a:solidFill>
            <a:latin typeface="Verdana" panose="020B0604030504040204" pitchFamily="34" charset="0"/>
            <a:ea typeface="Verdana" panose="020B060403050404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41813"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75313" y="0"/>
            <a:ext cx="4341812" cy="344488"/>
          </a:xfrm>
          <a:prstGeom prst="rect">
            <a:avLst/>
          </a:prstGeom>
        </p:spPr>
        <p:txBody>
          <a:bodyPr vert="horz" lIns="91440" tIns="45720" rIns="91440" bIns="45720" rtlCol="0"/>
          <a:lstStyle>
            <a:lvl1pPr algn="r">
              <a:defRPr sz="1200"/>
            </a:lvl1pPr>
          </a:lstStyle>
          <a:p>
            <a:fld id="{35C2790D-ED90-4D79-9B8D-FCEA6FA24D02}" type="datetimeFigureOut">
              <a:rPr lang="en-US" smtClean="0"/>
              <a:t>9/4/2024</a:t>
            </a:fld>
            <a:endParaRPr lang="en-US"/>
          </a:p>
        </p:txBody>
      </p:sp>
      <p:sp>
        <p:nvSpPr>
          <p:cNvPr id="4" name="Slide Image Placeholder 3"/>
          <p:cNvSpPr>
            <a:spLocks noGrp="1" noRot="1" noChangeAspect="1"/>
          </p:cNvSpPr>
          <p:nvPr>
            <p:ph type="sldImg" idx="2"/>
          </p:nvPr>
        </p:nvSpPr>
        <p:spPr>
          <a:xfrm>
            <a:off x="2943225" y="860425"/>
            <a:ext cx="4132263" cy="2324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001713" y="3314700"/>
            <a:ext cx="8015287" cy="2711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42088"/>
            <a:ext cx="4341813"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75313" y="6542088"/>
            <a:ext cx="4341812" cy="344487"/>
          </a:xfrm>
          <a:prstGeom prst="rect">
            <a:avLst/>
          </a:prstGeom>
        </p:spPr>
        <p:txBody>
          <a:bodyPr vert="horz" lIns="91440" tIns="45720" rIns="91440" bIns="45720" rtlCol="0" anchor="b"/>
          <a:lstStyle>
            <a:lvl1pPr algn="r">
              <a:defRPr sz="1200"/>
            </a:lvl1pPr>
          </a:lstStyle>
          <a:p>
            <a:fld id="{65A62CAF-34B2-4D5A-82A4-5AF0DE10D39E}" type="slidenum">
              <a:rPr lang="en-US" smtClean="0"/>
              <a:t>‹#›</a:t>
            </a:fld>
            <a:endParaRPr lang="en-US"/>
          </a:p>
        </p:txBody>
      </p:sp>
    </p:spTree>
    <p:extLst>
      <p:ext uri="{BB962C8B-B14F-4D97-AF65-F5344CB8AC3E}">
        <p14:creationId xmlns:p14="http://schemas.microsoft.com/office/powerpoint/2010/main" val="1732839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66064" rtl="0" eaLnBrk="1" fontAlgn="auto" latinLnBrk="0" hangingPunct="1">
              <a:lnSpc>
                <a:spcPct val="100000"/>
              </a:lnSpc>
              <a:spcBef>
                <a:spcPts val="0"/>
              </a:spcBef>
              <a:spcAft>
                <a:spcPts val="0"/>
              </a:spcAft>
              <a:buClrTx/>
              <a:buSzTx/>
              <a:buFontTx/>
              <a:buNone/>
              <a:tabLst/>
              <a:defRPr/>
            </a:pPr>
            <a:fld id="{0F4424DA-C6EE-4113-85C2-BE5ADE86F357}"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064"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461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e are an also established practitioner of Circularity.  Inventys has converted  more than 50% of its energy - to be derived from non-depletable resources,  since as early as 2012. We have also enthusiastically adopted of the principles of Green Chemistr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4424DA-C6EE-4113-85C2-BE5ADE86F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36086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greenfield Site - two  is designed for the production of  various advanced intermediates,  specialty chemicals,  and actives. This manufacturing site will also have  dedicated production blocks  for hydrogenation,  halogenation,  and fermentation.  Fluorination by HF gas  and by KF  as well as by Fluoroborate salts  will be implemented on this site.  Hydrogenation  as well as Fluorination  will be conducted in batch  as well as  in flow manufacturing mo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4424DA-C6EE-4113-85C2-BE5ADE86F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2125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nventys Site three is designed for herbicides production.  This site will contain five independent production blocks.  To ensure adequate containment, all the support facilities –  including the final product warehouses  will be located within this Site thre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4424DA-C6EE-4113-85C2-BE5ADE86F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6274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nventys integrated manufacturing site number 1  has been operating since 2008.  It  houses more than 45 reactors  up to 15,000 liters in size, another 45 reactors will be added. Additionally, our new pilot plant has more than 40 reactors.  30 liters, 200 liters, and 500 liters.  Scaling up a product  from laboratory stage to Metric Ton scale production,  is a complex task.  This happens to be one of the core strengths of Inventys. Inventys is WHO GMP, ISO 9001, ISO 14001, and ISO 45000 certified.</a:t>
            </a:r>
          </a:p>
          <a:p>
            <a:r>
              <a:rPr lang="en-US" sz="1200" kern="1200" dirty="0">
                <a:solidFill>
                  <a:schemeClr val="tx1"/>
                </a:solidFill>
                <a:effectLst/>
                <a:latin typeface="+mn-lt"/>
                <a:ea typeface="+mn-ea"/>
                <a:cs typeface="+mn-cs"/>
              </a:rPr>
              <a:t>The Knowledge Center houses quality, safety, analytical, flow chemistry, as well as research &amp; product development laboratories as well as Process Design &amp;  Engineering,  and the Projects department.  You may virtually visit this site  for 5 short minutes  on YouTube,  using the link provided.</a:t>
            </a:r>
          </a:p>
        </p:txBody>
      </p:sp>
      <p:sp>
        <p:nvSpPr>
          <p:cNvPr id="4" name="Slide Number Placeholder 3"/>
          <p:cNvSpPr>
            <a:spLocks noGrp="1"/>
          </p:cNvSpPr>
          <p:nvPr>
            <p:ph type="sldNum" sz="quarter" idx="5"/>
          </p:nvPr>
        </p:nvSpPr>
        <p:spPr/>
        <p:txBody>
          <a:bodyPr/>
          <a:lstStyle/>
          <a:p>
            <a:pPr marL="0" marR="0" lvl="0" indent="0" algn="r" defTabSz="966064" rtl="0" eaLnBrk="1" fontAlgn="auto" latinLnBrk="0" hangingPunct="1">
              <a:lnSpc>
                <a:spcPct val="100000"/>
              </a:lnSpc>
              <a:spcBef>
                <a:spcPts val="0"/>
              </a:spcBef>
              <a:spcAft>
                <a:spcPts val="0"/>
              </a:spcAft>
              <a:buClrTx/>
              <a:buSzTx/>
              <a:buFontTx/>
              <a:buNone/>
              <a:tabLst/>
              <a:defRPr/>
            </a:pPr>
            <a:fld id="{0F4424DA-C6EE-4113-85C2-BE5ADE86F357}"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064"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67885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In order to serve our customers better,  Inventys manufacturing capacity is poised to grow significantly. Site 2, is dedicated to specialty chemicals,  advanced intermediates,  and crop protection actives.  This site will have a up to 14 production blocks,  Whereas the site 3,   is dedicated to herbicides production.  This site will contain 5 independently operating production blocks.  First phase of expansion will be commissioned in early 2024.  </a:t>
            </a:r>
          </a:p>
          <a:p>
            <a:r>
              <a:rPr lang="en-US" sz="1200" kern="1200" dirty="0">
                <a:solidFill>
                  <a:schemeClr val="tx1"/>
                </a:solidFill>
                <a:effectLst/>
                <a:latin typeface="+mn-lt"/>
                <a:ea typeface="+mn-ea"/>
                <a:cs typeface="+mn-cs"/>
              </a:rPr>
              <a:t>From the current capacity of about 45 batch reactors at the Integrated Manufacturing Site 1,  Inventys will add more than 300 batch and flow reactors at these 3 new sit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4424DA-C6EE-4113-85C2-BE5ADE86F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08110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oday, we can handle  many hazardous chemicals at commercial scale.  For example,  we have been consuming  one ton per day Sodium Cyanide &amp; Hydrazine Hydrate  for many years.  In our new upcoming production plants,  we will use HF gas for continuous fluorination.  We have already commercialized several products  that use KF and fluoroborate salts.   Our mastery of numerous complex chemistries  and our ability to handle multiple hazardous chemicals  – safely in a consistent manner  – enables us to help you defragment your supply chain using our backward integration capabiliti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4424DA-C6EE-4113-85C2-BE5ADE86F357}"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62397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EB5FF-8310-452F-9FB0-A510999205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30251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78DA4-92D0-F505-56CF-B52E2D46715C}"/>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B6A8D2CF-CE91-72F3-D9FE-5E14E6600F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539BAD15-8BD3-B31C-774F-7326CC542487}"/>
              </a:ext>
            </a:extLst>
          </p:cNvPr>
          <p:cNvSpPr>
            <a:spLocks noGrp="1"/>
          </p:cNvSpPr>
          <p:nvPr>
            <p:ph type="dt" sz="half" idx="10"/>
          </p:nvPr>
        </p:nvSpPr>
        <p:spPr/>
        <p:txBody>
          <a:bodyPr/>
          <a:lstStyle/>
          <a:p>
            <a:fld id="{ED5BF407-1D69-DA4F-A66C-44C142A1EA36}" type="datetimeFigureOut">
              <a:rPr lang="en-US" smtClean="0"/>
              <a:t>9/4/2024</a:t>
            </a:fld>
            <a:endParaRPr lang="en-US"/>
          </a:p>
        </p:txBody>
      </p:sp>
      <p:sp>
        <p:nvSpPr>
          <p:cNvPr id="5" name="Footer Placeholder 4">
            <a:extLst>
              <a:ext uri="{FF2B5EF4-FFF2-40B4-BE49-F238E27FC236}">
                <a16:creationId xmlns:a16="http://schemas.microsoft.com/office/drawing/2014/main" id="{49CEA51F-8DBD-C9FA-AE27-3208B95AD0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6DB65AB-393D-186E-2277-F784BC8B5D4C}"/>
              </a:ext>
            </a:extLst>
          </p:cNvPr>
          <p:cNvSpPr>
            <a:spLocks noGrp="1"/>
          </p:cNvSpPr>
          <p:nvPr>
            <p:ph type="sldNum" sz="quarter" idx="12"/>
          </p:nvPr>
        </p:nvSpPr>
        <p:spPr/>
        <p:txBody>
          <a:bodyPr/>
          <a:lstStyle/>
          <a:p>
            <a:fld id="{43CBEFDA-8207-6641-9689-3555584BAC48}" type="slidenum">
              <a:rPr lang="en-US" smtClean="0"/>
              <a:t>‹#›</a:t>
            </a:fld>
            <a:endParaRPr lang="en-US"/>
          </a:p>
        </p:txBody>
      </p:sp>
    </p:spTree>
    <p:extLst>
      <p:ext uri="{BB962C8B-B14F-4D97-AF65-F5344CB8AC3E}">
        <p14:creationId xmlns:p14="http://schemas.microsoft.com/office/powerpoint/2010/main" val="36148803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D88B8-4BB3-D482-AC49-312DBFE15E0E}"/>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BA5BA5D8-522F-1EAA-7FDC-D3AB98A38404}"/>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9F9CA5B-59F0-E38E-3A5E-D9E9033F9B63}"/>
              </a:ext>
            </a:extLst>
          </p:cNvPr>
          <p:cNvSpPr>
            <a:spLocks noGrp="1"/>
          </p:cNvSpPr>
          <p:nvPr>
            <p:ph type="dt" sz="half" idx="10"/>
          </p:nvPr>
        </p:nvSpPr>
        <p:spPr/>
        <p:txBody>
          <a:bodyPr/>
          <a:lstStyle/>
          <a:p>
            <a:fld id="{ED5BF407-1D69-DA4F-A66C-44C142A1EA36}" type="datetimeFigureOut">
              <a:rPr lang="en-US" smtClean="0"/>
              <a:t>9/4/2024</a:t>
            </a:fld>
            <a:endParaRPr lang="en-US"/>
          </a:p>
        </p:txBody>
      </p:sp>
      <p:sp>
        <p:nvSpPr>
          <p:cNvPr id="5" name="Footer Placeholder 4">
            <a:extLst>
              <a:ext uri="{FF2B5EF4-FFF2-40B4-BE49-F238E27FC236}">
                <a16:creationId xmlns:a16="http://schemas.microsoft.com/office/drawing/2014/main" id="{26BDB67D-75C2-6E6F-260F-4E214F9041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8294F6-C841-DD17-303D-238355BBDD14}"/>
              </a:ext>
            </a:extLst>
          </p:cNvPr>
          <p:cNvSpPr>
            <a:spLocks noGrp="1"/>
          </p:cNvSpPr>
          <p:nvPr>
            <p:ph type="sldNum" sz="quarter" idx="12"/>
          </p:nvPr>
        </p:nvSpPr>
        <p:spPr/>
        <p:txBody>
          <a:bodyPr/>
          <a:lstStyle/>
          <a:p>
            <a:fld id="{43CBEFDA-8207-6641-9689-3555584BAC48}" type="slidenum">
              <a:rPr lang="en-US" smtClean="0"/>
              <a:t>‹#›</a:t>
            </a:fld>
            <a:endParaRPr lang="en-US"/>
          </a:p>
        </p:txBody>
      </p:sp>
    </p:spTree>
    <p:extLst>
      <p:ext uri="{BB962C8B-B14F-4D97-AF65-F5344CB8AC3E}">
        <p14:creationId xmlns:p14="http://schemas.microsoft.com/office/powerpoint/2010/main" val="4222647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1FD9652-3623-C1A2-A5FE-49FEF025FE0A}"/>
              </a:ext>
            </a:extLst>
          </p:cNvPr>
          <p:cNvSpPr>
            <a:spLocks noGrp="1"/>
          </p:cNvSpPr>
          <p:nvPr>
            <p:ph type="title" orient="vert"/>
          </p:nvPr>
        </p:nvSpPr>
        <p:spPr>
          <a:xfrm>
            <a:off x="8724900" y="365124"/>
            <a:ext cx="2628900" cy="6035675"/>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EB153DB-F5A0-4DC8-9880-A20E65EDE3CC}"/>
              </a:ext>
            </a:extLst>
          </p:cNvPr>
          <p:cNvSpPr>
            <a:spLocks noGrp="1"/>
          </p:cNvSpPr>
          <p:nvPr>
            <p:ph type="body" orient="vert" idx="1"/>
          </p:nvPr>
        </p:nvSpPr>
        <p:spPr>
          <a:xfrm>
            <a:off x="838200" y="365124"/>
            <a:ext cx="7734300" cy="6035675"/>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A9A7FA6-04B6-993D-8F54-37FAE594B0B4}"/>
              </a:ext>
            </a:extLst>
          </p:cNvPr>
          <p:cNvSpPr>
            <a:spLocks noGrp="1"/>
          </p:cNvSpPr>
          <p:nvPr>
            <p:ph type="dt" sz="half" idx="10"/>
          </p:nvPr>
        </p:nvSpPr>
        <p:spPr/>
        <p:txBody>
          <a:bodyPr/>
          <a:lstStyle/>
          <a:p>
            <a:fld id="{ED5BF407-1D69-DA4F-A66C-44C142A1EA36}" type="datetimeFigureOut">
              <a:rPr lang="en-US" smtClean="0"/>
              <a:t>9/4/2024</a:t>
            </a:fld>
            <a:endParaRPr lang="en-US"/>
          </a:p>
        </p:txBody>
      </p:sp>
      <p:sp>
        <p:nvSpPr>
          <p:cNvPr id="5" name="Footer Placeholder 4">
            <a:extLst>
              <a:ext uri="{FF2B5EF4-FFF2-40B4-BE49-F238E27FC236}">
                <a16:creationId xmlns:a16="http://schemas.microsoft.com/office/drawing/2014/main" id="{86088B88-F347-1EA9-5B76-071263BDDC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70A756-C6F6-C28B-B4CB-C628C37110EA}"/>
              </a:ext>
            </a:extLst>
          </p:cNvPr>
          <p:cNvSpPr>
            <a:spLocks noGrp="1"/>
          </p:cNvSpPr>
          <p:nvPr>
            <p:ph type="sldNum" sz="quarter" idx="12"/>
          </p:nvPr>
        </p:nvSpPr>
        <p:spPr/>
        <p:txBody>
          <a:bodyPr/>
          <a:lstStyle/>
          <a:p>
            <a:fld id="{43CBEFDA-8207-6641-9689-3555584BAC48}" type="slidenum">
              <a:rPr lang="en-US" smtClean="0"/>
              <a:t>‹#›</a:t>
            </a:fld>
            <a:endParaRPr lang="en-US"/>
          </a:p>
        </p:txBody>
      </p:sp>
    </p:spTree>
    <p:extLst>
      <p:ext uri="{BB962C8B-B14F-4D97-AF65-F5344CB8AC3E}">
        <p14:creationId xmlns:p14="http://schemas.microsoft.com/office/powerpoint/2010/main" val="668238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A3CE5-B991-48D0-9DE0-717FF69F267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1039519-E20D-4A59-9F1D-29D83CFDF8F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0817BF8-0237-4C9E-BC3D-3328ED4B1C0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66D471F-ACD3-41ED-B573-4E8E8535B293}"/>
              </a:ext>
            </a:extLst>
          </p:cNvPr>
          <p:cNvSpPr>
            <a:spLocks noGrp="1"/>
          </p:cNvSpPr>
          <p:nvPr>
            <p:ph type="ftr" sz="quarter" idx="11"/>
          </p:nvPr>
        </p:nvSpPr>
        <p:spPr/>
        <p:txBody>
          <a:bodyPr/>
          <a:lstStyle/>
          <a:p>
            <a:r>
              <a:rPr lang="en-US"/>
              <a:t>Copyright © 2005-2023  Inventys Research Company, All Rights Reserved. </a:t>
            </a:r>
          </a:p>
        </p:txBody>
      </p:sp>
      <p:sp>
        <p:nvSpPr>
          <p:cNvPr id="6" name="Slide Number Placeholder 5">
            <a:extLst>
              <a:ext uri="{FF2B5EF4-FFF2-40B4-BE49-F238E27FC236}">
                <a16:creationId xmlns:a16="http://schemas.microsoft.com/office/drawing/2014/main" id="{221F9964-EE30-41E5-B6BF-57837FCE2E43}"/>
              </a:ext>
            </a:extLst>
          </p:cNvPr>
          <p:cNvSpPr>
            <a:spLocks noGrp="1"/>
          </p:cNvSpPr>
          <p:nvPr>
            <p:ph type="sldNum" sz="quarter" idx="12"/>
          </p:nvPr>
        </p:nvSpPr>
        <p:spPr/>
        <p:txBody>
          <a:bodyPr/>
          <a:lstStyle/>
          <a:p>
            <a:fld id="{8427212B-DAB7-41D9-8B3C-111279E9B140}" type="slidenum">
              <a:rPr lang="en-US" smtClean="0"/>
              <a:t>‹#›</a:t>
            </a:fld>
            <a:endParaRPr lang="en-US"/>
          </a:p>
        </p:txBody>
      </p:sp>
    </p:spTree>
    <p:extLst>
      <p:ext uri="{BB962C8B-B14F-4D97-AF65-F5344CB8AC3E}">
        <p14:creationId xmlns:p14="http://schemas.microsoft.com/office/powerpoint/2010/main" val="436456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CC212-461A-4AD3-A006-F5A463A03E64}"/>
              </a:ext>
            </a:extLst>
          </p:cNvPr>
          <p:cNvSpPr>
            <a:spLocks noGrp="1"/>
          </p:cNvSpPr>
          <p:nvPr>
            <p:ph type="title"/>
          </p:nvPr>
        </p:nvSpPr>
        <p:spPr>
          <a:xfrm>
            <a:off x="838200" y="540646"/>
            <a:ext cx="10515600" cy="443198"/>
          </a:xfrm>
        </p:spPr>
        <p:txBody>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9E42CD2-9F09-4728-BD23-A4E0B8B9BC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D009156-10CB-429A-B6AE-294D9B30C93B}"/>
              </a:ext>
            </a:extLst>
          </p:cNvPr>
          <p:cNvSpPr>
            <a:spLocks noGrp="1"/>
          </p:cNvSpPr>
          <p:nvPr>
            <p:ph type="ftr" sz="quarter" idx="11"/>
          </p:nvPr>
        </p:nvSpPr>
        <p:spPr>
          <a:xfrm>
            <a:off x="6361043" y="6356350"/>
            <a:ext cx="4615070" cy="365125"/>
          </a:xfrm>
        </p:spPr>
        <p:txBody>
          <a:bodyPr/>
          <a:lstStyle>
            <a:lvl1pPr algn="r">
              <a:defRPr sz="1050"/>
            </a:lvl1pPr>
          </a:lstStyle>
          <a:p>
            <a:r>
              <a:rPr lang="en-US"/>
              <a:t>Copyright © 2005-2023  Inventys Research Company, All Rights Reserved. </a:t>
            </a:r>
          </a:p>
        </p:txBody>
      </p:sp>
      <p:sp>
        <p:nvSpPr>
          <p:cNvPr id="6" name="Slide Number Placeholder 5">
            <a:extLst>
              <a:ext uri="{FF2B5EF4-FFF2-40B4-BE49-F238E27FC236}">
                <a16:creationId xmlns:a16="http://schemas.microsoft.com/office/drawing/2014/main" id="{406F603B-983D-47D8-89CF-5F2A8BFDE0FF}"/>
              </a:ext>
            </a:extLst>
          </p:cNvPr>
          <p:cNvSpPr>
            <a:spLocks noGrp="1"/>
          </p:cNvSpPr>
          <p:nvPr>
            <p:ph type="sldNum" sz="quarter" idx="12"/>
          </p:nvPr>
        </p:nvSpPr>
        <p:spPr>
          <a:xfrm>
            <a:off x="11072190" y="6356350"/>
            <a:ext cx="281609" cy="365125"/>
          </a:xfrm>
        </p:spPr>
        <p:txBody>
          <a:bodyPr/>
          <a:lstStyle>
            <a:lvl1pPr>
              <a:defRPr sz="1050"/>
            </a:lvl1pPr>
          </a:lstStyle>
          <a:p>
            <a:fld id="{8427212B-DAB7-41D9-8B3C-111279E9B140}" type="slidenum">
              <a:rPr lang="en-US" smtClean="0"/>
              <a:pPr/>
              <a:t>‹#›</a:t>
            </a:fld>
            <a:endParaRPr lang="en-US"/>
          </a:p>
        </p:txBody>
      </p:sp>
      <p:pic>
        <p:nvPicPr>
          <p:cNvPr id="7" name="Picture 6">
            <a:extLst>
              <a:ext uri="{FF2B5EF4-FFF2-40B4-BE49-F238E27FC236}">
                <a16:creationId xmlns:a16="http://schemas.microsoft.com/office/drawing/2014/main" id="{6E6B5735-53DC-4466-A0B0-D53814F043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8200" y="6264275"/>
            <a:ext cx="968188" cy="457200"/>
          </a:xfrm>
          <a:prstGeom prst="rect">
            <a:avLst/>
          </a:prstGeom>
        </p:spPr>
      </p:pic>
    </p:spTree>
    <p:extLst>
      <p:ext uri="{BB962C8B-B14F-4D97-AF65-F5344CB8AC3E}">
        <p14:creationId xmlns:p14="http://schemas.microsoft.com/office/powerpoint/2010/main" val="19975450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CC212-461A-4AD3-A006-F5A463A03E64}"/>
              </a:ext>
            </a:extLst>
          </p:cNvPr>
          <p:cNvSpPr>
            <a:spLocks noGrp="1"/>
          </p:cNvSpPr>
          <p:nvPr>
            <p:ph type="title"/>
          </p:nvPr>
        </p:nvSpPr>
        <p:spPr>
          <a:xfrm>
            <a:off x="838200" y="810133"/>
            <a:ext cx="10515600" cy="387798"/>
          </a:xfrm>
        </p:spPr>
        <p:txBody>
          <a:bodyPr/>
          <a:lstStyle>
            <a:lvl1pPr>
              <a:defRPr sz="2800" b="1">
                <a:latin typeface="Microsoft JhengHei UI" panose="020B0604030504040204" pitchFamily="34" charset="-120"/>
                <a:ea typeface="Microsoft JhengHei UI" panose="020B0604030504040204" pitchFamily="34" charset="-120"/>
                <a:cs typeface="Microsoft Sans Serif"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89E42CD2-9F09-4728-BD23-A4E0B8B9BCD7}"/>
              </a:ext>
            </a:extLst>
          </p:cNvPr>
          <p:cNvSpPr>
            <a:spLocks noGrp="1"/>
          </p:cNvSpPr>
          <p:nvPr>
            <p:ph idx="1"/>
          </p:nvPr>
        </p:nvSpPr>
        <p:spPr>
          <a:xfrm>
            <a:off x="838200" y="1696529"/>
            <a:ext cx="10515600" cy="4351338"/>
          </a:xfrm>
        </p:spPr>
        <p:txBody>
          <a:bodyPr>
            <a:normAutofit/>
          </a:bodyPr>
          <a:lstStyle>
            <a:lvl1pPr>
              <a:defRPr sz="2400">
                <a:latin typeface="Microsoft JhengHei UI" panose="020B0604030504040204" pitchFamily="34" charset="-120"/>
                <a:ea typeface="Microsoft JhengHei UI" panose="020B0604030504040204" pitchFamily="34" charset="-120"/>
              </a:defRPr>
            </a:lvl1pPr>
            <a:lvl2pPr>
              <a:defRPr sz="2000">
                <a:latin typeface="Microsoft JhengHei UI" panose="020B0604030504040204" pitchFamily="34" charset="-120"/>
                <a:ea typeface="Microsoft JhengHei UI" panose="020B0604030504040204" pitchFamily="34" charset="-120"/>
              </a:defRPr>
            </a:lvl2pPr>
            <a:lvl3pPr>
              <a:defRPr sz="1800">
                <a:latin typeface="Microsoft JhengHei UI" panose="020B0604030504040204" pitchFamily="34" charset="-120"/>
                <a:ea typeface="Microsoft JhengHei UI" panose="020B0604030504040204" pitchFamily="34" charset="-120"/>
              </a:defRPr>
            </a:lvl3pPr>
            <a:lvl4pPr>
              <a:defRPr sz="1600">
                <a:latin typeface="Microsoft JhengHei UI" panose="020B0604030504040204" pitchFamily="34" charset="-120"/>
                <a:ea typeface="Microsoft JhengHei UI" panose="020B0604030504040204" pitchFamily="34" charset="-120"/>
              </a:defRPr>
            </a:lvl4pPr>
            <a:lvl5pPr>
              <a:defRPr sz="1600">
                <a:latin typeface="Microsoft JhengHei UI" panose="020B0604030504040204" pitchFamily="34" charset="-120"/>
                <a:ea typeface="Microsoft JhengHei UI" panose="020B0604030504040204" pitchFamily="34" charset="-12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D009156-10CB-429A-B6AE-294D9B30C93B}"/>
              </a:ext>
            </a:extLst>
          </p:cNvPr>
          <p:cNvSpPr>
            <a:spLocks noGrp="1"/>
          </p:cNvSpPr>
          <p:nvPr>
            <p:ph type="ftr" sz="quarter" idx="11"/>
          </p:nvPr>
        </p:nvSpPr>
        <p:spPr>
          <a:xfrm>
            <a:off x="838200" y="6356350"/>
            <a:ext cx="4495800" cy="365125"/>
          </a:xfrm>
        </p:spPr>
        <p:txBody>
          <a:bodyPr/>
          <a:lstStyle>
            <a:lvl1pPr algn="l">
              <a:defRPr sz="1050"/>
            </a:lvl1pPr>
          </a:lstStyle>
          <a:p>
            <a:r>
              <a:rPr lang="en-US"/>
              <a:t>Copyright © 2005-2023  Inventys Research Company, All Rights Reserved. </a:t>
            </a:r>
          </a:p>
        </p:txBody>
      </p:sp>
      <p:sp>
        <p:nvSpPr>
          <p:cNvPr id="6" name="Slide Number Placeholder 5">
            <a:extLst>
              <a:ext uri="{FF2B5EF4-FFF2-40B4-BE49-F238E27FC236}">
                <a16:creationId xmlns:a16="http://schemas.microsoft.com/office/drawing/2014/main" id="{406F603B-983D-47D8-89CF-5F2A8BFDE0FF}"/>
              </a:ext>
            </a:extLst>
          </p:cNvPr>
          <p:cNvSpPr>
            <a:spLocks noGrp="1"/>
          </p:cNvSpPr>
          <p:nvPr>
            <p:ph type="sldNum" sz="quarter" idx="12"/>
          </p:nvPr>
        </p:nvSpPr>
        <p:spPr>
          <a:xfrm>
            <a:off x="11072190" y="6356350"/>
            <a:ext cx="281609" cy="365125"/>
          </a:xfrm>
        </p:spPr>
        <p:txBody>
          <a:bodyPr/>
          <a:lstStyle>
            <a:lvl1pPr>
              <a:defRPr sz="1050"/>
            </a:lvl1pPr>
          </a:lstStyle>
          <a:p>
            <a:fld id="{8427212B-DAB7-41D9-8B3C-111279E9B140}" type="slidenum">
              <a:rPr lang="en-US" smtClean="0"/>
              <a:pPr/>
              <a:t>‹#›</a:t>
            </a:fld>
            <a:endParaRPr lang="en-US"/>
          </a:p>
        </p:txBody>
      </p:sp>
      <p:pic>
        <p:nvPicPr>
          <p:cNvPr id="7" name="Picture 6">
            <a:extLst>
              <a:ext uri="{FF2B5EF4-FFF2-40B4-BE49-F238E27FC236}">
                <a16:creationId xmlns:a16="http://schemas.microsoft.com/office/drawing/2014/main" id="{6E6B5735-53DC-4466-A0B0-D53814F043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69705" y="223837"/>
            <a:ext cx="968188" cy="457200"/>
          </a:xfrm>
          <a:prstGeom prst="rect">
            <a:avLst/>
          </a:prstGeom>
        </p:spPr>
      </p:pic>
      <p:sp>
        <p:nvSpPr>
          <p:cNvPr id="8" name="Slide Number Placeholder 5">
            <a:extLst>
              <a:ext uri="{FF2B5EF4-FFF2-40B4-BE49-F238E27FC236}">
                <a16:creationId xmlns:a16="http://schemas.microsoft.com/office/drawing/2014/main" id="{65B5E6AB-9021-4B7D-A679-92238A43DD11}"/>
              </a:ext>
            </a:extLst>
          </p:cNvPr>
          <p:cNvSpPr txBox="1">
            <a:spLocks/>
          </p:cNvSpPr>
          <p:nvPr userDrawn="1"/>
        </p:nvSpPr>
        <p:spPr>
          <a:xfrm>
            <a:off x="10544176" y="6356350"/>
            <a:ext cx="466334" cy="365125"/>
          </a:xfrm>
          <a:prstGeom prst="rect">
            <a:avLst/>
          </a:prstGeom>
        </p:spPr>
        <p:txBody>
          <a:bodyPr vert="horz" lIns="0" tIns="0" rIns="0" bIns="0" rtlCol="0" anchor="ctr"/>
          <a:lstStyle>
            <a:defPPr>
              <a:defRPr lang="en-US"/>
            </a:defPPr>
            <a:lvl1pPr marL="0" algn="r" defTabSz="914400" rtl="0" eaLnBrk="1" latinLnBrk="0" hangingPunct="1">
              <a:defRPr sz="105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Page</a:t>
            </a:r>
          </a:p>
        </p:txBody>
      </p:sp>
    </p:spTree>
    <p:extLst>
      <p:ext uri="{BB962C8B-B14F-4D97-AF65-F5344CB8AC3E}">
        <p14:creationId xmlns:p14="http://schemas.microsoft.com/office/powerpoint/2010/main" val="15755646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F7862-B58D-41DD-B0A1-5CB7B0CDED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52214B4-F923-4A20-B493-57313490C45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35843C3-83F3-4C02-9B7E-4E8288168D3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A5F4718-C4CE-44FC-A90F-E1F6E2D329B6}"/>
              </a:ext>
            </a:extLst>
          </p:cNvPr>
          <p:cNvSpPr>
            <a:spLocks noGrp="1"/>
          </p:cNvSpPr>
          <p:nvPr>
            <p:ph type="ftr" sz="quarter" idx="11"/>
          </p:nvPr>
        </p:nvSpPr>
        <p:spPr/>
        <p:txBody>
          <a:bodyPr/>
          <a:lstStyle/>
          <a:p>
            <a:r>
              <a:rPr lang="en-US"/>
              <a:t>Copyright © 2005-2023  Inventys Research Company, All Rights Reserved. </a:t>
            </a:r>
          </a:p>
        </p:txBody>
      </p:sp>
      <p:sp>
        <p:nvSpPr>
          <p:cNvPr id="6" name="Slide Number Placeholder 5">
            <a:extLst>
              <a:ext uri="{FF2B5EF4-FFF2-40B4-BE49-F238E27FC236}">
                <a16:creationId xmlns:a16="http://schemas.microsoft.com/office/drawing/2014/main" id="{EF4E2153-4DB8-4B31-83F5-E86EA9759883}"/>
              </a:ext>
            </a:extLst>
          </p:cNvPr>
          <p:cNvSpPr>
            <a:spLocks noGrp="1"/>
          </p:cNvSpPr>
          <p:nvPr>
            <p:ph type="sldNum" sz="quarter" idx="12"/>
          </p:nvPr>
        </p:nvSpPr>
        <p:spPr/>
        <p:txBody>
          <a:bodyPr/>
          <a:lstStyle/>
          <a:p>
            <a:fld id="{8427212B-DAB7-41D9-8B3C-111279E9B140}" type="slidenum">
              <a:rPr lang="en-US" smtClean="0"/>
              <a:t>‹#›</a:t>
            </a:fld>
            <a:endParaRPr lang="en-US"/>
          </a:p>
        </p:txBody>
      </p:sp>
    </p:spTree>
    <p:extLst>
      <p:ext uri="{BB962C8B-B14F-4D97-AF65-F5344CB8AC3E}">
        <p14:creationId xmlns:p14="http://schemas.microsoft.com/office/powerpoint/2010/main" val="7192259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63E48F-042E-45B9-A68F-A2BE048CF1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BBDC6AA-27BB-4FA5-9DE3-EC0FC47929B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2ACF68D-79CA-4D41-AF32-16AD3CB16B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27B4522-A234-4846-890F-5312B383874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19924AD-9D56-4B70-A56C-AE9C01DF8AA4}"/>
              </a:ext>
            </a:extLst>
          </p:cNvPr>
          <p:cNvSpPr>
            <a:spLocks noGrp="1"/>
          </p:cNvSpPr>
          <p:nvPr>
            <p:ph type="ftr" sz="quarter" idx="11"/>
          </p:nvPr>
        </p:nvSpPr>
        <p:spPr/>
        <p:txBody>
          <a:bodyPr/>
          <a:lstStyle/>
          <a:p>
            <a:r>
              <a:rPr lang="en-US"/>
              <a:t>Copyright © 2005-2023  Inventys Research Company, All Rights Reserved. </a:t>
            </a:r>
          </a:p>
        </p:txBody>
      </p:sp>
      <p:sp>
        <p:nvSpPr>
          <p:cNvPr id="7" name="Slide Number Placeholder 6">
            <a:extLst>
              <a:ext uri="{FF2B5EF4-FFF2-40B4-BE49-F238E27FC236}">
                <a16:creationId xmlns:a16="http://schemas.microsoft.com/office/drawing/2014/main" id="{D6D14C28-876E-41BF-AF76-5C02A3BC0BCC}"/>
              </a:ext>
            </a:extLst>
          </p:cNvPr>
          <p:cNvSpPr>
            <a:spLocks noGrp="1"/>
          </p:cNvSpPr>
          <p:nvPr>
            <p:ph type="sldNum" sz="quarter" idx="12"/>
          </p:nvPr>
        </p:nvSpPr>
        <p:spPr/>
        <p:txBody>
          <a:bodyPr/>
          <a:lstStyle/>
          <a:p>
            <a:fld id="{8427212B-DAB7-41D9-8B3C-111279E9B140}" type="slidenum">
              <a:rPr lang="en-US" smtClean="0"/>
              <a:t>‹#›</a:t>
            </a:fld>
            <a:endParaRPr lang="en-US"/>
          </a:p>
        </p:txBody>
      </p:sp>
    </p:spTree>
    <p:extLst>
      <p:ext uri="{BB962C8B-B14F-4D97-AF65-F5344CB8AC3E}">
        <p14:creationId xmlns:p14="http://schemas.microsoft.com/office/powerpoint/2010/main" val="34996348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438D5-0568-47C4-A52E-404238FA832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12A68D6-CC2A-4CA0-8BCE-CD8D309B1D2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7E08F10-AA8C-4291-8EF9-2748767291D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0011D27-2C89-4CFA-8040-774C746085E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61828F3-B123-4559-9B52-2971F78BECF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8205188-DE9E-48BD-97BA-CDC215AC86F1}"/>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663C3FCE-9003-4E11-AE4D-6CFECC953B03}"/>
              </a:ext>
            </a:extLst>
          </p:cNvPr>
          <p:cNvSpPr>
            <a:spLocks noGrp="1"/>
          </p:cNvSpPr>
          <p:nvPr>
            <p:ph type="ftr" sz="quarter" idx="11"/>
          </p:nvPr>
        </p:nvSpPr>
        <p:spPr/>
        <p:txBody>
          <a:bodyPr/>
          <a:lstStyle/>
          <a:p>
            <a:r>
              <a:rPr lang="en-US"/>
              <a:t>Copyright © 2005-2023  Inventys Research Company, All Rights Reserved. </a:t>
            </a:r>
          </a:p>
        </p:txBody>
      </p:sp>
      <p:sp>
        <p:nvSpPr>
          <p:cNvPr id="9" name="Slide Number Placeholder 8">
            <a:extLst>
              <a:ext uri="{FF2B5EF4-FFF2-40B4-BE49-F238E27FC236}">
                <a16:creationId xmlns:a16="http://schemas.microsoft.com/office/drawing/2014/main" id="{182C8999-A619-45F2-8918-F0432A1FBA79}"/>
              </a:ext>
            </a:extLst>
          </p:cNvPr>
          <p:cNvSpPr>
            <a:spLocks noGrp="1"/>
          </p:cNvSpPr>
          <p:nvPr>
            <p:ph type="sldNum" sz="quarter" idx="12"/>
          </p:nvPr>
        </p:nvSpPr>
        <p:spPr/>
        <p:txBody>
          <a:bodyPr/>
          <a:lstStyle/>
          <a:p>
            <a:fld id="{8427212B-DAB7-41D9-8B3C-111279E9B140}" type="slidenum">
              <a:rPr lang="en-US" smtClean="0"/>
              <a:t>‹#›</a:t>
            </a:fld>
            <a:endParaRPr lang="en-US"/>
          </a:p>
        </p:txBody>
      </p:sp>
    </p:spTree>
    <p:extLst>
      <p:ext uri="{BB962C8B-B14F-4D97-AF65-F5344CB8AC3E}">
        <p14:creationId xmlns:p14="http://schemas.microsoft.com/office/powerpoint/2010/main" val="17808441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B84BC-0D83-437C-A891-632467D1C91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7CA46D6-111A-4861-9603-F8DB735F65D8}"/>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11CB28D7-C768-45F7-B092-3F930D55338E}"/>
              </a:ext>
            </a:extLst>
          </p:cNvPr>
          <p:cNvSpPr>
            <a:spLocks noGrp="1"/>
          </p:cNvSpPr>
          <p:nvPr>
            <p:ph type="ftr" sz="quarter" idx="11"/>
          </p:nvPr>
        </p:nvSpPr>
        <p:spPr/>
        <p:txBody>
          <a:bodyPr/>
          <a:lstStyle/>
          <a:p>
            <a:r>
              <a:rPr lang="en-US"/>
              <a:t>Copyright © 2005-2023  Inventys Research Company, All Rights Reserved. </a:t>
            </a:r>
          </a:p>
        </p:txBody>
      </p:sp>
      <p:sp>
        <p:nvSpPr>
          <p:cNvPr id="5" name="Slide Number Placeholder 4">
            <a:extLst>
              <a:ext uri="{FF2B5EF4-FFF2-40B4-BE49-F238E27FC236}">
                <a16:creationId xmlns:a16="http://schemas.microsoft.com/office/drawing/2014/main" id="{3D6A055D-B580-4BED-BC60-2969193B3C87}"/>
              </a:ext>
            </a:extLst>
          </p:cNvPr>
          <p:cNvSpPr>
            <a:spLocks noGrp="1"/>
          </p:cNvSpPr>
          <p:nvPr>
            <p:ph type="sldNum" sz="quarter" idx="12"/>
          </p:nvPr>
        </p:nvSpPr>
        <p:spPr/>
        <p:txBody>
          <a:bodyPr/>
          <a:lstStyle/>
          <a:p>
            <a:fld id="{8427212B-DAB7-41D9-8B3C-111279E9B140}" type="slidenum">
              <a:rPr lang="en-US" smtClean="0"/>
              <a:t>‹#›</a:t>
            </a:fld>
            <a:endParaRPr lang="en-US"/>
          </a:p>
        </p:txBody>
      </p:sp>
    </p:spTree>
    <p:extLst>
      <p:ext uri="{BB962C8B-B14F-4D97-AF65-F5344CB8AC3E}">
        <p14:creationId xmlns:p14="http://schemas.microsoft.com/office/powerpoint/2010/main" val="24857548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43138D7-003D-45CC-AF78-D3202F550400}"/>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2B495864-E26D-4867-8021-850845480EF7}"/>
              </a:ext>
            </a:extLst>
          </p:cNvPr>
          <p:cNvSpPr>
            <a:spLocks noGrp="1"/>
          </p:cNvSpPr>
          <p:nvPr>
            <p:ph type="ftr" sz="quarter" idx="11"/>
          </p:nvPr>
        </p:nvSpPr>
        <p:spPr/>
        <p:txBody>
          <a:bodyPr/>
          <a:lstStyle/>
          <a:p>
            <a:r>
              <a:rPr lang="en-US"/>
              <a:t>Copyright © 2005-2023  Inventys Research Company, All Rights Reserved. </a:t>
            </a:r>
          </a:p>
        </p:txBody>
      </p:sp>
      <p:sp>
        <p:nvSpPr>
          <p:cNvPr id="4" name="Slide Number Placeholder 3">
            <a:extLst>
              <a:ext uri="{FF2B5EF4-FFF2-40B4-BE49-F238E27FC236}">
                <a16:creationId xmlns:a16="http://schemas.microsoft.com/office/drawing/2014/main" id="{F2651183-C640-4966-8FEC-1F988EBC4BF6}"/>
              </a:ext>
            </a:extLst>
          </p:cNvPr>
          <p:cNvSpPr>
            <a:spLocks noGrp="1"/>
          </p:cNvSpPr>
          <p:nvPr>
            <p:ph type="sldNum" sz="quarter" idx="12"/>
          </p:nvPr>
        </p:nvSpPr>
        <p:spPr/>
        <p:txBody>
          <a:bodyPr/>
          <a:lstStyle/>
          <a:p>
            <a:fld id="{8427212B-DAB7-41D9-8B3C-111279E9B140}" type="slidenum">
              <a:rPr lang="en-US" smtClean="0"/>
              <a:t>‹#›</a:t>
            </a:fld>
            <a:endParaRPr lang="en-US"/>
          </a:p>
        </p:txBody>
      </p:sp>
    </p:spTree>
    <p:extLst>
      <p:ext uri="{BB962C8B-B14F-4D97-AF65-F5344CB8AC3E}">
        <p14:creationId xmlns:p14="http://schemas.microsoft.com/office/powerpoint/2010/main" val="1491698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0E9EC5-4726-5D12-E7D8-4EE193FE7504}"/>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BB30018-5DED-9D0A-F565-9CA6231AF74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0475B5C-C1A3-0F44-A067-56DDA2A94D9E}"/>
              </a:ext>
            </a:extLst>
          </p:cNvPr>
          <p:cNvSpPr>
            <a:spLocks noGrp="1"/>
          </p:cNvSpPr>
          <p:nvPr>
            <p:ph type="dt" sz="half" idx="10"/>
          </p:nvPr>
        </p:nvSpPr>
        <p:spPr/>
        <p:txBody>
          <a:bodyPr/>
          <a:lstStyle/>
          <a:p>
            <a:fld id="{ED5BF407-1D69-DA4F-A66C-44C142A1EA36}" type="datetimeFigureOut">
              <a:rPr lang="en-US" smtClean="0"/>
              <a:t>9/4/2024</a:t>
            </a:fld>
            <a:endParaRPr lang="en-US"/>
          </a:p>
        </p:txBody>
      </p:sp>
      <p:sp>
        <p:nvSpPr>
          <p:cNvPr id="5" name="Footer Placeholder 4">
            <a:extLst>
              <a:ext uri="{FF2B5EF4-FFF2-40B4-BE49-F238E27FC236}">
                <a16:creationId xmlns:a16="http://schemas.microsoft.com/office/drawing/2014/main" id="{CFF0AED7-09DC-C633-8F56-D61E8F88F2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F8ABC0-483E-C238-113D-FF1BAE3F6D2A}"/>
              </a:ext>
            </a:extLst>
          </p:cNvPr>
          <p:cNvSpPr>
            <a:spLocks noGrp="1"/>
          </p:cNvSpPr>
          <p:nvPr>
            <p:ph type="sldNum" sz="quarter" idx="12"/>
          </p:nvPr>
        </p:nvSpPr>
        <p:spPr/>
        <p:txBody>
          <a:bodyPr/>
          <a:lstStyle/>
          <a:p>
            <a:fld id="{43CBEFDA-8207-6641-9689-3555584BAC48}" type="slidenum">
              <a:rPr lang="en-US" smtClean="0"/>
              <a:t>‹#›</a:t>
            </a:fld>
            <a:endParaRPr lang="en-US"/>
          </a:p>
        </p:txBody>
      </p:sp>
    </p:spTree>
    <p:extLst>
      <p:ext uri="{BB962C8B-B14F-4D97-AF65-F5344CB8AC3E}">
        <p14:creationId xmlns:p14="http://schemas.microsoft.com/office/powerpoint/2010/main" val="13838375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78DA4-92D0-F505-56CF-B52E2D46715C}"/>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B6A8D2CF-CE91-72F3-D9FE-5E14E6600FF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539BAD15-8BD3-B31C-774F-7326CC542487}"/>
              </a:ext>
            </a:extLst>
          </p:cNvPr>
          <p:cNvSpPr>
            <a:spLocks noGrp="1"/>
          </p:cNvSpPr>
          <p:nvPr>
            <p:ph type="dt" sz="half" idx="10"/>
          </p:nvPr>
        </p:nvSpPr>
        <p:spPr>
          <a:xfrm>
            <a:off x="838200" y="6434157"/>
            <a:ext cx="2743200" cy="228600"/>
          </a:xfrm>
          <a:prstGeom prst="rect">
            <a:avLst/>
          </a:prstGeom>
        </p:spPr>
        <p:txBody>
          <a:bodyPr/>
          <a:lstStyle/>
          <a:p>
            <a:fld id="{7874F2D1-B6E7-474F-AD53-13D23C97E45F}" type="datetime1">
              <a:rPr lang="en-US" smtClean="0"/>
              <a:t>9/4/2024</a:t>
            </a:fld>
            <a:endParaRPr lang="en-US" dirty="0"/>
          </a:p>
        </p:txBody>
      </p:sp>
      <p:sp>
        <p:nvSpPr>
          <p:cNvPr id="5" name="Footer Placeholder 4">
            <a:extLst>
              <a:ext uri="{FF2B5EF4-FFF2-40B4-BE49-F238E27FC236}">
                <a16:creationId xmlns:a16="http://schemas.microsoft.com/office/drawing/2014/main" id="{49CEA51F-8DBD-C9FA-AE27-3208B95AD02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6DB65AB-393D-186E-2277-F784BC8B5D4C}"/>
              </a:ext>
            </a:extLst>
          </p:cNvPr>
          <p:cNvSpPr>
            <a:spLocks noGrp="1"/>
          </p:cNvSpPr>
          <p:nvPr>
            <p:ph type="sldNum" sz="quarter" idx="12"/>
          </p:nvPr>
        </p:nvSpPr>
        <p:spPr/>
        <p:txBody>
          <a:bodyPr/>
          <a:lstStyle/>
          <a:p>
            <a:fld id="{43CBEFDA-8207-6641-9689-3555584BAC48}" type="slidenum">
              <a:rPr lang="en-US" smtClean="0"/>
              <a:t>‹#›</a:t>
            </a:fld>
            <a:endParaRPr lang="en-US" dirty="0"/>
          </a:p>
        </p:txBody>
      </p:sp>
    </p:spTree>
    <p:extLst>
      <p:ext uri="{BB962C8B-B14F-4D97-AF65-F5344CB8AC3E}">
        <p14:creationId xmlns:p14="http://schemas.microsoft.com/office/powerpoint/2010/main" val="11046729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0E9EC5-4726-5D12-E7D8-4EE193FE7504}"/>
              </a:ext>
            </a:extLst>
          </p:cNvPr>
          <p:cNvSpPr>
            <a:spLocks noGrp="1"/>
          </p:cNvSpPr>
          <p:nvPr>
            <p:ph type="title"/>
          </p:nvPr>
        </p:nvSpPr>
        <p:spPr/>
        <p:txBody>
          <a:bodyPr/>
          <a:lstStyle/>
          <a:p>
            <a:r>
              <a:rPr lang="en-GB" dirty="0"/>
              <a:t>Click to edit Master title style</a:t>
            </a:r>
            <a:endParaRPr lang="en-US" dirty="0"/>
          </a:p>
        </p:txBody>
      </p:sp>
      <p:sp>
        <p:nvSpPr>
          <p:cNvPr id="3" name="Content Placeholder 2">
            <a:extLst>
              <a:ext uri="{FF2B5EF4-FFF2-40B4-BE49-F238E27FC236}">
                <a16:creationId xmlns:a16="http://schemas.microsoft.com/office/drawing/2014/main" id="{EBB30018-5DED-9D0A-F565-9CA6231AF74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0475B5C-C1A3-0F44-A067-56DDA2A94D9E}"/>
              </a:ext>
            </a:extLst>
          </p:cNvPr>
          <p:cNvSpPr>
            <a:spLocks noGrp="1"/>
          </p:cNvSpPr>
          <p:nvPr>
            <p:ph type="dt" sz="half" idx="10"/>
          </p:nvPr>
        </p:nvSpPr>
        <p:spPr>
          <a:xfrm>
            <a:off x="838200" y="6434157"/>
            <a:ext cx="2743200" cy="228600"/>
          </a:xfrm>
          <a:prstGeom prst="rect">
            <a:avLst/>
          </a:prstGeom>
        </p:spPr>
        <p:txBody>
          <a:bodyPr/>
          <a:lstStyle/>
          <a:p>
            <a:fld id="{7CD81F4B-D78E-4CAB-947F-99CE3ED627AF}" type="datetime1">
              <a:rPr lang="en-US" smtClean="0"/>
              <a:t>9/4/2024</a:t>
            </a:fld>
            <a:endParaRPr lang="en-US" dirty="0"/>
          </a:p>
        </p:txBody>
      </p:sp>
      <p:sp>
        <p:nvSpPr>
          <p:cNvPr id="5" name="Footer Placeholder 4">
            <a:extLst>
              <a:ext uri="{FF2B5EF4-FFF2-40B4-BE49-F238E27FC236}">
                <a16:creationId xmlns:a16="http://schemas.microsoft.com/office/drawing/2014/main" id="{CFF0AED7-09DC-C633-8F56-D61E8F88F2F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4F8ABC0-483E-C238-113D-FF1BAE3F6D2A}"/>
              </a:ext>
            </a:extLst>
          </p:cNvPr>
          <p:cNvSpPr>
            <a:spLocks noGrp="1"/>
          </p:cNvSpPr>
          <p:nvPr>
            <p:ph type="sldNum" sz="quarter" idx="12"/>
          </p:nvPr>
        </p:nvSpPr>
        <p:spPr/>
        <p:txBody>
          <a:bodyPr/>
          <a:lstStyle/>
          <a:p>
            <a:fld id="{43CBEFDA-8207-6641-9689-3555584BAC48}" type="slidenum">
              <a:rPr lang="en-US" smtClean="0"/>
              <a:t>‹#›</a:t>
            </a:fld>
            <a:endParaRPr lang="en-US" dirty="0"/>
          </a:p>
        </p:txBody>
      </p:sp>
    </p:spTree>
    <p:extLst>
      <p:ext uri="{BB962C8B-B14F-4D97-AF65-F5344CB8AC3E}">
        <p14:creationId xmlns:p14="http://schemas.microsoft.com/office/powerpoint/2010/main" val="41785885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EBDF4-6149-2431-CD25-C38AD7CA91D9}"/>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1008256B-8724-00FE-3CFB-05CC826108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6F69E2A9-9158-A940-A185-15A5CEEA8CC6}"/>
              </a:ext>
            </a:extLst>
          </p:cNvPr>
          <p:cNvSpPr>
            <a:spLocks noGrp="1"/>
          </p:cNvSpPr>
          <p:nvPr>
            <p:ph type="dt" sz="half" idx="10"/>
          </p:nvPr>
        </p:nvSpPr>
        <p:spPr>
          <a:xfrm>
            <a:off x="838200" y="6434157"/>
            <a:ext cx="2743200" cy="228600"/>
          </a:xfrm>
          <a:prstGeom prst="rect">
            <a:avLst/>
          </a:prstGeom>
        </p:spPr>
        <p:txBody>
          <a:bodyPr/>
          <a:lstStyle/>
          <a:p>
            <a:fld id="{EBCCC412-FD7F-48FB-B6D5-9357FD8109B9}" type="datetime1">
              <a:rPr lang="en-US" smtClean="0"/>
              <a:t>9/4/2024</a:t>
            </a:fld>
            <a:endParaRPr lang="en-US" dirty="0"/>
          </a:p>
        </p:txBody>
      </p:sp>
      <p:sp>
        <p:nvSpPr>
          <p:cNvPr id="5" name="Footer Placeholder 4">
            <a:extLst>
              <a:ext uri="{FF2B5EF4-FFF2-40B4-BE49-F238E27FC236}">
                <a16:creationId xmlns:a16="http://schemas.microsoft.com/office/drawing/2014/main" id="{BEF230C0-12CB-5678-2295-350D08F3686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56FD469-3498-A196-1CFA-CB37716D85EF}"/>
              </a:ext>
            </a:extLst>
          </p:cNvPr>
          <p:cNvSpPr>
            <a:spLocks noGrp="1"/>
          </p:cNvSpPr>
          <p:nvPr>
            <p:ph type="sldNum" sz="quarter" idx="12"/>
          </p:nvPr>
        </p:nvSpPr>
        <p:spPr/>
        <p:txBody>
          <a:bodyPr/>
          <a:lstStyle/>
          <a:p>
            <a:fld id="{43CBEFDA-8207-6641-9689-3555584BAC48}" type="slidenum">
              <a:rPr lang="en-US" smtClean="0"/>
              <a:t>‹#›</a:t>
            </a:fld>
            <a:endParaRPr lang="en-US" dirty="0"/>
          </a:p>
        </p:txBody>
      </p:sp>
    </p:spTree>
    <p:extLst>
      <p:ext uri="{BB962C8B-B14F-4D97-AF65-F5344CB8AC3E}">
        <p14:creationId xmlns:p14="http://schemas.microsoft.com/office/powerpoint/2010/main" val="3124470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A34B4-610E-ED14-B771-3523DA3A9A7E}"/>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998D22F-B984-A7F3-75E7-D161E30A5A05}"/>
              </a:ext>
            </a:extLst>
          </p:cNvPr>
          <p:cNvSpPr>
            <a:spLocks noGrp="1"/>
          </p:cNvSpPr>
          <p:nvPr>
            <p:ph sz="half" idx="1"/>
          </p:nvPr>
        </p:nvSpPr>
        <p:spPr>
          <a:xfrm>
            <a:off x="838200" y="1254642"/>
            <a:ext cx="5181600" cy="511426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CD390CFE-BDF3-3758-1D90-DA9C32A7D19A}"/>
              </a:ext>
            </a:extLst>
          </p:cNvPr>
          <p:cNvSpPr>
            <a:spLocks noGrp="1"/>
          </p:cNvSpPr>
          <p:nvPr>
            <p:ph sz="half" idx="2"/>
          </p:nvPr>
        </p:nvSpPr>
        <p:spPr>
          <a:xfrm>
            <a:off x="6172200" y="1254642"/>
            <a:ext cx="5181600" cy="511426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CEDED7DE-4808-B7C8-2147-4A3EFD6CD3F4}"/>
              </a:ext>
            </a:extLst>
          </p:cNvPr>
          <p:cNvSpPr>
            <a:spLocks noGrp="1"/>
          </p:cNvSpPr>
          <p:nvPr>
            <p:ph type="dt" sz="half" idx="10"/>
          </p:nvPr>
        </p:nvSpPr>
        <p:spPr>
          <a:xfrm>
            <a:off x="838200" y="6434157"/>
            <a:ext cx="2743200" cy="228600"/>
          </a:xfrm>
          <a:prstGeom prst="rect">
            <a:avLst/>
          </a:prstGeom>
        </p:spPr>
        <p:txBody>
          <a:bodyPr/>
          <a:lstStyle/>
          <a:p>
            <a:fld id="{74A0A325-FDD2-483A-9FD6-EBF3A4A9C9FA}" type="datetime1">
              <a:rPr lang="en-US" smtClean="0"/>
              <a:t>9/4/2024</a:t>
            </a:fld>
            <a:endParaRPr lang="en-US" dirty="0"/>
          </a:p>
        </p:txBody>
      </p:sp>
      <p:sp>
        <p:nvSpPr>
          <p:cNvPr id="6" name="Footer Placeholder 5">
            <a:extLst>
              <a:ext uri="{FF2B5EF4-FFF2-40B4-BE49-F238E27FC236}">
                <a16:creationId xmlns:a16="http://schemas.microsoft.com/office/drawing/2014/main" id="{AB968316-027E-BCE0-6D3C-50671460E116}"/>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F11C019-27EB-86AF-245E-316AA594FBAF}"/>
              </a:ext>
            </a:extLst>
          </p:cNvPr>
          <p:cNvSpPr>
            <a:spLocks noGrp="1"/>
          </p:cNvSpPr>
          <p:nvPr>
            <p:ph type="sldNum" sz="quarter" idx="12"/>
          </p:nvPr>
        </p:nvSpPr>
        <p:spPr/>
        <p:txBody>
          <a:bodyPr/>
          <a:lstStyle/>
          <a:p>
            <a:fld id="{43CBEFDA-8207-6641-9689-3555584BAC48}" type="slidenum">
              <a:rPr lang="en-US" smtClean="0"/>
              <a:t>‹#›</a:t>
            </a:fld>
            <a:endParaRPr lang="en-US" dirty="0"/>
          </a:p>
        </p:txBody>
      </p:sp>
    </p:spTree>
    <p:extLst>
      <p:ext uri="{BB962C8B-B14F-4D97-AF65-F5344CB8AC3E}">
        <p14:creationId xmlns:p14="http://schemas.microsoft.com/office/powerpoint/2010/main" val="18017081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A9FC4-FF59-53E4-D4C7-5AF81CE2C271}"/>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83EC955-786B-7A7B-49AE-9CAC26D334A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C31B7C7-82A0-EC24-A4C6-7BB9FA84196A}"/>
              </a:ext>
            </a:extLst>
          </p:cNvPr>
          <p:cNvSpPr>
            <a:spLocks noGrp="1"/>
          </p:cNvSpPr>
          <p:nvPr>
            <p:ph sz="half" idx="2"/>
          </p:nvPr>
        </p:nvSpPr>
        <p:spPr>
          <a:xfrm>
            <a:off x="839788" y="2505074"/>
            <a:ext cx="5157787" cy="386382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B914CFE2-2E04-9EC7-075E-1DF4B826E8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31F27667-1D9F-A35D-B6AC-C29666D0E126}"/>
              </a:ext>
            </a:extLst>
          </p:cNvPr>
          <p:cNvSpPr>
            <a:spLocks noGrp="1"/>
          </p:cNvSpPr>
          <p:nvPr>
            <p:ph sz="quarter" idx="4"/>
          </p:nvPr>
        </p:nvSpPr>
        <p:spPr>
          <a:xfrm>
            <a:off x="6172200" y="2505074"/>
            <a:ext cx="5183188" cy="386382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068F4B25-D589-B759-E164-4E725473F9F2}"/>
              </a:ext>
            </a:extLst>
          </p:cNvPr>
          <p:cNvSpPr>
            <a:spLocks noGrp="1"/>
          </p:cNvSpPr>
          <p:nvPr>
            <p:ph type="dt" sz="half" idx="10"/>
          </p:nvPr>
        </p:nvSpPr>
        <p:spPr>
          <a:xfrm>
            <a:off x="838200" y="6434157"/>
            <a:ext cx="2743200" cy="228600"/>
          </a:xfrm>
          <a:prstGeom prst="rect">
            <a:avLst/>
          </a:prstGeom>
        </p:spPr>
        <p:txBody>
          <a:bodyPr/>
          <a:lstStyle/>
          <a:p>
            <a:fld id="{517CA2BF-10EB-4E4F-A972-F44DAB5D2758}" type="datetime1">
              <a:rPr lang="en-US" smtClean="0"/>
              <a:t>9/4/2024</a:t>
            </a:fld>
            <a:endParaRPr lang="en-US" dirty="0"/>
          </a:p>
        </p:txBody>
      </p:sp>
      <p:sp>
        <p:nvSpPr>
          <p:cNvPr id="8" name="Footer Placeholder 7">
            <a:extLst>
              <a:ext uri="{FF2B5EF4-FFF2-40B4-BE49-F238E27FC236}">
                <a16:creationId xmlns:a16="http://schemas.microsoft.com/office/drawing/2014/main" id="{05AA193F-9C5E-2BB9-1420-9CD6B1B7015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A44ED62C-6F08-4589-56EB-E24E517F4A20}"/>
              </a:ext>
            </a:extLst>
          </p:cNvPr>
          <p:cNvSpPr>
            <a:spLocks noGrp="1"/>
          </p:cNvSpPr>
          <p:nvPr>
            <p:ph type="sldNum" sz="quarter" idx="12"/>
          </p:nvPr>
        </p:nvSpPr>
        <p:spPr/>
        <p:txBody>
          <a:bodyPr/>
          <a:lstStyle/>
          <a:p>
            <a:fld id="{43CBEFDA-8207-6641-9689-3555584BAC48}" type="slidenum">
              <a:rPr lang="en-US" smtClean="0"/>
              <a:t>‹#›</a:t>
            </a:fld>
            <a:endParaRPr lang="en-US" dirty="0"/>
          </a:p>
        </p:txBody>
      </p:sp>
    </p:spTree>
    <p:extLst>
      <p:ext uri="{BB962C8B-B14F-4D97-AF65-F5344CB8AC3E}">
        <p14:creationId xmlns:p14="http://schemas.microsoft.com/office/powerpoint/2010/main" val="28071079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EB4AF-0663-7788-9E3B-3E9A3EFEFA42}"/>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B25FDE31-60C5-DD15-5610-D083535E333D}"/>
              </a:ext>
            </a:extLst>
          </p:cNvPr>
          <p:cNvSpPr>
            <a:spLocks noGrp="1"/>
          </p:cNvSpPr>
          <p:nvPr>
            <p:ph type="dt" sz="half" idx="10"/>
          </p:nvPr>
        </p:nvSpPr>
        <p:spPr>
          <a:xfrm>
            <a:off x="838200" y="6434157"/>
            <a:ext cx="2743200" cy="228600"/>
          </a:xfrm>
          <a:prstGeom prst="rect">
            <a:avLst/>
          </a:prstGeom>
        </p:spPr>
        <p:txBody>
          <a:bodyPr/>
          <a:lstStyle/>
          <a:p>
            <a:fld id="{D03C2ECA-2979-4C07-A1FF-7931F0B30EB3}" type="datetime1">
              <a:rPr lang="en-US" smtClean="0"/>
              <a:t>9/4/2024</a:t>
            </a:fld>
            <a:endParaRPr lang="en-US" dirty="0"/>
          </a:p>
        </p:txBody>
      </p:sp>
      <p:sp>
        <p:nvSpPr>
          <p:cNvPr id="4" name="Footer Placeholder 3">
            <a:extLst>
              <a:ext uri="{FF2B5EF4-FFF2-40B4-BE49-F238E27FC236}">
                <a16:creationId xmlns:a16="http://schemas.microsoft.com/office/drawing/2014/main" id="{48359F2C-17AF-0B06-1D11-854F2E3FEC8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BCC6173-1B71-DBBE-981A-DEC46C1AB343}"/>
              </a:ext>
            </a:extLst>
          </p:cNvPr>
          <p:cNvSpPr>
            <a:spLocks noGrp="1"/>
          </p:cNvSpPr>
          <p:nvPr>
            <p:ph type="sldNum" sz="quarter" idx="12"/>
          </p:nvPr>
        </p:nvSpPr>
        <p:spPr/>
        <p:txBody>
          <a:bodyPr/>
          <a:lstStyle/>
          <a:p>
            <a:fld id="{43CBEFDA-8207-6641-9689-3555584BAC48}" type="slidenum">
              <a:rPr lang="en-US" smtClean="0"/>
              <a:t>‹#›</a:t>
            </a:fld>
            <a:endParaRPr lang="en-US" dirty="0"/>
          </a:p>
        </p:txBody>
      </p:sp>
    </p:spTree>
    <p:extLst>
      <p:ext uri="{BB962C8B-B14F-4D97-AF65-F5344CB8AC3E}">
        <p14:creationId xmlns:p14="http://schemas.microsoft.com/office/powerpoint/2010/main" val="37879909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3692D5-D799-60B1-5E86-451CE933376E}"/>
              </a:ext>
            </a:extLst>
          </p:cNvPr>
          <p:cNvSpPr>
            <a:spLocks noGrp="1"/>
          </p:cNvSpPr>
          <p:nvPr>
            <p:ph type="dt" sz="half" idx="10"/>
          </p:nvPr>
        </p:nvSpPr>
        <p:spPr>
          <a:xfrm>
            <a:off x="838200" y="6434157"/>
            <a:ext cx="2743200" cy="228600"/>
          </a:xfrm>
          <a:prstGeom prst="rect">
            <a:avLst/>
          </a:prstGeom>
        </p:spPr>
        <p:txBody>
          <a:bodyPr/>
          <a:lstStyle/>
          <a:p>
            <a:fld id="{001CFEA3-779D-47CB-AB44-7A4F8E1ECF5B}" type="datetime1">
              <a:rPr lang="en-US" smtClean="0"/>
              <a:t>9/4/2024</a:t>
            </a:fld>
            <a:endParaRPr lang="en-US" dirty="0"/>
          </a:p>
        </p:txBody>
      </p:sp>
      <p:sp>
        <p:nvSpPr>
          <p:cNvPr id="3" name="Footer Placeholder 2">
            <a:extLst>
              <a:ext uri="{FF2B5EF4-FFF2-40B4-BE49-F238E27FC236}">
                <a16:creationId xmlns:a16="http://schemas.microsoft.com/office/drawing/2014/main" id="{808A0EF7-F554-E68F-DA30-D5E4DB38B5E7}"/>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40AF57AC-95C4-88D5-7F32-70ECC0115C5D}"/>
              </a:ext>
            </a:extLst>
          </p:cNvPr>
          <p:cNvSpPr>
            <a:spLocks noGrp="1"/>
          </p:cNvSpPr>
          <p:nvPr>
            <p:ph type="sldNum" sz="quarter" idx="12"/>
          </p:nvPr>
        </p:nvSpPr>
        <p:spPr/>
        <p:txBody>
          <a:bodyPr/>
          <a:lstStyle/>
          <a:p>
            <a:fld id="{43CBEFDA-8207-6641-9689-3555584BAC48}" type="slidenum">
              <a:rPr lang="en-US" smtClean="0"/>
              <a:t>‹#›</a:t>
            </a:fld>
            <a:endParaRPr lang="en-US" dirty="0"/>
          </a:p>
        </p:txBody>
      </p:sp>
    </p:spTree>
    <p:extLst>
      <p:ext uri="{BB962C8B-B14F-4D97-AF65-F5344CB8AC3E}">
        <p14:creationId xmlns:p14="http://schemas.microsoft.com/office/powerpoint/2010/main" val="39449757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128A8-68CC-F4C3-87F8-6E9A88A1BD89}"/>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E8F93187-9C33-AC5D-8694-6A0CDBC7B861}"/>
              </a:ext>
            </a:extLst>
          </p:cNvPr>
          <p:cNvSpPr>
            <a:spLocks noGrp="1"/>
          </p:cNvSpPr>
          <p:nvPr>
            <p:ph idx="1"/>
          </p:nvPr>
        </p:nvSpPr>
        <p:spPr>
          <a:xfrm>
            <a:off x="5183188" y="457200"/>
            <a:ext cx="6172200" cy="5943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94FE25BB-918F-D2E6-3752-4F908D9E067B}"/>
              </a:ext>
            </a:extLst>
          </p:cNvPr>
          <p:cNvSpPr>
            <a:spLocks noGrp="1"/>
          </p:cNvSpPr>
          <p:nvPr>
            <p:ph type="body" sz="half" idx="2"/>
          </p:nvPr>
        </p:nvSpPr>
        <p:spPr>
          <a:xfrm>
            <a:off x="839788" y="2057400"/>
            <a:ext cx="3932237" cy="43434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EA2A184-92FE-120D-D37C-09FEC0130BBA}"/>
              </a:ext>
            </a:extLst>
          </p:cNvPr>
          <p:cNvSpPr>
            <a:spLocks noGrp="1"/>
          </p:cNvSpPr>
          <p:nvPr>
            <p:ph type="dt" sz="half" idx="10"/>
          </p:nvPr>
        </p:nvSpPr>
        <p:spPr>
          <a:xfrm>
            <a:off x="838200" y="6434157"/>
            <a:ext cx="2743200" cy="228600"/>
          </a:xfrm>
          <a:prstGeom prst="rect">
            <a:avLst/>
          </a:prstGeom>
        </p:spPr>
        <p:txBody>
          <a:bodyPr/>
          <a:lstStyle/>
          <a:p>
            <a:fld id="{F5E19CF1-2F51-47A0-B85D-E79F762426B4}" type="datetime1">
              <a:rPr lang="en-US" smtClean="0"/>
              <a:t>9/4/2024</a:t>
            </a:fld>
            <a:endParaRPr lang="en-US" dirty="0"/>
          </a:p>
        </p:txBody>
      </p:sp>
      <p:sp>
        <p:nvSpPr>
          <p:cNvPr id="6" name="Footer Placeholder 5">
            <a:extLst>
              <a:ext uri="{FF2B5EF4-FFF2-40B4-BE49-F238E27FC236}">
                <a16:creationId xmlns:a16="http://schemas.microsoft.com/office/drawing/2014/main" id="{A9B8B8BC-3B5E-7E19-1E00-7C351295FEB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8A24535-8669-9962-4F4C-6EC17D26A438}"/>
              </a:ext>
            </a:extLst>
          </p:cNvPr>
          <p:cNvSpPr>
            <a:spLocks noGrp="1"/>
          </p:cNvSpPr>
          <p:nvPr>
            <p:ph type="sldNum" sz="quarter" idx="12"/>
          </p:nvPr>
        </p:nvSpPr>
        <p:spPr/>
        <p:txBody>
          <a:bodyPr/>
          <a:lstStyle/>
          <a:p>
            <a:fld id="{43CBEFDA-8207-6641-9689-3555584BAC48}" type="slidenum">
              <a:rPr lang="en-US" smtClean="0"/>
              <a:t>‹#›</a:t>
            </a:fld>
            <a:endParaRPr lang="en-US" dirty="0"/>
          </a:p>
        </p:txBody>
      </p:sp>
    </p:spTree>
    <p:extLst>
      <p:ext uri="{BB962C8B-B14F-4D97-AF65-F5344CB8AC3E}">
        <p14:creationId xmlns:p14="http://schemas.microsoft.com/office/powerpoint/2010/main" val="20938069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584E1-ED1D-5DEB-D7ED-A3A4A96D7F4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9A8B4E7F-AFF9-DCB2-20BA-D6BA294855D5}"/>
              </a:ext>
            </a:extLst>
          </p:cNvPr>
          <p:cNvSpPr>
            <a:spLocks noGrp="1"/>
          </p:cNvSpPr>
          <p:nvPr>
            <p:ph type="pic" idx="1"/>
          </p:nvPr>
        </p:nvSpPr>
        <p:spPr>
          <a:xfrm>
            <a:off x="5183188" y="457201"/>
            <a:ext cx="6172200" cy="592233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4FEE2625-6683-AD19-D602-D963D8A3F4FB}"/>
              </a:ext>
            </a:extLst>
          </p:cNvPr>
          <p:cNvSpPr>
            <a:spLocks noGrp="1"/>
          </p:cNvSpPr>
          <p:nvPr>
            <p:ph type="body" sz="half" idx="2"/>
          </p:nvPr>
        </p:nvSpPr>
        <p:spPr>
          <a:xfrm>
            <a:off x="839788" y="2057399"/>
            <a:ext cx="3932237" cy="432213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75D9136-F06D-C6B3-3757-DCB0240051DC}"/>
              </a:ext>
            </a:extLst>
          </p:cNvPr>
          <p:cNvSpPr>
            <a:spLocks noGrp="1"/>
          </p:cNvSpPr>
          <p:nvPr>
            <p:ph type="dt" sz="half" idx="10"/>
          </p:nvPr>
        </p:nvSpPr>
        <p:spPr>
          <a:xfrm>
            <a:off x="838200" y="6434157"/>
            <a:ext cx="2743200" cy="228600"/>
          </a:xfrm>
          <a:prstGeom prst="rect">
            <a:avLst/>
          </a:prstGeom>
        </p:spPr>
        <p:txBody>
          <a:bodyPr/>
          <a:lstStyle/>
          <a:p>
            <a:fld id="{37A3E34E-6910-4142-BB05-C1D9315B5176}" type="datetime1">
              <a:rPr lang="en-US" smtClean="0"/>
              <a:t>9/4/2024</a:t>
            </a:fld>
            <a:endParaRPr lang="en-US" dirty="0"/>
          </a:p>
        </p:txBody>
      </p:sp>
      <p:sp>
        <p:nvSpPr>
          <p:cNvPr id="6" name="Footer Placeholder 5">
            <a:extLst>
              <a:ext uri="{FF2B5EF4-FFF2-40B4-BE49-F238E27FC236}">
                <a16:creationId xmlns:a16="http://schemas.microsoft.com/office/drawing/2014/main" id="{D226059A-A9D1-E507-CD9D-43714F131E9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7DD2B3A-BF23-3B36-D697-82AD7B6269F0}"/>
              </a:ext>
            </a:extLst>
          </p:cNvPr>
          <p:cNvSpPr>
            <a:spLocks noGrp="1"/>
          </p:cNvSpPr>
          <p:nvPr>
            <p:ph type="sldNum" sz="quarter" idx="12"/>
          </p:nvPr>
        </p:nvSpPr>
        <p:spPr/>
        <p:txBody>
          <a:bodyPr/>
          <a:lstStyle/>
          <a:p>
            <a:fld id="{43CBEFDA-8207-6641-9689-3555584BAC48}" type="slidenum">
              <a:rPr lang="en-US" smtClean="0"/>
              <a:t>‹#›</a:t>
            </a:fld>
            <a:endParaRPr lang="en-US" dirty="0"/>
          </a:p>
        </p:txBody>
      </p:sp>
    </p:spTree>
    <p:extLst>
      <p:ext uri="{BB962C8B-B14F-4D97-AF65-F5344CB8AC3E}">
        <p14:creationId xmlns:p14="http://schemas.microsoft.com/office/powerpoint/2010/main" val="41945617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D88B8-4BB3-D482-AC49-312DBFE15E0E}"/>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BA5BA5D8-522F-1EAA-7FDC-D3AB98A38404}"/>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9F9CA5B-59F0-E38E-3A5E-D9E9033F9B63}"/>
              </a:ext>
            </a:extLst>
          </p:cNvPr>
          <p:cNvSpPr>
            <a:spLocks noGrp="1"/>
          </p:cNvSpPr>
          <p:nvPr>
            <p:ph type="dt" sz="half" idx="10"/>
          </p:nvPr>
        </p:nvSpPr>
        <p:spPr>
          <a:xfrm>
            <a:off x="838200" y="6434157"/>
            <a:ext cx="2743200" cy="228600"/>
          </a:xfrm>
          <a:prstGeom prst="rect">
            <a:avLst/>
          </a:prstGeom>
        </p:spPr>
        <p:txBody>
          <a:bodyPr/>
          <a:lstStyle/>
          <a:p>
            <a:fld id="{1AFD077E-DB3D-40B6-A425-86F3BA1A68B6}" type="datetime1">
              <a:rPr lang="en-US" smtClean="0"/>
              <a:t>9/4/2024</a:t>
            </a:fld>
            <a:endParaRPr lang="en-US" dirty="0"/>
          </a:p>
        </p:txBody>
      </p:sp>
      <p:sp>
        <p:nvSpPr>
          <p:cNvPr id="5" name="Footer Placeholder 4">
            <a:extLst>
              <a:ext uri="{FF2B5EF4-FFF2-40B4-BE49-F238E27FC236}">
                <a16:creationId xmlns:a16="http://schemas.microsoft.com/office/drawing/2014/main" id="{26BDB67D-75C2-6E6F-260F-4E214F90415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F8294F6-C841-DD17-303D-238355BBDD14}"/>
              </a:ext>
            </a:extLst>
          </p:cNvPr>
          <p:cNvSpPr>
            <a:spLocks noGrp="1"/>
          </p:cNvSpPr>
          <p:nvPr>
            <p:ph type="sldNum" sz="quarter" idx="12"/>
          </p:nvPr>
        </p:nvSpPr>
        <p:spPr/>
        <p:txBody>
          <a:bodyPr/>
          <a:lstStyle/>
          <a:p>
            <a:fld id="{43CBEFDA-8207-6641-9689-3555584BAC48}" type="slidenum">
              <a:rPr lang="en-US" smtClean="0"/>
              <a:t>‹#›</a:t>
            </a:fld>
            <a:endParaRPr lang="en-US" dirty="0"/>
          </a:p>
        </p:txBody>
      </p:sp>
    </p:spTree>
    <p:extLst>
      <p:ext uri="{BB962C8B-B14F-4D97-AF65-F5344CB8AC3E}">
        <p14:creationId xmlns:p14="http://schemas.microsoft.com/office/powerpoint/2010/main" val="10753820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EBDF4-6149-2431-CD25-C38AD7CA91D9}"/>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1008256B-8724-00FE-3CFB-05CC826108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6F69E2A9-9158-A940-A185-15A5CEEA8CC6}"/>
              </a:ext>
            </a:extLst>
          </p:cNvPr>
          <p:cNvSpPr>
            <a:spLocks noGrp="1"/>
          </p:cNvSpPr>
          <p:nvPr>
            <p:ph type="dt" sz="half" idx="10"/>
          </p:nvPr>
        </p:nvSpPr>
        <p:spPr/>
        <p:txBody>
          <a:bodyPr/>
          <a:lstStyle/>
          <a:p>
            <a:fld id="{ED5BF407-1D69-DA4F-A66C-44C142A1EA36}" type="datetimeFigureOut">
              <a:rPr lang="en-US" smtClean="0"/>
              <a:t>9/4/2024</a:t>
            </a:fld>
            <a:endParaRPr lang="en-US"/>
          </a:p>
        </p:txBody>
      </p:sp>
      <p:sp>
        <p:nvSpPr>
          <p:cNvPr id="5" name="Footer Placeholder 4">
            <a:extLst>
              <a:ext uri="{FF2B5EF4-FFF2-40B4-BE49-F238E27FC236}">
                <a16:creationId xmlns:a16="http://schemas.microsoft.com/office/drawing/2014/main" id="{BEF230C0-12CB-5678-2295-350D08F368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6FD469-3498-A196-1CFA-CB37716D85EF}"/>
              </a:ext>
            </a:extLst>
          </p:cNvPr>
          <p:cNvSpPr>
            <a:spLocks noGrp="1"/>
          </p:cNvSpPr>
          <p:nvPr>
            <p:ph type="sldNum" sz="quarter" idx="12"/>
          </p:nvPr>
        </p:nvSpPr>
        <p:spPr/>
        <p:txBody>
          <a:bodyPr/>
          <a:lstStyle/>
          <a:p>
            <a:fld id="{43CBEFDA-8207-6641-9689-3555584BAC48}" type="slidenum">
              <a:rPr lang="en-US" smtClean="0"/>
              <a:t>‹#›</a:t>
            </a:fld>
            <a:endParaRPr lang="en-US"/>
          </a:p>
        </p:txBody>
      </p:sp>
    </p:spTree>
    <p:extLst>
      <p:ext uri="{BB962C8B-B14F-4D97-AF65-F5344CB8AC3E}">
        <p14:creationId xmlns:p14="http://schemas.microsoft.com/office/powerpoint/2010/main" val="32139929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1FD9652-3623-C1A2-A5FE-49FEF025FE0A}"/>
              </a:ext>
            </a:extLst>
          </p:cNvPr>
          <p:cNvSpPr>
            <a:spLocks noGrp="1"/>
          </p:cNvSpPr>
          <p:nvPr>
            <p:ph type="title" orient="vert"/>
          </p:nvPr>
        </p:nvSpPr>
        <p:spPr>
          <a:xfrm>
            <a:off x="8724900" y="365124"/>
            <a:ext cx="2628900" cy="6035675"/>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EB153DB-F5A0-4DC8-9880-A20E65EDE3CC}"/>
              </a:ext>
            </a:extLst>
          </p:cNvPr>
          <p:cNvSpPr>
            <a:spLocks noGrp="1"/>
          </p:cNvSpPr>
          <p:nvPr>
            <p:ph type="body" orient="vert" idx="1"/>
          </p:nvPr>
        </p:nvSpPr>
        <p:spPr>
          <a:xfrm>
            <a:off x="838200" y="365124"/>
            <a:ext cx="7734300" cy="6035675"/>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A9A7FA6-04B6-993D-8F54-37FAE594B0B4}"/>
              </a:ext>
            </a:extLst>
          </p:cNvPr>
          <p:cNvSpPr>
            <a:spLocks noGrp="1"/>
          </p:cNvSpPr>
          <p:nvPr>
            <p:ph type="dt" sz="half" idx="10"/>
          </p:nvPr>
        </p:nvSpPr>
        <p:spPr>
          <a:xfrm>
            <a:off x="838200" y="6434157"/>
            <a:ext cx="2743200" cy="228600"/>
          </a:xfrm>
          <a:prstGeom prst="rect">
            <a:avLst/>
          </a:prstGeom>
        </p:spPr>
        <p:txBody>
          <a:bodyPr/>
          <a:lstStyle/>
          <a:p>
            <a:fld id="{644CD1B4-1FA9-4CED-AE4E-66F460FACF4B}" type="datetime1">
              <a:rPr lang="en-US" smtClean="0"/>
              <a:t>9/4/2024</a:t>
            </a:fld>
            <a:endParaRPr lang="en-US" dirty="0"/>
          </a:p>
        </p:txBody>
      </p:sp>
      <p:sp>
        <p:nvSpPr>
          <p:cNvPr id="5" name="Footer Placeholder 4">
            <a:extLst>
              <a:ext uri="{FF2B5EF4-FFF2-40B4-BE49-F238E27FC236}">
                <a16:creationId xmlns:a16="http://schemas.microsoft.com/office/drawing/2014/main" id="{86088B88-F347-1EA9-5B76-071263BDDC3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F70A756-C6F6-C28B-B4CB-C628C37110EA}"/>
              </a:ext>
            </a:extLst>
          </p:cNvPr>
          <p:cNvSpPr>
            <a:spLocks noGrp="1"/>
          </p:cNvSpPr>
          <p:nvPr>
            <p:ph type="sldNum" sz="quarter" idx="12"/>
          </p:nvPr>
        </p:nvSpPr>
        <p:spPr/>
        <p:txBody>
          <a:bodyPr/>
          <a:lstStyle/>
          <a:p>
            <a:fld id="{43CBEFDA-8207-6641-9689-3555584BAC48}" type="slidenum">
              <a:rPr lang="en-US" smtClean="0"/>
              <a:t>‹#›</a:t>
            </a:fld>
            <a:endParaRPr lang="en-US" dirty="0"/>
          </a:p>
        </p:txBody>
      </p:sp>
    </p:spTree>
    <p:extLst>
      <p:ext uri="{BB962C8B-B14F-4D97-AF65-F5344CB8AC3E}">
        <p14:creationId xmlns:p14="http://schemas.microsoft.com/office/powerpoint/2010/main" val="18698602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defPPr/>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defPPr/>
            <a:lvl1pPr algn="l">
              <a:defRPr>
                <a:solidFill>
                  <a:schemeClr val="tx1">
                    <a:tint val="75000"/>
                  </a:schemeClr>
                </a:solidFill>
              </a:defRPr>
            </a:lvl1pPr>
          </a:lstStyle>
          <a:p>
            <a:fld id="{1D8BD707-D9CF-40AE-B4C6-C98DA3205C09}" type="datetimeFigureOut">
              <a:rPr lang="en-US"/>
              <a:pPr/>
              <a:t>9/4/2024</a:t>
            </a:fld>
            <a:endParaRPr lang="en-US"/>
          </a:p>
        </p:txBody>
      </p:sp>
      <p:sp>
        <p:nvSpPr>
          <p:cNvPr id="4" name="Holder 4"/>
          <p:cNvSpPr>
            <a:spLocks noGrp="1"/>
          </p:cNvSpPr>
          <p:nvPr>
            <p:ph type="sldNum" sz="quarter" idx="7"/>
          </p:nvPr>
        </p:nvSpPr>
        <p:spPr/>
        <p:txBody>
          <a:bodyPr lIns="0" tIns="0" rIns="0" bIns="0"/>
          <a:lstStyle>
            <a:defPPr/>
            <a:lvl1pPr algn="r">
              <a:defRPr>
                <a:solidFill>
                  <a:schemeClr val="tx1">
                    <a:tint val="75000"/>
                  </a:schemeClr>
                </a:solidFill>
              </a:defRPr>
            </a:lvl1pPr>
          </a:lstStyle>
          <a:p>
            <a:fld id="{B6F15528-21DE-4FAA-801E-634DDDAF4B2B}" type="slidenum">
              <a:pPr/>
              <a:t>‹#›</a:t>
            </a:fld>
            <a:endParaRPr/>
          </a:p>
        </p:txBody>
      </p:sp>
    </p:spTree>
    <p:extLst>
      <p:ext uri="{BB962C8B-B14F-4D97-AF65-F5344CB8AC3E}">
        <p14:creationId xmlns:p14="http://schemas.microsoft.com/office/powerpoint/2010/main" val="3857383454"/>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A34B4-610E-ED14-B771-3523DA3A9A7E}"/>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998D22F-B984-A7F3-75E7-D161E30A5A05}"/>
              </a:ext>
            </a:extLst>
          </p:cNvPr>
          <p:cNvSpPr>
            <a:spLocks noGrp="1"/>
          </p:cNvSpPr>
          <p:nvPr>
            <p:ph sz="half" idx="1"/>
          </p:nvPr>
        </p:nvSpPr>
        <p:spPr>
          <a:xfrm>
            <a:off x="838200" y="1254642"/>
            <a:ext cx="5181600" cy="511426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CD390CFE-BDF3-3758-1D90-DA9C32A7D19A}"/>
              </a:ext>
            </a:extLst>
          </p:cNvPr>
          <p:cNvSpPr>
            <a:spLocks noGrp="1"/>
          </p:cNvSpPr>
          <p:nvPr>
            <p:ph sz="half" idx="2"/>
          </p:nvPr>
        </p:nvSpPr>
        <p:spPr>
          <a:xfrm>
            <a:off x="6172200" y="1254642"/>
            <a:ext cx="5181600" cy="511426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CEDED7DE-4808-B7C8-2147-4A3EFD6CD3F4}"/>
              </a:ext>
            </a:extLst>
          </p:cNvPr>
          <p:cNvSpPr>
            <a:spLocks noGrp="1"/>
          </p:cNvSpPr>
          <p:nvPr>
            <p:ph type="dt" sz="half" idx="10"/>
          </p:nvPr>
        </p:nvSpPr>
        <p:spPr/>
        <p:txBody>
          <a:bodyPr/>
          <a:lstStyle/>
          <a:p>
            <a:fld id="{ED5BF407-1D69-DA4F-A66C-44C142A1EA36}" type="datetimeFigureOut">
              <a:rPr lang="en-US" smtClean="0"/>
              <a:t>9/4/2024</a:t>
            </a:fld>
            <a:endParaRPr lang="en-US"/>
          </a:p>
        </p:txBody>
      </p:sp>
      <p:sp>
        <p:nvSpPr>
          <p:cNvPr id="6" name="Footer Placeholder 5">
            <a:extLst>
              <a:ext uri="{FF2B5EF4-FFF2-40B4-BE49-F238E27FC236}">
                <a16:creationId xmlns:a16="http://schemas.microsoft.com/office/drawing/2014/main" id="{AB968316-027E-BCE0-6D3C-50671460E11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11C019-27EB-86AF-245E-316AA594FBAF}"/>
              </a:ext>
            </a:extLst>
          </p:cNvPr>
          <p:cNvSpPr>
            <a:spLocks noGrp="1"/>
          </p:cNvSpPr>
          <p:nvPr>
            <p:ph type="sldNum" sz="quarter" idx="12"/>
          </p:nvPr>
        </p:nvSpPr>
        <p:spPr/>
        <p:txBody>
          <a:bodyPr/>
          <a:lstStyle/>
          <a:p>
            <a:fld id="{43CBEFDA-8207-6641-9689-3555584BAC48}" type="slidenum">
              <a:rPr lang="en-US" smtClean="0"/>
              <a:t>‹#›</a:t>
            </a:fld>
            <a:endParaRPr lang="en-US"/>
          </a:p>
        </p:txBody>
      </p:sp>
    </p:spTree>
    <p:extLst>
      <p:ext uri="{BB962C8B-B14F-4D97-AF65-F5344CB8AC3E}">
        <p14:creationId xmlns:p14="http://schemas.microsoft.com/office/powerpoint/2010/main" val="3408243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A9FC4-FF59-53E4-D4C7-5AF81CE2C271}"/>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83EC955-786B-7A7B-49AE-9CAC26D334A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C31B7C7-82A0-EC24-A4C6-7BB9FA84196A}"/>
              </a:ext>
            </a:extLst>
          </p:cNvPr>
          <p:cNvSpPr>
            <a:spLocks noGrp="1"/>
          </p:cNvSpPr>
          <p:nvPr>
            <p:ph sz="half" idx="2"/>
          </p:nvPr>
        </p:nvSpPr>
        <p:spPr>
          <a:xfrm>
            <a:off x="839788" y="2505074"/>
            <a:ext cx="5157787" cy="386382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B914CFE2-2E04-9EC7-075E-1DF4B826E8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31F27667-1D9F-A35D-B6AC-C29666D0E126}"/>
              </a:ext>
            </a:extLst>
          </p:cNvPr>
          <p:cNvSpPr>
            <a:spLocks noGrp="1"/>
          </p:cNvSpPr>
          <p:nvPr>
            <p:ph sz="quarter" idx="4"/>
          </p:nvPr>
        </p:nvSpPr>
        <p:spPr>
          <a:xfrm>
            <a:off x="6172200" y="2505074"/>
            <a:ext cx="5183188" cy="386382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068F4B25-D589-B759-E164-4E725473F9F2}"/>
              </a:ext>
            </a:extLst>
          </p:cNvPr>
          <p:cNvSpPr>
            <a:spLocks noGrp="1"/>
          </p:cNvSpPr>
          <p:nvPr>
            <p:ph type="dt" sz="half" idx="10"/>
          </p:nvPr>
        </p:nvSpPr>
        <p:spPr/>
        <p:txBody>
          <a:bodyPr/>
          <a:lstStyle/>
          <a:p>
            <a:fld id="{ED5BF407-1D69-DA4F-A66C-44C142A1EA36}" type="datetimeFigureOut">
              <a:rPr lang="en-US" smtClean="0"/>
              <a:t>9/4/2024</a:t>
            </a:fld>
            <a:endParaRPr lang="en-US"/>
          </a:p>
        </p:txBody>
      </p:sp>
      <p:sp>
        <p:nvSpPr>
          <p:cNvPr id="8" name="Footer Placeholder 7">
            <a:extLst>
              <a:ext uri="{FF2B5EF4-FFF2-40B4-BE49-F238E27FC236}">
                <a16:creationId xmlns:a16="http://schemas.microsoft.com/office/drawing/2014/main" id="{05AA193F-9C5E-2BB9-1420-9CD6B1B7015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44ED62C-6F08-4589-56EB-E24E517F4A20}"/>
              </a:ext>
            </a:extLst>
          </p:cNvPr>
          <p:cNvSpPr>
            <a:spLocks noGrp="1"/>
          </p:cNvSpPr>
          <p:nvPr>
            <p:ph type="sldNum" sz="quarter" idx="12"/>
          </p:nvPr>
        </p:nvSpPr>
        <p:spPr/>
        <p:txBody>
          <a:bodyPr/>
          <a:lstStyle/>
          <a:p>
            <a:fld id="{43CBEFDA-8207-6641-9689-3555584BAC48}" type="slidenum">
              <a:rPr lang="en-US" smtClean="0"/>
              <a:t>‹#›</a:t>
            </a:fld>
            <a:endParaRPr lang="en-US"/>
          </a:p>
        </p:txBody>
      </p:sp>
    </p:spTree>
    <p:extLst>
      <p:ext uri="{BB962C8B-B14F-4D97-AF65-F5344CB8AC3E}">
        <p14:creationId xmlns:p14="http://schemas.microsoft.com/office/powerpoint/2010/main" val="3322716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EB4AF-0663-7788-9E3B-3E9A3EFEFA42}"/>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B25FDE31-60C5-DD15-5610-D083535E333D}"/>
              </a:ext>
            </a:extLst>
          </p:cNvPr>
          <p:cNvSpPr>
            <a:spLocks noGrp="1"/>
          </p:cNvSpPr>
          <p:nvPr>
            <p:ph type="dt" sz="half" idx="10"/>
          </p:nvPr>
        </p:nvSpPr>
        <p:spPr/>
        <p:txBody>
          <a:bodyPr/>
          <a:lstStyle/>
          <a:p>
            <a:fld id="{ED5BF407-1D69-DA4F-A66C-44C142A1EA36}" type="datetimeFigureOut">
              <a:rPr lang="en-US" smtClean="0"/>
              <a:t>9/4/2024</a:t>
            </a:fld>
            <a:endParaRPr lang="en-US"/>
          </a:p>
        </p:txBody>
      </p:sp>
      <p:sp>
        <p:nvSpPr>
          <p:cNvPr id="4" name="Footer Placeholder 3">
            <a:extLst>
              <a:ext uri="{FF2B5EF4-FFF2-40B4-BE49-F238E27FC236}">
                <a16:creationId xmlns:a16="http://schemas.microsoft.com/office/drawing/2014/main" id="{48359F2C-17AF-0B06-1D11-854F2E3FEC8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BCC6173-1B71-DBBE-981A-DEC46C1AB343}"/>
              </a:ext>
            </a:extLst>
          </p:cNvPr>
          <p:cNvSpPr>
            <a:spLocks noGrp="1"/>
          </p:cNvSpPr>
          <p:nvPr>
            <p:ph type="sldNum" sz="quarter" idx="12"/>
          </p:nvPr>
        </p:nvSpPr>
        <p:spPr/>
        <p:txBody>
          <a:bodyPr/>
          <a:lstStyle/>
          <a:p>
            <a:fld id="{43CBEFDA-8207-6641-9689-3555584BAC48}" type="slidenum">
              <a:rPr lang="en-US" smtClean="0"/>
              <a:t>‹#›</a:t>
            </a:fld>
            <a:endParaRPr lang="en-US"/>
          </a:p>
        </p:txBody>
      </p:sp>
    </p:spTree>
    <p:extLst>
      <p:ext uri="{BB962C8B-B14F-4D97-AF65-F5344CB8AC3E}">
        <p14:creationId xmlns:p14="http://schemas.microsoft.com/office/powerpoint/2010/main" val="7777545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3692D5-D799-60B1-5E86-451CE933376E}"/>
              </a:ext>
            </a:extLst>
          </p:cNvPr>
          <p:cNvSpPr>
            <a:spLocks noGrp="1"/>
          </p:cNvSpPr>
          <p:nvPr>
            <p:ph type="dt" sz="half" idx="10"/>
          </p:nvPr>
        </p:nvSpPr>
        <p:spPr/>
        <p:txBody>
          <a:bodyPr/>
          <a:lstStyle/>
          <a:p>
            <a:fld id="{ED5BF407-1D69-DA4F-A66C-44C142A1EA36}" type="datetimeFigureOut">
              <a:rPr lang="en-US" smtClean="0"/>
              <a:t>9/4/2024</a:t>
            </a:fld>
            <a:endParaRPr lang="en-US"/>
          </a:p>
        </p:txBody>
      </p:sp>
      <p:sp>
        <p:nvSpPr>
          <p:cNvPr id="3" name="Footer Placeholder 2">
            <a:extLst>
              <a:ext uri="{FF2B5EF4-FFF2-40B4-BE49-F238E27FC236}">
                <a16:creationId xmlns:a16="http://schemas.microsoft.com/office/drawing/2014/main" id="{808A0EF7-F554-E68F-DA30-D5E4DB38B5E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0AF57AC-95C4-88D5-7F32-70ECC0115C5D}"/>
              </a:ext>
            </a:extLst>
          </p:cNvPr>
          <p:cNvSpPr>
            <a:spLocks noGrp="1"/>
          </p:cNvSpPr>
          <p:nvPr>
            <p:ph type="sldNum" sz="quarter" idx="12"/>
          </p:nvPr>
        </p:nvSpPr>
        <p:spPr/>
        <p:txBody>
          <a:bodyPr/>
          <a:lstStyle/>
          <a:p>
            <a:fld id="{43CBEFDA-8207-6641-9689-3555584BAC48}" type="slidenum">
              <a:rPr lang="en-US" smtClean="0"/>
              <a:t>‹#›</a:t>
            </a:fld>
            <a:endParaRPr lang="en-US"/>
          </a:p>
        </p:txBody>
      </p:sp>
    </p:spTree>
    <p:extLst>
      <p:ext uri="{BB962C8B-B14F-4D97-AF65-F5344CB8AC3E}">
        <p14:creationId xmlns:p14="http://schemas.microsoft.com/office/powerpoint/2010/main" val="3679794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128A8-68CC-F4C3-87F8-6E9A88A1BD89}"/>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E8F93187-9C33-AC5D-8694-6A0CDBC7B861}"/>
              </a:ext>
            </a:extLst>
          </p:cNvPr>
          <p:cNvSpPr>
            <a:spLocks noGrp="1"/>
          </p:cNvSpPr>
          <p:nvPr>
            <p:ph idx="1"/>
          </p:nvPr>
        </p:nvSpPr>
        <p:spPr>
          <a:xfrm>
            <a:off x="5183188" y="457200"/>
            <a:ext cx="6172200" cy="5943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94FE25BB-918F-D2E6-3752-4F908D9E067B}"/>
              </a:ext>
            </a:extLst>
          </p:cNvPr>
          <p:cNvSpPr>
            <a:spLocks noGrp="1"/>
          </p:cNvSpPr>
          <p:nvPr>
            <p:ph type="body" sz="half" idx="2"/>
          </p:nvPr>
        </p:nvSpPr>
        <p:spPr>
          <a:xfrm>
            <a:off x="839788" y="2057400"/>
            <a:ext cx="3932237" cy="43434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EA2A184-92FE-120D-D37C-09FEC0130BBA}"/>
              </a:ext>
            </a:extLst>
          </p:cNvPr>
          <p:cNvSpPr>
            <a:spLocks noGrp="1"/>
          </p:cNvSpPr>
          <p:nvPr>
            <p:ph type="dt" sz="half" idx="10"/>
          </p:nvPr>
        </p:nvSpPr>
        <p:spPr/>
        <p:txBody>
          <a:bodyPr/>
          <a:lstStyle/>
          <a:p>
            <a:fld id="{ED5BF407-1D69-DA4F-A66C-44C142A1EA36}" type="datetimeFigureOut">
              <a:rPr lang="en-US" smtClean="0"/>
              <a:t>9/4/2024</a:t>
            </a:fld>
            <a:endParaRPr lang="en-US"/>
          </a:p>
        </p:txBody>
      </p:sp>
      <p:sp>
        <p:nvSpPr>
          <p:cNvPr id="6" name="Footer Placeholder 5">
            <a:extLst>
              <a:ext uri="{FF2B5EF4-FFF2-40B4-BE49-F238E27FC236}">
                <a16:creationId xmlns:a16="http://schemas.microsoft.com/office/drawing/2014/main" id="{A9B8B8BC-3B5E-7E19-1E00-7C351295FEB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A24535-8669-9962-4F4C-6EC17D26A438}"/>
              </a:ext>
            </a:extLst>
          </p:cNvPr>
          <p:cNvSpPr>
            <a:spLocks noGrp="1"/>
          </p:cNvSpPr>
          <p:nvPr>
            <p:ph type="sldNum" sz="quarter" idx="12"/>
          </p:nvPr>
        </p:nvSpPr>
        <p:spPr/>
        <p:txBody>
          <a:bodyPr/>
          <a:lstStyle/>
          <a:p>
            <a:fld id="{43CBEFDA-8207-6641-9689-3555584BAC48}" type="slidenum">
              <a:rPr lang="en-US" smtClean="0"/>
              <a:t>‹#›</a:t>
            </a:fld>
            <a:endParaRPr lang="en-US"/>
          </a:p>
        </p:txBody>
      </p:sp>
    </p:spTree>
    <p:extLst>
      <p:ext uri="{BB962C8B-B14F-4D97-AF65-F5344CB8AC3E}">
        <p14:creationId xmlns:p14="http://schemas.microsoft.com/office/powerpoint/2010/main" val="42514380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F584E1-ED1D-5DEB-D7ED-A3A4A96D7F4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9A8B4E7F-AFF9-DCB2-20BA-D6BA294855D5}"/>
              </a:ext>
            </a:extLst>
          </p:cNvPr>
          <p:cNvSpPr>
            <a:spLocks noGrp="1"/>
          </p:cNvSpPr>
          <p:nvPr>
            <p:ph type="pic" idx="1"/>
          </p:nvPr>
        </p:nvSpPr>
        <p:spPr>
          <a:xfrm>
            <a:off x="5183188" y="457201"/>
            <a:ext cx="6172200" cy="592233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FEE2625-6683-AD19-D602-D963D8A3F4FB}"/>
              </a:ext>
            </a:extLst>
          </p:cNvPr>
          <p:cNvSpPr>
            <a:spLocks noGrp="1"/>
          </p:cNvSpPr>
          <p:nvPr>
            <p:ph type="body" sz="half" idx="2"/>
          </p:nvPr>
        </p:nvSpPr>
        <p:spPr>
          <a:xfrm>
            <a:off x="839788" y="2057399"/>
            <a:ext cx="3932237" cy="432213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375D9136-F06D-C6B3-3757-DCB0240051DC}"/>
              </a:ext>
            </a:extLst>
          </p:cNvPr>
          <p:cNvSpPr>
            <a:spLocks noGrp="1"/>
          </p:cNvSpPr>
          <p:nvPr>
            <p:ph type="dt" sz="half" idx="10"/>
          </p:nvPr>
        </p:nvSpPr>
        <p:spPr/>
        <p:txBody>
          <a:bodyPr/>
          <a:lstStyle/>
          <a:p>
            <a:fld id="{ED5BF407-1D69-DA4F-A66C-44C142A1EA36}" type="datetimeFigureOut">
              <a:rPr lang="en-US" smtClean="0"/>
              <a:t>9/4/2024</a:t>
            </a:fld>
            <a:endParaRPr lang="en-US"/>
          </a:p>
        </p:txBody>
      </p:sp>
      <p:sp>
        <p:nvSpPr>
          <p:cNvPr id="6" name="Footer Placeholder 5">
            <a:extLst>
              <a:ext uri="{FF2B5EF4-FFF2-40B4-BE49-F238E27FC236}">
                <a16:creationId xmlns:a16="http://schemas.microsoft.com/office/drawing/2014/main" id="{D226059A-A9D1-E507-CD9D-43714F131E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DD2B3A-BF23-3B36-D697-82AD7B6269F0}"/>
              </a:ext>
            </a:extLst>
          </p:cNvPr>
          <p:cNvSpPr>
            <a:spLocks noGrp="1"/>
          </p:cNvSpPr>
          <p:nvPr>
            <p:ph type="sldNum" sz="quarter" idx="12"/>
          </p:nvPr>
        </p:nvSpPr>
        <p:spPr/>
        <p:txBody>
          <a:bodyPr/>
          <a:lstStyle/>
          <a:p>
            <a:fld id="{43CBEFDA-8207-6641-9689-3555584BAC48}" type="slidenum">
              <a:rPr lang="en-US" smtClean="0"/>
              <a:t>‹#›</a:t>
            </a:fld>
            <a:endParaRPr lang="en-US"/>
          </a:p>
        </p:txBody>
      </p:sp>
    </p:spTree>
    <p:extLst>
      <p:ext uri="{BB962C8B-B14F-4D97-AF65-F5344CB8AC3E}">
        <p14:creationId xmlns:p14="http://schemas.microsoft.com/office/powerpoint/2010/main" val="36694600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vmlDrawing" Target="../drawings/vmlDrawing1.v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17" Type="http://schemas.openxmlformats.org/officeDocument/2006/relationships/image" Target="../media/image3.png"/><Relationship Id="rId2" Type="http://schemas.openxmlformats.org/officeDocument/2006/relationships/slideLayout" Target="../slideLayouts/slideLayout21.xml"/><Relationship Id="rId16" Type="http://schemas.openxmlformats.org/officeDocument/2006/relationships/image" Target="../media/image2.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oleObject" Target="../embeddings/oleObject1.bin"/><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BDFEBC8-287F-F299-9CF7-871040F21A6B}"/>
              </a:ext>
            </a:extLst>
          </p:cNvPr>
          <p:cNvSpPr>
            <a:spLocks noGrp="1"/>
          </p:cNvSpPr>
          <p:nvPr>
            <p:ph type="title"/>
          </p:nvPr>
        </p:nvSpPr>
        <p:spPr>
          <a:xfrm>
            <a:off x="838200" y="365125"/>
            <a:ext cx="10515600" cy="772559"/>
          </a:xfrm>
          <a:prstGeom prst="rect">
            <a:avLst/>
          </a:prstGeom>
        </p:spPr>
        <p:txBody>
          <a:bodyPr vert="horz" lIns="91440" tIns="45720" rIns="91440" bIns="45720" rtlCol="0" anchor="ctr">
            <a:norm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A8F25417-8A1C-7C95-D412-36EF01FE1CB9}"/>
              </a:ext>
            </a:extLst>
          </p:cNvPr>
          <p:cNvSpPr>
            <a:spLocks noGrp="1"/>
          </p:cNvSpPr>
          <p:nvPr>
            <p:ph type="body" idx="1"/>
          </p:nvPr>
        </p:nvSpPr>
        <p:spPr>
          <a:xfrm>
            <a:off x="838200" y="1244009"/>
            <a:ext cx="10515600" cy="514615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541AD8A-BDF4-0C5E-0CAA-8A7C2B3C2118}"/>
              </a:ext>
            </a:extLst>
          </p:cNvPr>
          <p:cNvSpPr>
            <a:spLocks noGrp="1"/>
          </p:cNvSpPr>
          <p:nvPr>
            <p:ph type="dt" sz="half" idx="2"/>
          </p:nvPr>
        </p:nvSpPr>
        <p:spPr>
          <a:xfrm>
            <a:off x="838200" y="6492875"/>
            <a:ext cx="2743200" cy="228600"/>
          </a:xfrm>
          <a:prstGeom prst="rect">
            <a:avLst/>
          </a:prstGeom>
        </p:spPr>
        <p:txBody>
          <a:bodyPr vert="horz" lIns="91440" tIns="45720" rIns="91440" bIns="45720" rtlCol="0" anchor="ctr"/>
          <a:lstStyle>
            <a:lvl1pPr algn="l">
              <a:defRPr sz="1200">
                <a:solidFill>
                  <a:schemeClr val="tx1">
                    <a:tint val="75000"/>
                  </a:schemeClr>
                </a:solidFill>
              </a:defRPr>
            </a:lvl1pPr>
          </a:lstStyle>
          <a:p>
            <a:fld id="{ED5BF407-1D69-DA4F-A66C-44C142A1EA36}" type="datetimeFigureOut">
              <a:rPr lang="en-US" smtClean="0"/>
              <a:t>9/4/2024</a:t>
            </a:fld>
            <a:endParaRPr lang="en-US"/>
          </a:p>
        </p:txBody>
      </p:sp>
      <p:sp>
        <p:nvSpPr>
          <p:cNvPr id="5" name="Footer Placeholder 4">
            <a:extLst>
              <a:ext uri="{FF2B5EF4-FFF2-40B4-BE49-F238E27FC236}">
                <a16:creationId xmlns:a16="http://schemas.microsoft.com/office/drawing/2014/main" id="{EE823703-B349-8EEF-8CA5-7FB937A71C15}"/>
              </a:ext>
            </a:extLst>
          </p:cNvPr>
          <p:cNvSpPr>
            <a:spLocks noGrp="1"/>
          </p:cNvSpPr>
          <p:nvPr>
            <p:ph type="ftr" sz="quarter" idx="3"/>
          </p:nvPr>
        </p:nvSpPr>
        <p:spPr>
          <a:xfrm>
            <a:off x="4038600" y="6492875"/>
            <a:ext cx="41148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726FE63-ABFE-877A-3828-A19370F49B12}"/>
              </a:ext>
            </a:extLst>
          </p:cNvPr>
          <p:cNvSpPr>
            <a:spLocks noGrp="1"/>
          </p:cNvSpPr>
          <p:nvPr>
            <p:ph type="sldNum" sz="quarter" idx="4"/>
          </p:nvPr>
        </p:nvSpPr>
        <p:spPr>
          <a:xfrm>
            <a:off x="8610600" y="6492875"/>
            <a:ext cx="2743200" cy="228600"/>
          </a:xfrm>
          <a:prstGeom prst="rect">
            <a:avLst/>
          </a:prstGeom>
        </p:spPr>
        <p:txBody>
          <a:bodyPr vert="horz" lIns="91440" tIns="45720" rIns="91440" bIns="45720" rtlCol="0" anchor="ctr"/>
          <a:lstStyle>
            <a:lvl1pPr algn="r">
              <a:defRPr sz="1200">
                <a:solidFill>
                  <a:schemeClr val="tx1">
                    <a:tint val="75000"/>
                  </a:schemeClr>
                </a:solidFill>
              </a:defRPr>
            </a:lvl1pPr>
          </a:lstStyle>
          <a:p>
            <a:fld id="{43CBEFDA-8207-6641-9689-3555584BAC48}" type="slidenum">
              <a:rPr lang="en-US" smtClean="0"/>
              <a:t>‹#›</a:t>
            </a:fld>
            <a:endParaRPr lang="en-US"/>
          </a:p>
        </p:txBody>
      </p:sp>
    </p:spTree>
    <p:extLst>
      <p:ext uri="{BB962C8B-B14F-4D97-AF65-F5344CB8AC3E}">
        <p14:creationId xmlns:p14="http://schemas.microsoft.com/office/powerpoint/2010/main" val="394487920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E988025-6064-411B-8F0B-CFEDABB59280}"/>
              </a:ext>
            </a:extLst>
          </p:cNvPr>
          <p:cNvSpPr>
            <a:spLocks noGrp="1"/>
          </p:cNvSpPr>
          <p:nvPr>
            <p:ph type="title"/>
          </p:nvPr>
        </p:nvSpPr>
        <p:spPr>
          <a:xfrm>
            <a:off x="838200" y="540646"/>
            <a:ext cx="10515600" cy="498598"/>
          </a:xfrm>
          <a:prstGeom prst="rect">
            <a:avLst/>
          </a:prstGeom>
        </p:spPr>
        <p:txBody>
          <a:bodyPr vert="horz"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E651D805-E717-41CC-AAC0-BA14FBA6AC4F}"/>
              </a:ext>
            </a:extLst>
          </p:cNvPr>
          <p:cNvSpPr>
            <a:spLocks noGrp="1"/>
          </p:cNvSpPr>
          <p:nvPr>
            <p:ph type="body" idx="1"/>
          </p:nvPr>
        </p:nvSpPr>
        <p:spPr>
          <a:xfrm>
            <a:off x="838200" y="1825625"/>
            <a:ext cx="10515600"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7A0D43-418F-4F1A-968C-89DFAF986D33}"/>
              </a:ext>
            </a:extLst>
          </p:cNvPr>
          <p:cNvSpPr>
            <a:spLocks noGrp="1"/>
          </p:cNvSpPr>
          <p:nvPr>
            <p:ph type="dt" sz="half" idx="2"/>
          </p:nvPr>
        </p:nvSpPr>
        <p:spPr>
          <a:xfrm>
            <a:off x="838200" y="6356350"/>
            <a:ext cx="2743200" cy="365125"/>
          </a:xfrm>
          <a:prstGeom prst="rect">
            <a:avLst/>
          </a:prstGeom>
        </p:spPr>
        <p:txBody>
          <a:bodyPr vert="horz" lIns="0" tIns="0" rIns="0" bIns="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C1728640-9F78-4EE8-ADE8-02DACD392373}"/>
              </a:ext>
            </a:extLst>
          </p:cNvPr>
          <p:cNvSpPr>
            <a:spLocks noGrp="1"/>
          </p:cNvSpPr>
          <p:nvPr>
            <p:ph type="ftr" sz="quarter" idx="3"/>
          </p:nvPr>
        </p:nvSpPr>
        <p:spPr>
          <a:xfrm>
            <a:off x="4038600" y="6356350"/>
            <a:ext cx="4114800" cy="365125"/>
          </a:xfrm>
          <a:prstGeom prst="rect">
            <a:avLst/>
          </a:prstGeom>
        </p:spPr>
        <p:txBody>
          <a:bodyPr vert="horz" lIns="0" tIns="0" rIns="0" bIns="0" rtlCol="0" anchor="ctr"/>
          <a:lstStyle>
            <a:lvl1pPr algn="ctr">
              <a:defRPr sz="1200">
                <a:solidFill>
                  <a:schemeClr val="tx1">
                    <a:tint val="75000"/>
                  </a:schemeClr>
                </a:solidFill>
              </a:defRPr>
            </a:lvl1pPr>
          </a:lstStyle>
          <a:p>
            <a:r>
              <a:rPr lang="en-US"/>
              <a:t>Copyright © 2005-2023  Inventys Research Company, All Rights Reserved. </a:t>
            </a:r>
          </a:p>
        </p:txBody>
      </p:sp>
      <p:sp>
        <p:nvSpPr>
          <p:cNvPr id="6" name="Slide Number Placeholder 5">
            <a:extLst>
              <a:ext uri="{FF2B5EF4-FFF2-40B4-BE49-F238E27FC236}">
                <a16:creationId xmlns:a16="http://schemas.microsoft.com/office/drawing/2014/main" id="{7F314CA8-B4A8-4D73-8421-5C51CBFB56F1}"/>
              </a:ext>
            </a:extLst>
          </p:cNvPr>
          <p:cNvSpPr>
            <a:spLocks noGrp="1"/>
          </p:cNvSpPr>
          <p:nvPr>
            <p:ph type="sldNum" sz="quarter" idx="4"/>
          </p:nvPr>
        </p:nvSpPr>
        <p:spPr>
          <a:xfrm>
            <a:off x="8610600" y="6356350"/>
            <a:ext cx="2743200" cy="365125"/>
          </a:xfrm>
          <a:prstGeom prst="rect">
            <a:avLst/>
          </a:prstGeom>
        </p:spPr>
        <p:txBody>
          <a:bodyPr vert="horz" lIns="0" tIns="0" rIns="0" bIns="0" rtlCol="0" anchor="ctr"/>
          <a:lstStyle>
            <a:lvl1pPr algn="r">
              <a:defRPr sz="1200">
                <a:solidFill>
                  <a:schemeClr val="tx1">
                    <a:tint val="75000"/>
                  </a:schemeClr>
                </a:solidFill>
              </a:defRPr>
            </a:lvl1pPr>
          </a:lstStyle>
          <a:p>
            <a:fld id="{8427212B-DAB7-41D9-8B3C-111279E9B140}" type="slidenum">
              <a:rPr lang="en-US" smtClean="0"/>
              <a:t>‹#›</a:t>
            </a:fld>
            <a:endParaRPr lang="en-US"/>
          </a:p>
        </p:txBody>
      </p:sp>
    </p:spTree>
    <p:extLst>
      <p:ext uri="{BB962C8B-B14F-4D97-AF65-F5344CB8AC3E}">
        <p14:creationId xmlns:p14="http://schemas.microsoft.com/office/powerpoint/2010/main" val="2637935416"/>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Lst>
  <p:hf hd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B58CCCB-3C2C-874A-C5DC-C3C4D3E68974}"/>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5" imgW="425" imgH="424" progId="TCLayout.ActiveDocument.1">
                  <p:embed/>
                </p:oleObj>
              </mc:Choice>
              <mc:Fallback>
                <p:oleObj name="think-cell Slide" r:id="rId15" imgW="425" imgH="424" progId="TCLayout.ActiveDocument.1">
                  <p:embed/>
                  <p:pic>
                    <p:nvPicPr>
                      <p:cNvPr id="8" name="Object 7" hidden="1">
                        <a:extLst>
                          <a:ext uri="{FF2B5EF4-FFF2-40B4-BE49-F238E27FC236}">
                            <a16:creationId xmlns:a16="http://schemas.microsoft.com/office/drawing/2014/main" id="{7B58CCCB-3C2C-874A-C5DC-C3C4D3E6897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BDFEBC8-287F-F299-9CF7-871040F21A6B}"/>
              </a:ext>
            </a:extLst>
          </p:cNvPr>
          <p:cNvSpPr>
            <a:spLocks noGrp="1"/>
          </p:cNvSpPr>
          <p:nvPr>
            <p:ph type="title"/>
          </p:nvPr>
        </p:nvSpPr>
        <p:spPr>
          <a:xfrm>
            <a:off x="550863" y="636729"/>
            <a:ext cx="11090275" cy="772559"/>
          </a:xfrm>
          <a:prstGeom prst="rect">
            <a:avLst/>
          </a:prstGeom>
        </p:spPr>
        <p:txBody>
          <a:bodyPr vert="horz" lIns="0" tIns="45720" rIns="91440" bIns="45720" rtlCol="0" anchor="t" anchorCtr="0">
            <a:normAutofit/>
          </a:bodyPr>
          <a:lstStyle/>
          <a:p>
            <a:r>
              <a:rPr lang="en-GB" dirty="0"/>
              <a:t>Click to edit Master title style</a:t>
            </a:r>
            <a:endParaRPr lang="en-US" dirty="0"/>
          </a:p>
        </p:txBody>
      </p:sp>
      <p:sp>
        <p:nvSpPr>
          <p:cNvPr id="3" name="Text Placeholder 2">
            <a:extLst>
              <a:ext uri="{FF2B5EF4-FFF2-40B4-BE49-F238E27FC236}">
                <a16:creationId xmlns:a16="http://schemas.microsoft.com/office/drawing/2014/main" id="{A8F25417-8A1C-7C95-D412-36EF01FE1CB9}"/>
              </a:ext>
            </a:extLst>
          </p:cNvPr>
          <p:cNvSpPr>
            <a:spLocks noGrp="1"/>
          </p:cNvSpPr>
          <p:nvPr>
            <p:ph type="body" idx="1"/>
          </p:nvPr>
        </p:nvSpPr>
        <p:spPr>
          <a:xfrm>
            <a:off x="550863" y="1683945"/>
            <a:ext cx="11090275" cy="4589855"/>
          </a:xfrm>
          <a:prstGeom prst="rect">
            <a:avLst/>
          </a:prstGeom>
        </p:spPr>
        <p:txBody>
          <a:bodyPr vert="horz" lIns="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a:extLst>
              <a:ext uri="{FF2B5EF4-FFF2-40B4-BE49-F238E27FC236}">
                <a16:creationId xmlns:a16="http://schemas.microsoft.com/office/drawing/2014/main" id="{EE823703-B349-8EEF-8CA5-7FB937A71C15}"/>
              </a:ext>
            </a:extLst>
          </p:cNvPr>
          <p:cNvSpPr>
            <a:spLocks noGrp="1"/>
          </p:cNvSpPr>
          <p:nvPr>
            <p:ph type="ftr" sz="quarter" idx="3"/>
          </p:nvPr>
        </p:nvSpPr>
        <p:spPr>
          <a:xfrm>
            <a:off x="4038600" y="6434157"/>
            <a:ext cx="4114800" cy="22860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B726FE63-ABFE-877A-3828-A19370F49B12}"/>
              </a:ext>
            </a:extLst>
          </p:cNvPr>
          <p:cNvSpPr>
            <a:spLocks noGrp="1"/>
          </p:cNvSpPr>
          <p:nvPr>
            <p:ph type="sldNum" sz="quarter" idx="4"/>
          </p:nvPr>
        </p:nvSpPr>
        <p:spPr>
          <a:xfrm>
            <a:off x="11353138" y="6434157"/>
            <a:ext cx="288000" cy="288000"/>
          </a:xfrm>
          <a:prstGeom prst="rect">
            <a:avLst/>
          </a:prstGeom>
          <a:solidFill>
            <a:schemeClr val="accent1"/>
          </a:solidFill>
        </p:spPr>
        <p:txBody>
          <a:bodyPr vert="horz" lIns="0" tIns="45720" rIns="0" bIns="45720" rtlCol="0" anchor="ctr"/>
          <a:lstStyle>
            <a:lvl1pPr algn="ctr">
              <a:defRPr sz="1100">
                <a:solidFill>
                  <a:schemeClr val="bg1"/>
                </a:solidFill>
              </a:defRPr>
            </a:lvl1pPr>
          </a:lstStyle>
          <a:p>
            <a:fld id="{43CBEFDA-8207-6641-9689-3555584BAC48}" type="slidenum">
              <a:rPr lang="en-US" smtClean="0"/>
              <a:pPr/>
              <a:t>‹#›</a:t>
            </a:fld>
            <a:endParaRPr lang="en-US" dirty="0"/>
          </a:p>
        </p:txBody>
      </p:sp>
      <p:pic>
        <p:nvPicPr>
          <p:cNvPr id="7" name="Content Placeholder 4">
            <a:extLst>
              <a:ext uri="{FF2B5EF4-FFF2-40B4-BE49-F238E27FC236}">
                <a16:creationId xmlns:a16="http://schemas.microsoft.com/office/drawing/2014/main" id="{5938CC06-0328-CF20-8558-212C85D3FD29}"/>
              </a:ext>
            </a:extLst>
          </p:cNvPr>
          <p:cNvPicPr>
            <a:picLocks noChangeAspect="1"/>
          </p:cNvPicPr>
          <p:nvPr userDrawn="1"/>
        </p:nvPicPr>
        <p:blipFill>
          <a:blip r:embed="rId17"/>
          <a:stretch>
            <a:fillRect/>
          </a:stretch>
        </p:blipFill>
        <p:spPr>
          <a:xfrm>
            <a:off x="550863" y="6380490"/>
            <a:ext cx="840354" cy="396834"/>
          </a:xfrm>
          <a:prstGeom prst="rect">
            <a:avLst/>
          </a:prstGeom>
        </p:spPr>
      </p:pic>
      <p:cxnSp>
        <p:nvCxnSpPr>
          <p:cNvPr id="12" name="Straight Connector 11">
            <a:extLst>
              <a:ext uri="{FF2B5EF4-FFF2-40B4-BE49-F238E27FC236}">
                <a16:creationId xmlns:a16="http://schemas.microsoft.com/office/drawing/2014/main" id="{6B49A657-E918-BA1A-4268-8A247633866F}"/>
              </a:ext>
            </a:extLst>
          </p:cNvPr>
          <p:cNvCxnSpPr>
            <a:cxnSpLocks/>
          </p:cNvCxnSpPr>
          <p:nvPr userDrawn="1"/>
        </p:nvCxnSpPr>
        <p:spPr>
          <a:xfrm>
            <a:off x="1656784" y="6578157"/>
            <a:ext cx="954235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16467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hf hdr="0" ftr="0" dt="0"/>
  <p:txStyles>
    <p:titleStyle>
      <a:lvl1pPr algn="l" defTabSz="914400" rtl="0" eaLnBrk="1" latinLnBrk="0" hangingPunct="1">
        <a:lnSpc>
          <a:spcPct val="90000"/>
        </a:lnSpc>
        <a:spcBef>
          <a:spcPct val="0"/>
        </a:spcBef>
        <a:buNone/>
        <a:defRPr sz="4400" b="0" kern="1200">
          <a:solidFill>
            <a:schemeClr val="accent4"/>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47">
          <p15:clr>
            <a:srgbClr val="F26B43"/>
          </p15:clr>
        </p15:guide>
        <p15:guide id="4" pos="7333">
          <p15:clr>
            <a:srgbClr val="F26B43"/>
          </p15:clr>
        </p15:guide>
        <p15:guide id="5" orient="horz" pos="890">
          <p15:clr>
            <a:srgbClr val="F26B43"/>
          </p15:clr>
        </p15:guide>
        <p15:guide id="6" orient="horz" pos="1071">
          <p15:clr>
            <a:srgbClr val="F26B43"/>
          </p15:clr>
        </p15:guide>
        <p15:guide id="7" orient="horz" pos="395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solidFill>
        </p:spPr>
        <p:txBody>
          <a:bodyPr wrap="square" lIns="0" tIns="0" rIns="0" bIns="0" rtlCol="0"/>
          <a:lstStyle>
            <a:defPPr/>
          </a:lstStyle>
          <a:p>
            <a:endParaRPr/>
          </a:p>
        </p:txBody>
      </p:sp>
      <p:sp>
        <p:nvSpPr>
          <p:cNvPr id="2" name="Holder 2"/>
          <p:cNvSpPr>
            <a:spLocks noGrp="1"/>
          </p:cNvSpPr>
          <p:nvPr>
            <p:ph type="title"/>
          </p:nvPr>
        </p:nvSpPr>
        <p:spPr>
          <a:xfrm>
            <a:off x="609600" y="274320"/>
            <a:ext cx="10972800" cy="1097280"/>
          </a:xfrm>
          <a:prstGeom prst="rect">
            <a:avLst/>
          </a:prstGeom>
        </p:spPr>
        <p:txBody>
          <a:bodyPr wrap="square" lIns="0" tIns="0" rIns="0" bIns="0">
            <a:spAutoFit/>
          </a:bodyPr>
          <a:lstStyle>
            <a:defPPr/>
            <a:lvl1pPr>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defPPr/>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defPPr/>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defPPr/>
            <a:lvl1pPr algn="l">
              <a:defRPr>
                <a:solidFill>
                  <a:schemeClr val="tx1">
                    <a:tint val="75000"/>
                  </a:schemeClr>
                </a:solidFill>
              </a:defRPr>
            </a:lvl1pPr>
          </a:lstStyle>
          <a:p>
            <a:fld id="{1D8BD707-D9CF-40AE-B4C6-C98DA3205C09}" type="datetimeFigureOut">
              <a:rPr lang="en-US"/>
              <a:pPr/>
              <a:t>9/4/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defPPr/>
            <a:lvl1pPr algn="r">
              <a:defRPr>
                <a:solidFill>
                  <a:schemeClr val="tx1">
                    <a:tint val="75000"/>
                  </a:schemeClr>
                </a:solidFill>
              </a:defRPr>
            </a:lvl1pPr>
          </a:lstStyle>
          <a:p>
            <a:fld id="{B6F15528-21DE-4FAA-801E-634DDDAF4B2B}" type="slidenum">
              <a:pPr/>
              <a:t>‹#›</a:t>
            </a:fld>
            <a:endParaRPr/>
          </a:p>
        </p:txBody>
      </p:sp>
    </p:spTree>
    <p:extLst>
      <p:ext uri="{BB962C8B-B14F-4D97-AF65-F5344CB8AC3E}">
        <p14:creationId xmlns:p14="http://schemas.microsoft.com/office/powerpoint/2010/main" val="3136401099"/>
      </p:ext>
    </p:extLst>
  </p:cSld>
  <p:clrMap bg1="lt1" tx1="dk1" bg2="lt2" tx2="dk2" accent1="accent1" accent2="accent2" accent3="accent3" accent4="accent4" accent5="accent5" accent6="accent6" hlink="hlink" folHlink="folHlink"/>
  <p:sldLayoutIdLst>
    <p:sldLayoutId id="2147483684" r:id="rId1"/>
  </p:sldLayoutIdLst>
  <p:transition/>
  <p:txStyles>
    <p:titleStyle>
      <a:defPPr/>
      <a:lvl1pPr>
        <a:defRPr>
          <a:latin typeface="+mj-lt"/>
          <a:ea typeface="+mj-ea"/>
          <a:cs typeface="+mj-cs"/>
        </a:defRPr>
      </a:lvl1pPr>
    </p:titleStyle>
    <p:bodyStyle>
      <a:defPPr/>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defPPr/>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22.png"/><Relationship Id="rId3" Type="http://schemas.openxmlformats.org/officeDocument/2006/relationships/image" Target="../media/image12.jpeg"/><Relationship Id="rId7" Type="http://schemas.openxmlformats.org/officeDocument/2006/relationships/image" Target="../media/image16.png"/><Relationship Id="rId12" Type="http://schemas.openxmlformats.org/officeDocument/2006/relationships/image" Target="../media/image21.sv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svg"/><Relationship Id="rId10" Type="http://schemas.openxmlformats.org/officeDocument/2006/relationships/image" Target="../media/image19.sv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chart" Target="../charts/chart1.xml"/><Relationship Id="rId7"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chart" Target="../charts/char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21.xml"/><Relationship Id="rId4" Type="http://schemas.openxmlformats.org/officeDocument/2006/relationships/image" Target="../media/image29.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3.xml"/><Relationship Id="rId5" Type="http://schemas.openxmlformats.org/officeDocument/2006/relationships/image" Target="../media/image7.png"/><Relationship Id="rId4" Type="http://schemas.openxmlformats.org/officeDocument/2006/relationships/image" Target="../media/image6.sv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5A59F003-E00A-43F9-91DC-CC54E3B874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lose-up of a street&#10;&#10;Description automatically generated">
            <a:extLst>
              <a:ext uri="{FF2B5EF4-FFF2-40B4-BE49-F238E27FC236}">
                <a16:creationId xmlns:a16="http://schemas.microsoft.com/office/drawing/2014/main" id="{D7DF23D6-7385-C565-5D41-5BB41D7551E3}"/>
              </a:ext>
            </a:extLst>
          </p:cNvPr>
          <p:cNvPicPr>
            <a:picLocks noChangeAspect="1"/>
          </p:cNvPicPr>
          <p:nvPr/>
        </p:nvPicPr>
        <p:blipFill rotWithShape="1">
          <a:blip r:embed="rId2"/>
          <a:srcRect l="10713" t="9091" r="1611"/>
          <a:stretch/>
        </p:blipFill>
        <p:spPr>
          <a:xfrm>
            <a:off x="20" y="10"/>
            <a:ext cx="12191981" cy="6857990"/>
          </a:xfrm>
          <a:prstGeom prst="rect">
            <a:avLst/>
          </a:prstGeom>
        </p:spPr>
      </p:pic>
      <p:sp>
        <p:nvSpPr>
          <p:cNvPr id="23" name="Rectangle 22">
            <a:extLst>
              <a:ext uri="{FF2B5EF4-FFF2-40B4-BE49-F238E27FC236}">
                <a16:creationId xmlns:a16="http://schemas.microsoft.com/office/drawing/2014/main" id="{D74A4382-E3AD-430A-9A1F-DFA3E0E77A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799865" y="-1524511"/>
            <a:ext cx="4592270" cy="12192001"/>
          </a:xfrm>
          <a:prstGeom prst="rect">
            <a:avLst/>
          </a:prstGeom>
          <a:gradFill>
            <a:gsLst>
              <a:gs pos="35000">
                <a:schemeClr val="tx1">
                  <a:alpha val="46000"/>
                </a:schemeClr>
              </a:gs>
              <a:gs pos="21000">
                <a:schemeClr val="tx1">
                  <a:alpha val="30000"/>
                </a:schemeClr>
              </a:gs>
              <a:gs pos="0">
                <a:schemeClr val="tx1">
                  <a:alpha val="0"/>
                </a:schemeClr>
              </a:gs>
              <a:gs pos="100000">
                <a:schemeClr val="tx1">
                  <a:alpha val="90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9E00B4A-DD4F-4513-2A3F-1A3F0992B4C0}"/>
              </a:ext>
            </a:extLst>
          </p:cNvPr>
          <p:cNvSpPr>
            <a:spLocks noGrp="1"/>
          </p:cNvSpPr>
          <p:nvPr>
            <p:ph type="ctrTitle"/>
          </p:nvPr>
        </p:nvSpPr>
        <p:spPr>
          <a:xfrm>
            <a:off x="404553" y="3091928"/>
            <a:ext cx="10346574" cy="2387600"/>
          </a:xfrm>
        </p:spPr>
        <p:txBody>
          <a:bodyPr>
            <a:normAutofit/>
          </a:bodyPr>
          <a:lstStyle/>
          <a:p>
            <a:pPr algn="l"/>
            <a:r>
              <a:rPr lang="en-US" sz="6600" dirty="0">
                <a:solidFill>
                  <a:schemeClr val="bg1"/>
                </a:solidFill>
                <a:latin typeface="Verdana" panose="020B0604030504040204" pitchFamily="34" charset="0"/>
                <a:ea typeface="Verdana" panose="020B0604030504040204" pitchFamily="34" charset="0"/>
                <a:cs typeface="Verdana" panose="020B0604030504040204" pitchFamily="34" charset="0"/>
              </a:rPr>
              <a:t>Inventys - Sept 2024</a:t>
            </a:r>
            <a:br>
              <a:rPr lang="en-US" sz="660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6600" dirty="0">
                <a:solidFill>
                  <a:schemeClr val="bg1"/>
                </a:solidFill>
                <a:latin typeface="Verdana" panose="020B0604030504040204" pitchFamily="34" charset="0"/>
                <a:ea typeface="Verdana" panose="020B0604030504040204" pitchFamily="34" charset="0"/>
                <a:cs typeface="Verdana" panose="020B0604030504040204" pitchFamily="34" charset="0"/>
              </a:rPr>
              <a:t>Recent Developments</a:t>
            </a:r>
          </a:p>
        </p:txBody>
      </p:sp>
      <p:sp>
        <p:nvSpPr>
          <p:cNvPr id="25" name="Rectangle: Rounded Corners 24">
            <a:extLst>
              <a:ext uri="{FF2B5EF4-FFF2-40B4-BE49-F238E27FC236}">
                <a16:creationId xmlns:a16="http://schemas.microsoft.com/office/drawing/2014/main" id="{79F40191-0F44-4FD1-82CC-ACB507C14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575039"/>
            <a:ext cx="9785897" cy="6858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3CB17634-88A6-305D-263D-98BC4F657EE5}"/>
              </a:ext>
            </a:extLst>
          </p:cNvPr>
          <p:cNvSpPr>
            <a:spLocks noGrp="1"/>
          </p:cNvSpPr>
          <p:nvPr>
            <p:ph type="subTitle" idx="1"/>
          </p:nvPr>
        </p:nvSpPr>
        <p:spPr>
          <a:xfrm>
            <a:off x="15324" y="5624945"/>
            <a:ext cx="9770573" cy="592975"/>
          </a:xfrm>
        </p:spPr>
        <p:txBody>
          <a:bodyPr anchor="ctr">
            <a:noAutofit/>
          </a:bodyPr>
          <a:lstStyle/>
          <a:p>
            <a:pPr algn="l"/>
            <a:r>
              <a:rPr lang="en-US" sz="1800" dirty="0">
                <a:solidFill>
                  <a:schemeClr val="bg1"/>
                </a:solidFill>
                <a:latin typeface="Verdana" panose="020B0604030504040204" pitchFamily="34" charset="0"/>
                <a:ea typeface="Verdana" panose="020B0604030504040204" pitchFamily="34" charset="0"/>
                <a:cs typeface="Verdana" panose="020B0604030504040204" pitchFamily="34" charset="0"/>
              </a:rPr>
              <a:t>Sustainable Reliable Product Supply &amp; Safe Manufacturing Processes</a:t>
            </a:r>
          </a:p>
        </p:txBody>
      </p:sp>
    </p:spTree>
    <p:extLst>
      <p:ext uri="{BB962C8B-B14F-4D97-AF65-F5344CB8AC3E}">
        <p14:creationId xmlns:p14="http://schemas.microsoft.com/office/powerpoint/2010/main" val="3730350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iterate>
                                    <p:tmPct val="10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700"/>
                                        <p:tgtEl>
                                          <p:spTgt spid="3">
                                            <p:txEl>
                                              <p:pRg st="0" end="0"/>
                                            </p:txEl>
                                          </p:spTgt>
                                        </p:tgtEl>
                                      </p:cBhvr>
                                    </p:animEffect>
                                  </p:childTnLst>
                                </p:cTn>
                              </p:par>
                              <p:par>
                                <p:cTn id="8" presetID="10" presetClass="entr" presetSubtype="0" fill="hold" grpId="0" nodeType="withEffect">
                                  <p:stCondLst>
                                    <p:cond delay="1000"/>
                                  </p:stCondLst>
                                  <p:iterate>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1C5289"/>
        </a:solidFill>
        <a:effectLst/>
      </p:bgPr>
    </p:bg>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3FD52E96-5A05-4946-854E-1C47DDEFAC8C}"/>
              </a:ext>
            </a:extLst>
          </p:cNvPr>
          <p:cNvSpPr/>
          <p:nvPr/>
        </p:nvSpPr>
        <p:spPr>
          <a:xfrm flipV="1">
            <a:off x="8006216" y="-4348"/>
            <a:ext cx="4185783" cy="3813961"/>
          </a:xfrm>
          <a:custGeom>
            <a:avLst/>
            <a:gdLst>
              <a:gd name="connsiteX0" fmla="*/ 5093361 w 7157772"/>
              <a:gd name="connsiteY0" fmla="*/ 0 h 6521949"/>
              <a:gd name="connsiteX1" fmla="*/ 7075927 w 7157772"/>
              <a:gd name="connsiteY1" fmla="*/ 400262 h 6521949"/>
              <a:gd name="connsiteX2" fmla="*/ 7157772 w 7157772"/>
              <a:gd name="connsiteY2" fmla="*/ 437263 h 6521949"/>
              <a:gd name="connsiteX3" fmla="*/ 7157772 w 7157772"/>
              <a:gd name="connsiteY3" fmla="*/ 6521949 h 6521949"/>
              <a:gd name="connsiteX4" fmla="*/ 204560 w 7157772"/>
              <a:gd name="connsiteY4" fmla="*/ 6521949 h 6521949"/>
              <a:gd name="connsiteX5" fmla="*/ 160353 w 7157772"/>
              <a:gd name="connsiteY5" fmla="*/ 6366272 h 6521949"/>
              <a:gd name="connsiteX6" fmla="*/ 0 w 7157772"/>
              <a:gd name="connsiteY6" fmla="*/ 5093361 h 6521949"/>
              <a:gd name="connsiteX7" fmla="*/ 5093361 w 7157772"/>
              <a:gd name="connsiteY7" fmla="*/ 0 h 652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7772" h="6521949">
                <a:moveTo>
                  <a:pt x="5093361" y="0"/>
                </a:moveTo>
                <a:cubicBezTo>
                  <a:pt x="5796607" y="0"/>
                  <a:pt x="6466566" y="142524"/>
                  <a:pt x="7075927" y="400262"/>
                </a:cubicBezTo>
                <a:lnTo>
                  <a:pt x="7157772" y="437263"/>
                </a:lnTo>
                <a:lnTo>
                  <a:pt x="7157772" y="6521949"/>
                </a:lnTo>
                <a:lnTo>
                  <a:pt x="204560" y="6521949"/>
                </a:lnTo>
                <a:lnTo>
                  <a:pt x="160353" y="6366272"/>
                </a:lnTo>
                <a:cubicBezTo>
                  <a:pt x="55674" y="5959416"/>
                  <a:pt x="0" y="5532890"/>
                  <a:pt x="0" y="5093361"/>
                </a:cubicBezTo>
                <a:cubicBezTo>
                  <a:pt x="0" y="2280375"/>
                  <a:pt x="2280375" y="0"/>
                  <a:pt x="5093361" y="0"/>
                </a:cubicBezTo>
                <a:close/>
              </a:path>
            </a:pathLst>
          </a:custGeom>
          <a:solidFill>
            <a:srgbClr val="00AF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D36C590B-EB3C-4B80-A82C-CF16D4E95CD0}"/>
              </a:ext>
            </a:extLst>
          </p:cNvPr>
          <p:cNvSpPr>
            <a:spLocks noGrp="1"/>
          </p:cNvSpPr>
          <p:nvPr>
            <p:ph type="title"/>
          </p:nvPr>
        </p:nvSpPr>
        <p:spPr>
          <a:xfrm>
            <a:off x="838200" y="508562"/>
            <a:ext cx="10515600" cy="443198"/>
          </a:xfrm>
        </p:spPr>
        <p:txBody>
          <a:bodyPr/>
          <a:lstStyle/>
          <a:p>
            <a:r>
              <a:rPr lang="en-US" dirty="0">
                <a:solidFill>
                  <a:schemeClr val="bg1"/>
                </a:solidFill>
              </a:rPr>
              <a:t>New Site 2 – </a:t>
            </a:r>
            <a:r>
              <a:rPr lang="en-US" dirty="0">
                <a:solidFill>
                  <a:srgbClr val="FBB425"/>
                </a:solidFill>
              </a:rPr>
              <a:t>Production Capacities (33% in 2024)</a:t>
            </a:r>
          </a:p>
        </p:txBody>
      </p:sp>
      <p:sp>
        <p:nvSpPr>
          <p:cNvPr id="5" name="Slide Number Placeholder 4">
            <a:extLst>
              <a:ext uri="{FF2B5EF4-FFF2-40B4-BE49-F238E27FC236}">
                <a16:creationId xmlns:a16="http://schemas.microsoft.com/office/drawing/2014/main" id="{BC66B56F-08AE-4056-91AC-AE916B7BEA3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7212B-DAB7-41D9-8B3C-111279E9B140}" type="slidenum">
              <a:rPr kumimoji="0" lang="en-US" sz="1050" b="0" i="0" u="none" strike="noStrike" kern="1200" cap="none" spc="0" normalizeH="0" baseline="0" noProof="0" smtClean="0">
                <a:ln>
                  <a:noFill/>
                </a:ln>
                <a:solidFill>
                  <a:prstClr val="white"/>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50" b="0" i="0" u="none" strike="noStrike" kern="1200" cap="none" spc="0" normalizeH="0" baseline="0" noProof="0" dirty="0">
              <a:ln>
                <a:noFill/>
              </a:ln>
              <a:solidFill>
                <a:prstClr val="white"/>
              </a:solidFill>
              <a:effectLst/>
              <a:uLnTx/>
              <a:uFillTx/>
              <a:latin typeface="Segoe UI"/>
              <a:ea typeface="+mn-ea"/>
              <a:cs typeface="+mn-cs"/>
            </a:endParaRPr>
          </a:p>
        </p:txBody>
      </p:sp>
      <p:pic>
        <p:nvPicPr>
          <p:cNvPr id="7" name="Picture 6">
            <a:extLst>
              <a:ext uri="{FF2B5EF4-FFF2-40B4-BE49-F238E27FC236}">
                <a16:creationId xmlns:a16="http://schemas.microsoft.com/office/drawing/2014/main" id="{9E757AA3-A7A8-47DA-9765-24593B22A2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8200" y="6264275"/>
            <a:ext cx="968188" cy="457200"/>
          </a:xfrm>
          <a:prstGeom prst="rect">
            <a:avLst/>
          </a:prstGeom>
        </p:spPr>
      </p:pic>
      <p:sp>
        <p:nvSpPr>
          <p:cNvPr id="35" name="TextBox 34">
            <a:extLst>
              <a:ext uri="{FF2B5EF4-FFF2-40B4-BE49-F238E27FC236}">
                <a16:creationId xmlns:a16="http://schemas.microsoft.com/office/drawing/2014/main" id="{2785542A-EA12-420F-995B-75ABDEDB7199}"/>
              </a:ext>
            </a:extLst>
          </p:cNvPr>
          <p:cNvSpPr txBox="1"/>
          <p:nvPr/>
        </p:nvSpPr>
        <p:spPr>
          <a:xfrm>
            <a:off x="1308100" y="1089325"/>
            <a:ext cx="4685120"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a:ea typeface="+mn-ea"/>
                <a:cs typeface="+mn-cs"/>
              </a:rPr>
              <a:t>Actives (Fungicides &amp; Insecticides)</a:t>
            </a:r>
          </a:p>
        </p:txBody>
      </p:sp>
      <p:sp>
        <p:nvSpPr>
          <p:cNvPr id="36" name="TextBox 35">
            <a:extLst>
              <a:ext uri="{FF2B5EF4-FFF2-40B4-BE49-F238E27FC236}">
                <a16:creationId xmlns:a16="http://schemas.microsoft.com/office/drawing/2014/main" id="{02C429FF-A52B-4FD3-A02F-646B0AD3C78F}"/>
              </a:ext>
            </a:extLst>
          </p:cNvPr>
          <p:cNvSpPr txBox="1"/>
          <p:nvPr/>
        </p:nvSpPr>
        <p:spPr>
          <a:xfrm>
            <a:off x="1308099" y="1424461"/>
            <a:ext cx="4965701" cy="646331"/>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3 Production Blocks (6 Production Lines)</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36 Reactors (Batch/Flow) – 200+ KL</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Plus other supporting equipment</a:t>
            </a:r>
          </a:p>
        </p:txBody>
      </p:sp>
      <p:sp>
        <p:nvSpPr>
          <p:cNvPr id="37" name="TextBox 36">
            <a:extLst>
              <a:ext uri="{FF2B5EF4-FFF2-40B4-BE49-F238E27FC236}">
                <a16:creationId xmlns:a16="http://schemas.microsoft.com/office/drawing/2014/main" id="{7459DDD9-C337-4C5A-8BCE-970163477F3C}"/>
              </a:ext>
            </a:extLst>
          </p:cNvPr>
          <p:cNvSpPr txBox="1"/>
          <p:nvPr/>
        </p:nvSpPr>
        <p:spPr>
          <a:xfrm>
            <a:off x="1308100" y="2222816"/>
            <a:ext cx="468512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a:ea typeface="+mn-ea"/>
                <a:cs typeface="+mn-cs"/>
              </a:rPr>
              <a:t>Registered Starting Materials / Adv Intermediates /  Specialty Chemicals </a:t>
            </a:r>
          </a:p>
        </p:txBody>
      </p:sp>
      <p:sp>
        <p:nvSpPr>
          <p:cNvPr id="38" name="TextBox 37">
            <a:extLst>
              <a:ext uri="{FF2B5EF4-FFF2-40B4-BE49-F238E27FC236}">
                <a16:creationId xmlns:a16="http://schemas.microsoft.com/office/drawing/2014/main" id="{8C2DE58D-2094-4BD6-B077-7010BD78FF73}"/>
              </a:ext>
            </a:extLst>
          </p:cNvPr>
          <p:cNvSpPr txBox="1"/>
          <p:nvPr/>
        </p:nvSpPr>
        <p:spPr>
          <a:xfrm>
            <a:off x="1308099" y="2803151"/>
            <a:ext cx="4965701" cy="646331"/>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6 Production Blocks</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150 Reactors (Batch/Flow) – 900+ KL</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Plus other supporting equipment  </a:t>
            </a:r>
          </a:p>
        </p:txBody>
      </p:sp>
      <p:sp>
        <p:nvSpPr>
          <p:cNvPr id="39" name="Oval 38">
            <a:extLst>
              <a:ext uri="{FF2B5EF4-FFF2-40B4-BE49-F238E27FC236}">
                <a16:creationId xmlns:a16="http://schemas.microsoft.com/office/drawing/2014/main" id="{18CF981A-E625-4CEB-A045-F253518C0B11}"/>
              </a:ext>
            </a:extLst>
          </p:cNvPr>
          <p:cNvSpPr/>
          <p:nvPr/>
        </p:nvSpPr>
        <p:spPr>
          <a:xfrm>
            <a:off x="867892" y="1136398"/>
            <a:ext cx="169215" cy="169215"/>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sp>
        <p:nvSpPr>
          <p:cNvPr id="40" name="Oval 39">
            <a:extLst>
              <a:ext uri="{FF2B5EF4-FFF2-40B4-BE49-F238E27FC236}">
                <a16:creationId xmlns:a16="http://schemas.microsoft.com/office/drawing/2014/main" id="{BFF8FC8E-EDB9-4E18-8785-6410DB5018C7}"/>
              </a:ext>
            </a:extLst>
          </p:cNvPr>
          <p:cNvSpPr/>
          <p:nvPr/>
        </p:nvSpPr>
        <p:spPr>
          <a:xfrm>
            <a:off x="867892" y="2265621"/>
            <a:ext cx="169215" cy="169215"/>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B4B2A95F-4571-4EE5-A042-EC1C65162D30}"/>
              </a:ext>
            </a:extLst>
          </p:cNvPr>
          <p:cNvSpPr txBox="1"/>
          <p:nvPr/>
        </p:nvSpPr>
        <p:spPr>
          <a:xfrm>
            <a:off x="1314728" y="3541406"/>
            <a:ext cx="4685120"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a:ea typeface="+mn-ea"/>
                <a:cs typeface="+mn-cs"/>
              </a:rPr>
              <a:t>Hydrogenation</a:t>
            </a:r>
          </a:p>
        </p:txBody>
      </p:sp>
      <p:sp>
        <p:nvSpPr>
          <p:cNvPr id="42" name="TextBox 41">
            <a:extLst>
              <a:ext uri="{FF2B5EF4-FFF2-40B4-BE49-F238E27FC236}">
                <a16:creationId xmlns:a16="http://schemas.microsoft.com/office/drawing/2014/main" id="{840A3390-0BE0-41B3-9518-1F2F702C6583}"/>
              </a:ext>
            </a:extLst>
          </p:cNvPr>
          <p:cNvSpPr txBox="1"/>
          <p:nvPr/>
        </p:nvSpPr>
        <p:spPr>
          <a:xfrm>
            <a:off x="1314727" y="3830197"/>
            <a:ext cx="4965701" cy="430887"/>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1 Production Block</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6 Reactors (Batch/Flow) – 50+ KL</a:t>
            </a:r>
          </a:p>
        </p:txBody>
      </p:sp>
      <p:sp>
        <p:nvSpPr>
          <p:cNvPr id="43" name="Oval 42">
            <a:extLst>
              <a:ext uri="{FF2B5EF4-FFF2-40B4-BE49-F238E27FC236}">
                <a16:creationId xmlns:a16="http://schemas.microsoft.com/office/drawing/2014/main" id="{14FCA9B2-4641-4347-B7BF-0AA90191223F}"/>
              </a:ext>
            </a:extLst>
          </p:cNvPr>
          <p:cNvSpPr/>
          <p:nvPr/>
        </p:nvSpPr>
        <p:spPr>
          <a:xfrm>
            <a:off x="874520" y="3584211"/>
            <a:ext cx="169215" cy="169215"/>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sp>
        <p:nvSpPr>
          <p:cNvPr id="44" name="TextBox 43">
            <a:extLst>
              <a:ext uri="{FF2B5EF4-FFF2-40B4-BE49-F238E27FC236}">
                <a16:creationId xmlns:a16="http://schemas.microsoft.com/office/drawing/2014/main" id="{F194878C-EEC4-4CA4-B9CA-D2EDB678AF92}"/>
              </a:ext>
            </a:extLst>
          </p:cNvPr>
          <p:cNvSpPr txBox="1"/>
          <p:nvPr/>
        </p:nvSpPr>
        <p:spPr>
          <a:xfrm>
            <a:off x="1321356" y="4409425"/>
            <a:ext cx="4685120"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a:ea typeface="+mn-ea"/>
                <a:cs typeface="+mn-cs"/>
              </a:rPr>
              <a:t>Halogenation (HF/KF/etc)</a:t>
            </a:r>
          </a:p>
        </p:txBody>
      </p:sp>
      <p:sp>
        <p:nvSpPr>
          <p:cNvPr id="45" name="TextBox 44">
            <a:extLst>
              <a:ext uri="{FF2B5EF4-FFF2-40B4-BE49-F238E27FC236}">
                <a16:creationId xmlns:a16="http://schemas.microsoft.com/office/drawing/2014/main" id="{BED0F4EB-3D87-46F5-9FD5-F336796182B2}"/>
              </a:ext>
            </a:extLst>
          </p:cNvPr>
          <p:cNvSpPr txBox="1"/>
          <p:nvPr/>
        </p:nvSpPr>
        <p:spPr>
          <a:xfrm>
            <a:off x="1321355" y="4698216"/>
            <a:ext cx="4965701" cy="430887"/>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1 Production Block</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10 Reactors (Batch/Flow) – 50+ KL</a:t>
            </a:r>
          </a:p>
        </p:txBody>
      </p:sp>
      <p:sp>
        <p:nvSpPr>
          <p:cNvPr id="46" name="Oval 45">
            <a:extLst>
              <a:ext uri="{FF2B5EF4-FFF2-40B4-BE49-F238E27FC236}">
                <a16:creationId xmlns:a16="http://schemas.microsoft.com/office/drawing/2014/main" id="{B35D2528-7282-417B-BFE5-4671054A65A2}"/>
              </a:ext>
            </a:extLst>
          </p:cNvPr>
          <p:cNvSpPr/>
          <p:nvPr/>
        </p:nvSpPr>
        <p:spPr>
          <a:xfrm>
            <a:off x="881148" y="4452230"/>
            <a:ext cx="169215" cy="169215"/>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sp>
        <p:nvSpPr>
          <p:cNvPr id="47" name="TextBox 46">
            <a:extLst>
              <a:ext uri="{FF2B5EF4-FFF2-40B4-BE49-F238E27FC236}">
                <a16:creationId xmlns:a16="http://schemas.microsoft.com/office/drawing/2014/main" id="{72614828-7628-4AD7-AE40-74EDB3C9F650}"/>
              </a:ext>
            </a:extLst>
          </p:cNvPr>
          <p:cNvSpPr txBox="1"/>
          <p:nvPr/>
        </p:nvSpPr>
        <p:spPr>
          <a:xfrm>
            <a:off x="1314730" y="5290697"/>
            <a:ext cx="4685120"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Segoe UI"/>
                <a:ea typeface="+mn-ea"/>
                <a:cs typeface="+mn-cs"/>
              </a:rPr>
              <a:t>Fermentation Products</a:t>
            </a:r>
          </a:p>
        </p:txBody>
      </p:sp>
      <p:sp>
        <p:nvSpPr>
          <p:cNvPr id="48" name="TextBox 47">
            <a:extLst>
              <a:ext uri="{FF2B5EF4-FFF2-40B4-BE49-F238E27FC236}">
                <a16:creationId xmlns:a16="http://schemas.microsoft.com/office/drawing/2014/main" id="{AF394053-22F8-4D8A-8E26-0F31E6C6E184}"/>
              </a:ext>
            </a:extLst>
          </p:cNvPr>
          <p:cNvSpPr txBox="1"/>
          <p:nvPr/>
        </p:nvSpPr>
        <p:spPr>
          <a:xfrm>
            <a:off x="1314729" y="5579488"/>
            <a:ext cx="4965701" cy="430887"/>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1 Production Block</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To be decided</a:t>
            </a:r>
          </a:p>
        </p:txBody>
      </p:sp>
      <p:sp>
        <p:nvSpPr>
          <p:cNvPr id="49" name="Oval 48">
            <a:extLst>
              <a:ext uri="{FF2B5EF4-FFF2-40B4-BE49-F238E27FC236}">
                <a16:creationId xmlns:a16="http://schemas.microsoft.com/office/drawing/2014/main" id="{33DFE12A-12E9-4F93-9FDD-446E79488E27}"/>
              </a:ext>
            </a:extLst>
          </p:cNvPr>
          <p:cNvSpPr/>
          <p:nvPr/>
        </p:nvSpPr>
        <p:spPr>
          <a:xfrm>
            <a:off x="874522" y="5333502"/>
            <a:ext cx="169215" cy="169215"/>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Segoe UI"/>
              <a:ea typeface="+mn-ea"/>
              <a:cs typeface="+mn-cs"/>
            </a:endParaRPr>
          </a:p>
        </p:txBody>
      </p:sp>
      <p:cxnSp>
        <p:nvCxnSpPr>
          <p:cNvPr id="50" name="Straight Connector 49">
            <a:extLst>
              <a:ext uri="{FF2B5EF4-FFF2-40B4-BE49-F238E27FC236}">
                <a16:creationId xmlns:a16="http://schemas.microsoft.com/office/drawing/2014/main" id="{489822DF-D683-409D-8831-B1274CFC051A}"/>
              </a:ext>
            </a:extLst>
          </p:cNvPr>
          <p:cNvCxnSpPr>
            <a:cxnSpLocks/>
          </p:cNvCxnSpPr>
          <p:nvPr/>
        </p:nvCxnSpPr>
        <p:spPr>
          <a:xfrm>
            <a:off x="952500" y="1211796"/>
            <a:ext cx="0" cy="4867159"/>
          </a:xfrm>
          <a:prstGeom prst="line">
            <a:avLst/>
          </a:prstGeom>
          <a:ln>
            <a:solidFill>
              <a:schemeClr val="bg1">
                <a:alpha val="42000"/>
              </a:schemeClr>
            </a:solidFill>
          </a:ln>
        </p:spPr>
        <p:style>
          <a:lnRef idx="1">
            <a:schemeClr val="accent1"/>
          </a:lnRef>
          <a:fillRef idx="0">
            <a:schemeClr val="accent1"/>
          </a:fillRef>
          <a:effectRef idx="0">
            <a:schemeClr val="accent1"/>
          </a:effectRef>
          <a:fontRef idx="minor">
            <a:schemeClr val="tx1"/>
          </a:fontRef>
        </p:style>
      </p:cxnSp>
      <p:sp>
        <p:nvSpPr>
          <p:cNvPr id="23" name="Footer Placeholder 3">
            <a:extLst>
              <a:ext uri="{FF2B5EF4-FFF2-40B4-BE49-F238E27FC236}">
                <a16:creationId xmlns:a16="http://schemas.microsoft.com/office/drawing/2014/main" id="{51FF400A-DA74-4B06-A1FA-51DA3C2A1F60}"/>
              </a:ext>
            </a:extLst>
          </p:cNvPr>
          <p:cNvSpPr>
            <a:spLocks noGrp="1"/>
          </p:cNvSpPr>
          <p:nvPr>
            <p:ph type="ftr" sz="quarter" idx="11"/>
          </p:nvPr>
        </p:nvSpPr>
        <p:spPr>
          <a:xfrm>
            <a:off x="6361043" y="6356350"/>
            <a:ext cx="461507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Copyright © 2005-2024  Inventys Research Company, All Rights Reserved. </a:t>
            </a:r>
          </a:p>
        </p:txBody>
      </p:sp>
    </p:spTree>
    <p:extLst>
      <p:ext uri="{BB962C8B-B14F-4D97-AF65-F5344CB8AC3E}">
        <p14:creationId xmlns:p14="http://schemas.microsoft.com/office/powerpoint/2010/main" val="1710387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1C5289"/>
        </a:solidFill>
        <a:effectLst/>
      </p:bgPr>
    </p:bg>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E529569C-B67C-4EA6-B3CE-9872855BDCB5}"/>
              </a:ext>
            </a:extLst>
          </p:cNvPr>
          <p:cNvSpPr/>
          <p:nvPr/>
        </p:nvSpPr>
        <p:spPr>
          <a:xfrm>
            <a:off x="5429252" y="695984"/>
            <a:ext cx="6762750" cy="6162016"/>
          </a:xfrm>
          <a:custGeom>
            <a:avLst/>
            <a:gdLst>
              <a:gd name="connsiteX0" fmla="*/ 5093361 w 7157772"/>
              <a:gd name="connsiteY0" fmla="*/ 0 h 6521949"/>
              <a:gd name="connsiteX1" fmla="*/ 7075927 w 7157772"/>
              <a:gd name="connsiteY1" fmla="*/ 400262 h 6521949"/>
              <a:gd name="connsiteX2" fmla="*/ 7157772 w 7157772"/>
              <a:gd name="connsiteY2" fmla="*/ 437263 h 6521949"/>
              <a:gd name="connsiteX3" fmla="*/ 7157772 w 7157772"/>
              <a:gd name="connsiteY3" fmla="*/ 6521949 h 6521949"/>
              <a:gd name="connsiteX4" fmla="*/ 204560 w 7157772"/>
              <a:gd name="connsiteY4" fmla="*/ 6521949 h 6521949"/>
              <a:gd name="connsiteX5" fmla="*/ 160353 w 7157772"/>
              <a:gd name="connsiteY5" fmla="*/ 6366272 h 6521949"/>
              <a:gd name="connsiteX6" fmla="*/ 0 w 7157772"/>
              <a:gd name="connsiteY6" fmla="*/ 5093361 h 6521949"/>
              <a:gd name="connsiteX7" fmla="*/ 5093361 w 7157772"/>
              <a:gd name="connsiteY7" fmla="*/ 0 h 652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7772" h="6521949">
                <a:moveTo>
                  <a:pt x="5093361" y="0"/>
                </a:moveTo>
                <a:cubicBezTo>
                  <a:pt x="5796607" y="0"/>
                  <a:pt x="6466566" y="142524"/>
                  <a:pt x="7075927" y="400262"/>
                </a:cubicBezTo>
                <a:lnTo>
                  <a:pt x="7157772" y="437263"/>
                </a:lnTo>
                <a:lnTo>
                  <a:pt x="7157772" y="6521949"/>
                </a:lnTo>
                <a:lnTo>
                  <a:pt x="204560" y="6521949"/>
                </a:lnTo>
                <a:lnTo>
                  <a:pt x="160353" y="6366272"/>
                </a:lnTo>
                <a:cubicBezTo>
                  <a:pt x="55674" y="5959416"/>
                  <a:pt x="0" y="5532890"/>
                  <a:pt x="0" y="5093361"/>
                </a:cubicBezTo>
                <a:cubicBezTo>
                  <a:pt x="0" y="2280375"/>
                  <a:pt x="2280375" y="0"/>
                  <a:pt x="5093361" y="0"/>
                </a:cubicBezTo>
                <a:close/>
              </a:path>
            </a:pathLst>
          </a:custGeom>
          <a:solidFill>
            <a:srgbClr val="00AF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87B24A72-E3C1-42B8-89DA-24E687332BFA}"/>
              </a:ext>
            </a:extLst>
          </p:cNvPr>
          <p:cNvSpPr>
            <a:spLocks noGrp="1"/>
          </p:cNvSpPr>
          <p:nvPr>
            <p:ph type="title"/>
          </p:nvPr>
        </p:nvSpPr>
        <p:spPr>
          <a:xfrm>
            <a:off x="740226" y="540646"/>
            <a:ext cx="10515600" cy="443198"/>
          </a:xfrm>
        </p:spPr>
        <p:txBody>
          <a:bodyPr/>
          <a:lstStyle/>
          <a:p>
            <a:r>
              <a:rPr lang="en-US" dirty="0">
                <a:solidFill>
                  <a:schemeClr val="bg1"/>
                </a:solidFill>
              </a:rPr>
              <a:t>New Site 3 – </a:t>
            </a:r>
            <a:r>
              <a:rPr lang="en-US" dirty="0">
                <a:solidFill>
                  <a:srgbClr val="FBB425"/>
                </a:solidFill>
              </a:rPr>
              <a:t>Production Capacities (40% in 2024)</a:t>
            </a:r>
          </a:p>
        </p:txBody>
      </p:sp>
      <p:sp>
        <p:nvSpPr>
          <p:cNvPr id="5" name="Slide Number Placeholder 4">
            <a:extLst>
              <a:ext uri="{FF2B5EF4-FFF2-40B4-BE49-F238E27FC236}">
                <a16:creationId xmlns:a16="http://schemas.microsoft.com/office/drawing/2014/main" id="{3D3E3155-4BE4-4261-B412-1A2EF7CDCD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7212B-DAB7-41D9-8B3C-111279E9B140}" type="slidenum">
              <a:rPr kumimoji="0" lang="en-US" sz="1050" b="0" i="0" u="none" strike="noStrike" kern="1200" cap="none" spc="0" normalizeH="0" baseline="0" noProof="0" smtClean="0">
                <a:ln>
                  <a:noFill/>
                </a:ln>
                <a:solidFill>
                  <a:prstClr val="white"/>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50" b="0" i="0" u="none" strike="noStrike" kern="1200" cap="none" spc="0" normalizeH="0" baseline="0" noProof="0">
              <a:ln>
                <a:noFill/>
              </a:ln>
              <a:solidFill>
                <a:prstClr val="white"/>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70DEC191-C91C-45A5-BEF5-E2DC831F5A31}"/>
              </a:ext>
            </a:extLst>
          </p:cNvPr>
          <p:cNvGrpSpPr/>
          <p:nvPr/>
        </p:nvGrpSpPr>
        <p:grpSpPr>
          <a:xfrm>
            <a:off x="740226" y="1421696"/>
            <a:ext cx="11353802" cy="4070882"/>
            <a:chOff x="838198" y="1696072"/>
            <a:chExt cx="11353802" cy="4070882"/>
          </a:xfrm>
        </p:grpSpPr>
        <p:grpSp>
          <p:nvGrpSpPr>
            <p:cNvPr id="15" name="Group 14">
              <a:extLst>
                <a:ext uri="{FF2B5EF4-FFF2-40B4-BE49-F238E27FC236}">
                  <a16:creationId xmlns:a16="http://schemas.microsoft.com/office/drawing/2014/main" id="{409C3665-7A0A-4975-B213-DC7C9C38CC25}"/>
                </a:ext>
              </a:extLst>
            </p:cNvPr>
            <p:cNvGrpSpPr/>
            <p:nvPr/>
          </p:nvGrpSpPr>
          <p:grpSpPr>
            <a:xfrm>
              <a:off x="838198" y="2451988"/>
              <a:ext cx="4597325" cy="3314966"/>
              <a:chOff x="838198" y="1809750"/>
              <a:chExt cx="3593749" cy="2591319"/>
            </a:xfrm>
          </p:grpSpPr>
          <p:sp>
            <p:nvSpPr>
              <p:cNvPr id="6" name="Rectangle: Rounded Corners 5">
                <a:extLst>
                  <a:ext uri="{FF2B5EF4-FFF2-40B4-BE49-F238E27FC236}">
                    <a16:creationId xmlns:a16="http://schemas.microsoft.com/office/drawing/2014/main" id="{846B5D23-5A4C-4575-A1A5-B67B182E81ED}"/>
                  </a:ext>
                </a:extLst>
              </p:cNvPr>
              <p:cNvSpPr/>
              <p:nvPr/>
            </p:nvSpPr>
            <p:spPr>
              <a:xfrm>
                <a:off x="838200" y="2047875"/>
                <a:ext cx="3472683" cy="2353194"/>
              </a:xfrm>
              <a:prstGeom prst="roundRect">
                <a:avLst>
                  <a:gd name="adj" fmla="val 2492"/>
                </a:avLst>
              </a:prstGeom>
              <a:solidFill>
                <a:schemeClr val="bg1"/>
              </a:solidFill>
              <a:ln w="95250">
                <a:noFill/>
              </a:ln>
              <a:effectLst>
                <a:outerShdw blurRad="152400" dist="381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0" name="TextBox 9">
                <a:extLst>
                  <a:ext uri="{FF2B5EF4-FFF2-40B4-BE49-F238E27FC236}">
                    <a16:creationId xmlns:a16="http://schemas.microsoft.com/office/drawing/2014/main" id="{8750D471-04A1-4D24-9499-CA30137B1A1A}"/>
                  </a:ext>
                </a:extLst>
              </p:cNvPr>
              <p:cNvSpPr txBox="1"/>
              <p:nvPr/>
            </p:nvSpPr>
            <p:spPr>
              <a:xfrm>
                <a:off x="978356" y="2563905"/>
                <a:ext cx="3453591" cy="1539775"/>
              </a:xfrm>
              <a:prstGeom prst="rect">
                <a:avLst/>
              </a:prstGeom>
              <a:noFill/>
            </p:spPr>
            <p:txBody>
              <a:bodyPr wrap="square" lIns="0" tIns="0" rIns="0" bIns="0" rtlCol="0">
                <a:spAutoFit/>
              </a:bodyPr>
              <a:lstStyle/>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45 Reactors (Batch/Flow) – ~500+ KL </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Plus, other supporting equipment</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Quality Control</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Quality Assurance </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Warehouses</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Primary Effluent Treatment</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Byproduct Recovery</a:t>
                </a:r>
              </a:p>
              <a:p>
                <a:pPr marL="285750" marR="0" lvl="0" indent="-285750"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Parking</a:t>
                </a:r>
              </a:p>
            </p:txBody>
          </p:sp>
          <p:sp>
            <p:nvSpPr>
              <p:cNvPr id="11" name="Rectangle: Top Corners Rounded 10">
                <a:extLst>
                  <a:ext uri="{FF2B5EF4-FFF2-40B4-BE49-F238E27FC236}">
                    <a16:creationId xmlns:a16="http://schemas.microsoft.com/office/drawing/2014/main" id="{1A838928-5601-4887-ADCE-6644CB9CBB83}"/>
                  </a:ext>
                </a:extLst>
              </p:cNvPr>
              <p:cNvSpPr/>
              <p:nvPr/>
            </p:nvSpPr>
            <p:spPr>
              <a:xfrm>
                <a:off x="838198" y="1809750"/>
                <a:ext cx="3472683" cy="535818"/>
              </a:xfrm>
              <a:prstGeom prst="round2SameRect">
                <a:avLst>
                  <a:gd name="adj1" fmla="val 22345"/>
                  <a:gd name="adj2" fmla="val 0"/>
                </a:avLst>
              </a:prstGeom>
              <a:solidFill>
                <a:srgbClr val="ED6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Segoe UI"/>
                    <a:ea typeface="+mn-ea"/>
                    <a:cs typeface="+mn-cs"/>
                  </a:rPr>
                  <a:t>5 Production Blocks </a:t>
                </a:r>
              </a:p>
            </p:txBody>
          </p:sp>
        </p:grpSp>
        <p:sp>
          <p:nvSpPr>
            <p:cNvPr id="17" name="TextBox 16">
              <a:extLst>
                <a:ext uri="{FF2B5EF4-FFF2-40B4-BE49-F238E27FC236}">
                  <a16:creationId xmlns:a16="http://schemas.microsoft.com/office/drawing/2014/main" id="{FDB031C0-7305-4D94-B279-8E67DCFF319A}"/>
                </a:ext>
              </a:extLst>
            </p:cNvPr>
            <p:cNvSpPr txBox="1"/>
            <p:nvPr/>
          </p:nvSpPr>
          <p:spPr>
            <a:xfrm>
              <a:off x="838198" y="1696072"/>
              <a:ext cx="2295527"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Segoe UI"/>
                  <a:ea typeface="+mn-ea"/>
                  <a:cs typeface="+mn-cs"/>
                </a:rPr>
                <a:t>Herbicides </a:t>
              </a:r>
            </a:p>
          </p:txBody>
        </p:sp>
        <p:cxnSp>
          <p:nvCxnSpPr>
            <p:cNvPr id="19" name="Straight Connector 18">
              <a:extLst>
                <a:ext uri="{FF2B5EF4-FFF2-40B4-BE49-F238E27FC236}">
                  <a16:creationId xmlns:a16="http://schemas.microsoft.com/office/drawing/2014/main" id="{99562AAE-42F4-4781-993C-E3824C34B202}"/>
                </a:ext>
              </a:extLst>
            </p:cNvPr>
            <p:cNvCxnSpPr>
              <a:cxnSpLocks/>
              <a:stCxn id="17" idx="3"/>
            </p:cNvCxnSpPr>
            <p:nvPr/>
          </p:nvCxnSpPr>
          <p:spPr>
            <a:xfrm>
              <a:off x="3133725" y="1942294"/>
              <a:ext cx="9058275" cy="53932"/>
            </a:xfrm>
            <a:prstGeom prst="line">
              <a:avLst/>
            </a:prstGeom>
            <a:ln>
              <a:solidFill>
                <a:schemeClr val="bg1">
                  <a:alpha val="70000"/>
                </a:schemeClr>
              </a:solidFill>
            </a:ln>
          </p:spPr>
          <p:style>
            <a:lnRef idx="1">
              <a:schemeClr val="accent1"/>
            </a:lnRef>
            <a:fillRef idx="0">
              <a:schemeClr val="accent1"/>
            </a:fillRef>
            <a:effectRef idx="0">
              <a:schemeClr val="accent1"/>
            </a:effectRef>
            <a:fontRef idx="minor">
              <a:schemeClr val="tx1"/>
            </a:fontRef>
          </p:style>
        </p:cxnSp>
      </p:grpSp>
      <p:sp>
        <p:nvSpPr>
          <p:cNvPr id="13" name="Footer Placeholder 3">
            <a:extLst>
              <a:ext uri="{FF2B5EF4-FFF2-40B4-BE49-F238E27FC236}">
                <a16:creationId xmlns:a16="http://schemas.microsoft.com/office/drawing/2014/main" id="{71F7040A-2258-45F7-81B0-65016237C91F}"/>
              </a:ext>
            </a:extLst>
          </p:cNvPr>
          <p:cNvSpPr>
            <a:spLocks noGrp="1"/>
          </p:cNvSpPr>
          <p:nvPr>
            <p:ph type="ftr" sz="quarter" idx="11"/>
          </p:nvPr>
        </p:nvSpPr>
        <p:spPr>
          <a:xfrm>
            <a:off x="6361043" y="6356350"/>
            <a:ext cx="461507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Copyright © 2005-2024  Inventys Research Company, All Rights Reserved. </a:t>
            </a:r>
          </a:p>
        </p:txBody>
      </p:sp>
    </p:spTree>
    <p:extLst>
      <p:ext uri="{BB962C8B-B14F-4D97-AF65-F5344CB8AC3E}">
        <p14:creationId xmlns:p14="http://schemas.microsoft.com/office/powerpoint/2010/main" val="10387309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A6B319F-86FE-4754-878E-06F0804D88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32385" cy="6858000"/>
          </a:xfrm>
          <a:prstGeom prst="rect">
            <a:avLst/>
          </a:prstGeom>
          <a:solidFill>
            <a:schemeClr val="accent5">
              <a:alpha val="70000"/>
            </a:schemeClr>
          </a:solidFill>
          <a:ln>
            <a:noFill/>
          </a:ln>
        </p:spPr>
        <p:style>
          <a:lnRef idx="2">
            <a:schemeClr val="accent1">
              <a:shade val="50000"/>
            </a:schemeClr>
          </a:lnRef>
          <a:fillRef idx="1003">
            <a:schemeClr val="l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7D31"/>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DCF7D1B5-3477-499F-ACC5-2C8B07F4ED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2385" y="0"/>
            <a:ext cx="3218914" cy="6858000"/>
          </a:xfrm>
          <a:prstGeom prst="rect">
            <a:avLst/>
          </a:prstGeom>
          <a:solidFill>
            <a:schemeClr val="accent5">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616D621-FE24-9D15-FD2B-7F802EA082F0}"/>
              </a:ext>
            </a:extLst>
          </p:cNvPr>
          <p:cNvSpPr>
            <a:spLocks noGrp="1"/>
          </p:cNvSpPr>
          <p:nvPr>
            <p:ph type="title"/>
          </p:nvPr>
        </p:nvSpPr>
        <p:spPr>
          <a:xfrm>
            <a:off x="992206" y="1608667"/>
            <a:ext cx="2823275" cy="4501127"/>
          </a:xfrm>
        </p:spPr>
        <p:txBody>
          <a:bodyPr anchor="t">
            <a:normAutofit/>
          </a:bodyPr>
          <a:lstStyle/>
          <a:p>
            <a:pPr algn="r"/>
            <a: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t>New Pilot Plant &amp; Kilo Plants</a:t>
            </a:r>
            <a:b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br>
            <a:b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br>
            <a:b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t>22 Reactors installed</a:t>
            </a:r>
            <a:b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t>+ 23 in future  </a:t>
            </a:r>
          </a:p>
        </p:txBody>
      </p:sp>
      <p:sp>
        <p:nvSpPr>
          <p:cNvPr id="5" name="Content Placeholder 4">
            <a:extLst>
              <a:ext uri="{FF2B5EF4-FFF2-40B4-BE49-F238E27FC236}">
                <a16:creationId xmlns:a16="http://schemas.microsoft.com/office/drawing/2014/main" id="{84727819-5411-AC91-1108-6045F1172AE2}"/>
              </a:ext>
            </a:extLst>
          </p:cNvPr>
          <p:cNvSpPr>
            <a:spLocks noGrp="1"/>
          </p:cNvSpPr>
          <p:nvPr>
            <p:ph sz="half" idx="2"/>
          </p:nvPr>
        </p:nvSpPr>
        <p:spPr>
          <a:xfrm>
            <a:off x="4211120" y="354844"/>
            <a:ext cx="7757967" cy="6237027"/>
          </a:xfrm>
        </p:spPr>
        <p:txBody>
          <a:bodyPr>
            <a:normAutofit fontScale="70000" lnSpcReduction="20000"/>
          </a:bodyPr>
          <a:lstStyle/>
          <a:p>
            <a:r>
              <a:rPr lang="en-IN" dirty="0">
                <a:latin typeface="Verdana" panose="020B0604030504040204" pitchFamily="34" charset="0"/>
                <a:ea typeface="Verdana" panose="020B0604030504040204" pitchFamily="34" charset="0"/>
                <a:cs typeface="Verdana" panose="020B0604030504040204" pitchFamily="34" charset="0"/>
              </a:rPr>
              <a:t>Reaction – Flow &amp; Batch</a:t>
            </a:r>
          </a:p>
          <a:p>
            <a:pPr lvl="1"/>
            <a:r>
              <a:rPr lang="en-IN" dirty="0">
                <a:latin typeface="Verdana" panose="020B0604030504040204" pitchFamily="34" charset="0"/>
                <a:ea typeface="Verdana" panose="020B0604030504040204" pitchFamily="34" charset="0"/>
                <a:cs typeface="Verdana" panose="020B0604030504040204" pitchFamily="34" charset="0"/>
              </a:rPr>
              <a:t>~30 lit </a:t>
            </a:r>
          </a:p>
          <a:p>
            <a:pPr lvl="1"/>
            <a:r>
              <a:rPr lang="en-IN" dirty="0">
                <a:latin typeface="Verdana" panose="020B0604030504040204" pitchFamily="34" charset="0"/>
                <a:ea typeface="Verdana" panose="020B0604030504040204" pitchFamily="34" charset="0"/>
                <a:cs typeface="Verdana" panose="020B0604030504040204" pitchFamily="34" charset="0"/>
              </a:rPr>
              <a:t>~ 200 lit </a:t>
            </a:r>
          </a:p>
          <a:p>
            <a:pPr lvl="1"/>
            <a:r>
              <a:rPr lang="en-IN" dirty="0">
                <a:latin typeface="Verdana" panose="020B0604030504040204" pitchFamily="34" charset="0"/>
                <a:ea typeface="Verdana" panose="020B0604030504040204" pitchFamily="34" charset="0"/>
                <a:cs typeface="Verdana" panose="020B0604030504040204" pitchFamily="34" charset="0"/>
              </a:rPr>
              <a:t>~ 500-1000 lit Production Blocks </a:t>
            </a:r>
          </a:p>
          <a:p>
            <a:endParaRPr lang="en-IN" dirty="0">
              <a:latin typeface="Verdana" panose="020B0604030504040204" pitchFamily="34" charset="0"/>
              <a:ea typeface="Verdana" panose="020B0604030504040204" pitchFamily="34" charset="0"/>
              <a:cs typeface="Verdana" panose="020B0604030504040204" pitchFamily="34" charset="0"/>
            </a:endParaRPr>
          </a:p>
          <a:p>
            <a:r>
              <a:rPr lang="en-IN" dirty="0">
                <a:latin typeface="Verdana" panose="020B0604030504040204" pitchFamily="34" charset="0"/>
                <a:ea typeface="Verdana" panose="020B0604030504040204" pitchFamily="34" charset="0"/>
                <a:cs typeface="Verdana" panose="020B0604030504040204" pitchFamily="34" charset="0"/>
              </a:rPr>
              <a:t>Separation </a:t>
            </a:r>
          </a:p>
          <a:p>
            <a:pPr lvl="1"/>
            <a:r>
              <a:rPr lang="en-IN" dirty="0">
                <a:latin typeface="Verdana" panose="020B0604030504040204" pitchFamily="34" charset="0"/>
                <a:ea typeface="Verdana" panose="020B0604030504040204" pitchFamily="34" charset="0"/>
                <a:cs typeface="Verdana" panose="020B0604030504040204" pitchFamily="34" charset="0"/>
              </a:rPr>
              <a:t>Distillation </a:t>
            </a:r>
          </a:p>
          <a:p>
            <a:pPr lvl="1"/>
            <a:r>
              <a:rPr lang="en-IN" dirty="0">
                <a:latin typeface="Verdana" panose="020B0604030504040204" pitchFamily="34" charset="0"/>
                <a:ea typeface="Verdana" panose="020B0604030504040204" pitchFamily="34" charset="0"/>
                <a:cs typeface="Verdana" panose="020B0604030504040204" pitchFamily="34" charset="0"/>
              </a:rPr>
              <a:t>Filtration </a:t>
            </a:r>
          </a:p>
          <a:p>
            <a:pPr lvl="1"/>
            <a:r>
              <a:rPr lang="en-IN" dirty="0">
                <a:latin typeface="Verdana" panose="020B0604030504040204" pitchFamily="34" charset="0"/>
                <a:ea typeface="Verdana" panose="020B0604030504040204" pitchFamily="34" charset="0"/>
                <a:cs typeface="Verdana" panose="020B0604030504040204" pitchFamily="34" charset="0"/>
              </a:rPr>
              <a:t>Solvent Extraction </a:t>
            </a:r>
          </a:p>
          <a:p>
            <a:pPr lvl="1"/>
            <a:r>
              <a:rPr lang="en-IN" dirty="0">
                <a:latin typeface="Verdana" panose="020B0604030504040204" pitchFamily="34" charset="0"/>
                <a:ea typeface="Verdana" panose="020B0604030504040204" pitchFamily="34" charset="0"/>
                <a:cs typeface="Verdana" panose="020B0604030504040204" pitchFamily="34" charset="0"/>
              </a:rPr>
              <a:t>ATFDs </a:t>
            </a:r>
          </a:p>
          <a:p>
            <a:pPr lvl="1"/>
            <a:r>
              <a:rPr lang="en-IN" dirty="0">
                <a:latin typeface="Verdana" panose="020B0604030504040204" pitchFamily="34" charset="0"/>
                <a:ea typeface="Verdana" panose="020B0604030504040204" pitchFamily="34" charset="0"/>
                <a:cs typeface="Verdana" panose="020B0604030504040204" pitchFamily="34" charset="0"/>
              </a:rPr>
              <a:t>Falling Film Evaporators</a:t>
            </a:r>
          </a:p>
          <a:p>
            <a:pPr lvl="1"/>
            <a:r>
              <a:rPr lang="en-IN" dirty="0">
                <a:latin typeface="Verdana" panose="020B0604030504040204" pitchFamily="34" charset="0"/>
                <a:ea typeface="Verdana" panose="020B0604030504040204" pitchFamily="34" charset="0"/>
                <a:cs typeface="Verdana" panose="020B0604030504040204" pitchFamily="34" charset="0"/>
              </a:rPr>
              <a:t>etc</a:t>
            </a:r>
          </a:p>
          <a:p>
            <a:endParaRPr lang="en-IN" dirty="0">
              <a:latin typeface="Verdana" panose="020B0604030504040204" pitchFamily="34" charset="0"/>
              <a:ea typeface="Verdana" panose="020B0604030504040204" pitchFamily="34" charset="0"/>
              <a:cs typeface="Verdana" panose="020B0604030504040204" pitchFamily="34" charset="0"/>
            </a:endParaRPr>
          </a:p>
          <a:p>
            <a:r>
              <a:rPr lang="en-IN" dirty="0">
                <a:latin typeface="Verdana" panose="020B0604030504040204" pitchFamily="34" charset="0"/>
                <a:ea typeface="Verdana" panose="020B0604030504040204" pitchFamily="34" charset="0"/>
                <a:cs typeface="Verdana" panose="020B0604030504040204" pitchFamily="34" charset="0"/>
              </a:rPr>
              <a:t>Various </a:t>
            </a:r>
            <a:r>
              <a:rPr lang="en-IN" dirty="0" err="1">
                <a:latin typeface="Verdana" panose="020B0604030504040204" pitchFamily="34" charset="0"/>
                <a:ea typeface="Verdana" panose="020B0604030504040204" pitchFamily="34" charset="0"/>
                <a:cs typeface="Verdana" panose="020B0604030504040204" pitchFamily="34" charset="0"/>
              </a:rPr>
              <a:t>MoCs</a:t>
            </a:r>
            <a:endParaRPr lang="en-IN" dirty="0">
              <a:latin typeface="Verdana" panose="020B0604030504040204" pitchFamily="34" charset="0"/>
              <a:ea typeface="Verdana" panose="020B0604030504040204" pitchFamily="34" charset="0"/>
              <a:cs typeface="Verdana" panose="020B0604030504040204" pitchFamily="34" charset="0"/>
            </a:endParaRPr>
          </a:p>
          <a:p>
            <a:pPr lvl="1"/>
            <a:r>
              <a:rPr lang="en-IN" dirty="0">
                <a:latin typeface="Verdana" panose="020B0604030504040204" pitchFamily="34" charset="0"/>
                <a:ea typeface="Verdana" panose="020B0604030504040204" pitchFamily="34" charset="0"/>
                <a:cs typeface="Verdana" panose="020B0604030504040204" pitchFamily="34" charset="0"/>
              </a:rPr>
              <a:t>SS 316 L</a:t>
            </a:r>
          </a:p>
          <a:p>
            <a:pPr lvl="1"/>
            <a:r>
              <a:rPr lang="en-IN" dirty="0">
                <a:latin typeface="Verdana" panose="020B0604030504040204" pitchFamily="34" charset="0"/>
                <a:ea typeface="Verdana" panose="020B0604030504040204" pitchFamily="34" charset="0"/>
                <a:cs typeface="Verdana" panose="020B0604030504040204" pitchFamily="34" charset="0"/>
              </a:rPr>
              <a:t>Glass</a:t>
            </a:r>
          </a:p>
          <a:p>
            <a:pPr lvl="1"/>
            <a:r>
              <a:rPr lang="en-IN" dirty="0">
                <a:latin typeface="Verdana" panose="020B0604030504040204" pitchFamily="34" charset="0"/>
                <a:ea typeface="Verdana" panose="020B0604030504040204" pitchFamily="34" charset="0"/>
                <a:cs typeface="Verdana" panose="020B0604030504040204" pitchFamily="34" charset="0"/>
              </a:rPr>
              <a:t>MSGL </a:t>
            </a:r>
          </a:p>
          <a:p>
            <a:pPr lvl="1"/>
            <a:r>
              <a:rPr lang="en-IN" dirty="0">
                <a:latin typeface="Verdana" panose="020B0604030504040204" pitchFamily="34" charset="0"/>
                <a:ea typeface="Verdana" panose="020B0604030504040204" pitchFamily="34" charset="0"/>
                <a:cs typeface="Verdana" panose="020B0604030504040204" pitchFamily="34" charset="0"/>
              </a:rPr>
              <a:t>Titanium </a:t>
            </a:r>
          </a:p>
          <a:p>
            <a:pPr lvl="1"/>
            <a:r>
              <a:rPr lang="en-IN" dirty="0">
                <a:latin typeface="Verdana" panose="020B0604030504040204" pitchFamily="34" charset="0"/>
                <a:ea typeface="Verdana" panose="020B0604030504040204" pitchFamily="34" charset="0"/>
                <a:cs typeface="Verdana" panose="020B0604030504040204" pitchFamily="34" charset="0"/>
              </a:rPr>
              <a:t>Hastelloy</a:t>
            </a:r>
          </a:p>
          <a:p>
            <a:endParaRPr lang="en-IN" dirty="0">
              <a:latin typeface="Verdana" panose="020B0604030504040204" pitchFamily="34" charset="0"/>
              <a:ea typeface="Verdana" panose="020B0604030504040204" pitchFamily="34" charset="0"/>
              <a:cs typeface="Verdana" panose="020B0604030504040204" pitchFamily="34" charset="0"/>
            </a:endParaRPr>
          </a:p>
          <a:p>
            <a:r>
              <a:rPr lang="en-IN" dirty="0">
                <a:latin typeface="Verdana" panose="020B0604030504040204" pitchFamily="34" charset="0"/>
                <a:ea typeface="Verdana" panose="020B0604030504040204" pitchFamily="34" charset="0"/>
                <a:cs typeface="Verdana" panose="020B0604030504040204" pitchFamily="34" charset="0"/>
              </a:rPr>
              <a:t>Extensive SCADA, Parameter control, &amp; Safety Interlocks</a:t>
            </a:r>
          </a:p>
        </p:txBody>
      </p:sp>
      <p:sp>
        <p:nvSpPr>
          <p:cNvPr id="6" name="Footer Placeholder 3">
            <a:extLst>
              <a:ext uri="{FF2B5EF4-FFF2-40B4-BE49-F238E27FC236}">
                <a16:creationId xmlns:a16="http://schemas.microsoft.com/office/drawing/2014/main" id="{9861504A-4355-43E9-9665-33CCB530C2A1}"/>
              </a:ext>
            </a:extLst>
          </p:cNvPr>
          <p:cNvSpPr>
            <a:spLocks noGrp="1"/>
          </p:cNvSpPr>
          <p:nvPr>
            <p:ph type="ftr" sz="quarter" idx="11"/>
          </p:nvPr>
        </p:nvSpPr>
        <p:spPr>
          <a:xfrm>
            <a:off x="6361043" y="6337816"/>
            <a:ext cx="461507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Copyright © 2005-2024  Inventys Research Company, All Rights Reserved. </a:t>
            </a:r>
          </a:p>
        </p:txBody>
      </p:sp>
      <p:sp>
        <p:nvSpPr>
          <p:cNvPr id="7" name="Slide Number Placeholder 4">
            <a:extLst>
              <a:ext uri="{FF2B5EF4-FFF2-40B4-BE49-F238E27FC236}">
                <a16:creationId xmlns:a16="http://schemas.microsoft.com/office/drawing/2014/main" id="{75A3F679-98A8-476A-82E0-D0B4C072FB97}"/>
              </a:ext>
            </a:extLst>
          </p:cNvPr>
          <p:cNvSpPr>
            <a:spLocks noGrp="1"/>
          </p:cNvSpPr>
          <p:nvPr>
            <p:ph type="sldNum" sz="quarter" idx="12"/>
          </p:nvPr>
        </p:nvSpPr>
        <p:spPr>
          <a:xfrm>
            <a:off x="11072190" y="6337816"/>
            <a:ext cx="370167"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7212B-DAB7-41D9-8B3C-111279E9B140}" type="slidenum">
              <a:rPr kumimoji="0" lang="en-US" sz="1050" b="0" i="0" u="none" strike="noStrike" kern="1200" cap="none" spc="0" normalizeH="0" baseline="0" noProof="0" smtClean="0">
                <a:ln>
                  <a:noFill/>
                </a:ln>
                <a:solidFill>
                  <a:prstClr val="white"/>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50"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1933977653"/>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1C5289"/>
        </a:solidFill>
        <a:effectLst/>
      </p:bgPr>
    </p:bg>
    <p:spTree>
      <p:nvGrpSpPr>
        <p:cNvPr id="1" name=""/>
        <p:cNvGrpSpPr/>
        <p:nvPr/>
      </p:nvGrpSpPr>
      <p:grpSpPr>
        <a:xfrm>
          <a:off x="0" y="0"/>
          <a:ext cx="0" cy="0"/>
          <a:chOff x="0" y="0"/>
          <a:chExt cx="0" cy="0"/>
        </a:xfrm>
      </p:grpSpPr>
      <p:sp>
        <p:nvSpPr>
          <p:cNvPr id="44" name="Freeform: Shape 43">
            <a:extLst>
              <a:ext uri="{FF2B5EF4-FFF2-40B4-BE49-F238E27FC236}">
                <a16:creationId xmlns:a16="http://schemas.microsoft.com/office/drawing/2014/main" id="{5CCA8D64-FB7F-48A3-B754-484722016B1E}"/>
              </a:ext>
            </a:extLst>
          </p:cNvPr>
          <p:cNvSpPr/>
          <p:nvPr/>
        </p:nvSpPr>
        <p:spPr>
          <a:xfrm>
            <a:off x="8258179" y="3273621"/>
            <a:ext cx="3933820" cy="3584380"/>
          </a:xfrm>
          <a:custGeom>
            <a:avLst/>
            <a:gdLst>
              <a:gd name="connsiteX0" fmla="*/ 5093361 w 7157772"/>
              <a:gd name="connsiteY0" fmla="*/ 0 h 6521949"/>
              <a:gd name="connsiteX1" fmla="*/ 7075927 w 7157772"/>
              <a:gd name="connsiteY1" fmla="*/ 400262 h 6521949"/>
              <a:gd name="connsiteX2" fmla="*/ 7157772 w 7157772"/>
              <a:gd name="connsiteY2" fmla="*/ 437263 h 6521949"/>
              <a:gd name="connsiteX3" fmla="*/ 7157772 w 7157772"/>
              <a:gd name="connsiteY3" fmla="*/ 6521949 h 6521949"/>
              <a:gd name="connsiteX4" fmla="*/ 204560 w 7157772"/>
              <a:gd name="connsiteY4" fmla="*/ 6521949 h 6521949"/>
              <a:gd name="connsiteX5" fmla="*/ 160353 w 7157772"/>
              <a:gd name="connsiteY5" fmla="*/ 6366272 h 6521949"/>
              <a:gd name="connsiteX6" fmla="*/ 0 w 7157772"/>
              <a:gd name="connsiteY6" fmla="*/ 5093361 h 6521949"/>
              <a:gd name="connsiteX7" fmla="*/ 5093361 w 7157772"/>
              <a:gd name="connsiteY7" fmla="*/ 0 h 652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7772" h="6521949">
                <a:moveTo>
                  <a:pt x="5093361" y="0"/>
                </a:moveTo>
                <a:cubicBezTo>
                  <a:pt x="5796607" y="0"/>
                  <a:pt x="6466566" y="142524"/>
                  <a:pt x="7075927" y="400262"/>
                </a:cubicBezTo>
                <a:lnTo>
                  <a:pt x="7157772" y="437263"/>
                </a:lnTo>
                <a:lnTo>
                  <a:pt x="7157772" y="6521949"/>
                </a:lnTo>
                <a:lnTo>
                  <a:pt x="204560" y="6521949"/>
                </a:lnTo>
                <a:lnTo>
                  <a:pt x="160353" y="6366272"/>
                </a:lnTo>
                <a:cubicBezTo>
                  <a:pt x="55674" y="5959416"/>
                  <a:pt x="0" y="5532890"/>
                  <a:pt x="0" y="5093361"/>
                </a:cubicBezTo>
                <a:cubicBezTo>
                  <a:pt x="0" y="2280375"/>
                  <a:pt x="2280375" y="0"/>
                  <a:pt x="509336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7" name="Rectangle 6">
            <a:extLst>
              <a:ext uri="{FF2B5EF4-FFF2-40B4-BE49-F238E27FC236}">
                <a16:creationId xmlns:a16="http://schemas.microsoft.com/office/drawing/2014/main" id="{38C40690-1A34-44AE-856A-E6C291EE1B3E}"/>
              </a:ext>
            </a:extLst>
          </p:cNvPr>
          <p:cNvSpPr/>
          <p:nvPr/>
        </p:nvSpPr>
        <p:spPr>
          <a:xfrm>
            <a:off x="0" y="1440491"/>
            <a:ext cx="12192000" cy="212604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86B25180-1633-42EB-B21D-115CC4B2E510}"/>
              </a:ext>
            </a:extLst>
          </p:cNvPr>
          <p:cNvSpPr>
            <a:spLocks noGrp="1"/>
          </p:cNvSpPr>
          <p:nvPr>
            <p:ph type="title"/>
          </p:nvPr>
        </p:nvSpPr>
        <p:spPr>
          <a:xfrm>
            <a:off x="838200" y="414518"/>
            <a:ext cx="10515600" cy="886397"/>
          </a:xfrm>
        </p:spPr>
        <p:txBody>
          <a:bodyPr/>
          <a:lstStyle/>
          <a:p>
            <a:r>
              <a:rPr lang="en-US" dirty="0">
                <a:solidFill>
                  <a:schemeClr val="bg1"/>
                </a:solidFill>
              </a:rPr>
              <a:t>Integrated Manufacturing Site 1 – </a:t>
            </a:r>
            <a:br>
              <a:rPr lang="en-US" dirty="0">
                <a:solidFill>
                  <a:schemeClr val="bg1"/>
                </a:solidFill>
              </a:rPr>
            </a:br>
            <a:r>
              <a:rPr lang="en-US" dirty="0">
                <a:solidFill>
                  <a:schemeClr val="accent3"/>
                </a:solidFill>
              </a:rPr>
              <a:t>Pharma &amp; Specialty Chemicals</a:t>
            </a:r>
          </a:p>
        </p:txBody>
      </p:sp>
      <p:sp>
        <p:nvSpPr>
          <p:cNvPr id="5" name="Slide Number Placeholder 4">
            <a:extLst>
              <a:ext uri="{FF2B5EF4-FFF2-40B4-BE49-F238E27FC236}">
                <a16:creationId xmlns:a16="http://schemas.microsoft.com/office/drawing/2014/main" id="{57729632-4BA6-4E9D-802B-46C5BB4D31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7212B-DAB7-41D9-8B3C-111279E9B140}" type="slidenum">
              <a:rPr kumimoji="0" lang="en-US" sz="1050" b="0" i="0" u="none" strike="noStrike" kern="1200" cap="none" spc="0" normalizeH="0" baseline="0" noProof="0" smtClean="0">
                <a:ln>
                  <a:noFill/>
                </a:ln>
                <a:solidFill>
                  <a:prstClr val="white"/>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50" b="0" i="0" u="none" strike="noStrike" kern="1200" cap="none" spc="0" normalizeH="0" baseline="0" noProof="0">
              <a:ln>
                <a:noFill/>
              </a:ln>
              <a:solidFill>
                <a:prstClr val="white"/>
              </a:solidFill>
              <a:effectLst/>
              <a:uLnTx/>
              <a:uFillTx/>
              <a:latin typeface="Segoe UI"/>
              <a:ea typeface="+mn-ea"/>
              <a:cs typeface="+mn-cs"/>
            </a:endParaRPr>
          </a:p>
        </p:txBody>
      </p:sp>
      <p:pic>
        <p:nvPicPr>
          <p:cNvPr id="6" name="Picture 5" descr="A picture containing text, building, outdoor, city&#10;&#10;Description automatically generated">
            <a:extLst>
              <a:ext uri="{FF2B5EF4-FFF2-40B4-BE49-F238E27FC236}">
                <a16:creationId xmlns:a16="http://schemas.microsoft.com/office/drawing/2014/main" id="{FF09E457-B8F6-4667-A1D3-B866DD1F2CC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4266" r="5353" b="1983"/>
          <a:stretch/>
        </p:blipFill>
        <p:spPr>
          <a:xfrm>
            <a:off x="0" y="1440491"/>
            <a:ext cx="5037102" cy="2126049"/>
          </a:xfrm>
          <a:prstGeom prst="rect">
            <a:avLst/>
          </a:prstGeom>
        </p:spPr>
      </p:pic>
      <p:grpSp>
        <p:nvGrpSpPr>
          <p:cNvPr id="26" name="Group 25">
            <a:extLst>
              <a:ext uri="{FF2B5EF4-FFF2-40B4-BE49-F238E27FC236}">
                <a16:creationId xmlns:a16="http://schemas.microsoft.com/office/drawing/2014/main" id="{6EB66326-4E5B-4D11-B6C0-A151A63FECA7}"/>
              </a:ext>
            </a:extLst>
          </p:cNvPr>
          <p:cNvGrpSpPr/>
          <p:nvPr/>
        </p:nvGrpSpPr>
        <p:grpSpPr>
          <a:xfrm>
            <a:off x="5502894" y="1657551"/>
            <a:ext cx="5896705" cy="1746228"/>
            <a:chOff x="5617194" y="1626755"/>
            <a:chExt cx="5896705" cy="1746228"/>
          </a:xfrm>
        </p:grpSpPr>
        <p:sp>
          <p:nvSpPr>
            <p:cNvPr id="9" name="Rectangle: Rounded Corners 8">
              <a:extLst>
                <a:ext uri="{FF2B5EF4-FFF2-40B4-BE49-F238E27FC236}">
                  <a16:creationId xmlns:a16="http://schemas.microsoft.com/office/drawing/2014/main" id="{A216B054-F8CA-470D-AA5D-470E79C59597}"/>
                </a:ext>
              </a:extLst>
            </p:cNvPr>
            <p:cNvSpPr/>
            <p:nvPr/>
          </p:nvSpPr>
          <p:spPr>
            <a:xfrm>
              <a:off x="5617194" y="1626755"/>
              <a:ext cx="2296128" cy="599768"/>
            </a:xfrm>
            <a:prstGeom prst="roundRect">
              <a:avLst/>
            </a:prstGeom>
            <a:solidFill>
              <a:srgbClr val="ACCF59"/>
            </a:solidFill>
            <a:ln w="95250">
              <a:no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mn-ea"/>
                  <a:cs typeface="+mn-cs"/>
                </a:rPr>
                <a:t>Concept</a:t>
              </a:r>
            </a:p>
          </p:txBody>
        </p:sp>
        <p:sp>
          <p:nvSpPr>
            <p:cNvPr id="10" name="Rectangle: Rounded Corners 9">
              <a:extLst>
                <a:ext uri="{FF2B5EF4-FFF2-40B4-BE49-F238E27FC236}">
                  <a16:creationId xmlns:a16="http://schemas.microsoft.com/office/drawing/2014/main" id="{3FBAC7FC-B0A7-42A3-9535-A18DBB0A12C2}"/>
                </a:ext>
              </a:extLst>
            </p:cNvPr>
            <p:cNvSpPr/>
            <p:nvPr/>
          </p:nvSpPr>
          <p:spPr>
            <a:xfrm>
              <a:off x="9171971" y="1626755"/>
              <a:ext cx="2296128" cy="599768"/>
            </a:xfrm>
            <a:prstGeom prst="roundRect">
              <a:avLst/>
            </a:prstGeom>
            <a:solidFill>
              <a:srgbClr val="FBB425"/>
            </a:solidFill>
            <a:ln w="95250">
              <a:no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Segoe UI"/>
                  <a:ea typeface="+mn-ea"/>
                  <a:cs typeface="+mn-cs"/>
                </a:rPr>
                <a:t>Manufacturing</a:t>
              </a:r>
            </a:p>
          </p:txBody>
        </p:sp>
        <p:cxnSp>
          <p:nvCxnSpPr>
            <p:cNvPr id="12" name="Straight Arrow Connector 11">
              <a:extLst>
                <a:ext uri="{FF2B5EF4-FFF2-40B4-BE49-F238E27FC236}">
                  <a16:creationId xmlns:a16="http://schemas.microsoft.com/office/drawing/2014/main" id="{BA7E3BC6-EF4A-4398-88E7-E1E631A76F45}"/>
                </a:ext>
              </a:extLst>
            </p:cNvPr>
            <p:cNvCxnSpPr>
              <a:cxnSpLocks/>
            </p:cNvCxnSpPr>
            <p:nvPr/>
          </p:nvCxnSpPr>
          <p:spPr>
            <a:xfrm>
              <a:off x="7913322" y="1926639"/>
              <a:ext cx="1258649"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6658665F-3A34-4014-A199-38DDB2C8BB5C}"/>
                </a:ext>
              </a:extLst>
            </p:cNvPr>
            <p:cNvGrpSpPr/>
            <p:nvPr/>
          </p:nvGrpSpPr>
          <p:grpSpPr>
            <a:xfrm>
              <a:off x="5721969" y="2424807"/>
              <a:ext cx="5791930" cy="948176"/>
              <a:chOff x="5721969" y="2461259"/>
              <a:chExt cx="5791930" cy="948176"/>
            </a:xfrm>
          </p:grpSpPr>
          <p:sp>
            <p:nvSpPr>
              <p:cNvPr id="13" name="TextBox 12">
                <a:extLst>
                  <a:ext uri="{FF2B5EF4-FFF2-40B4-BE49-F238E27FC236}">
                    <a16:creationId xmlns:a16="http://schemas.microsoft.com/office/drawing/2014/main" id="{9FC4A1B8-8502-4111-84FA-9A2CA9B29ADD}"/>
                  </a:ext>
                </a:extLst>
              </p:cNvPr>
              <p:cNvSpPr txBox="1"/>
              <p:nvPr/>
            </p:nvSpPr>
            <p:spPr>
              <a:xfrm>
                <a:off x="5721969" y="2763104"/>
                <a:ext cx="1448531"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Synthesis Strategy to Process Development </a:t>
                </a:r>
              </a:p>
            </p:txBody>
          </p:sp>
          <p:sp>
            <p:nvSpPr>
              <p:cNvPr id="15" name="TextBox 14">
                <a:extLst>
                  <a:ext uri="{FF2B5EF4-FFF2-40B4-BE49-F238E27FC236}">
                    <a16:creationId xmlns:a16="http://schemas.microsoft.com/office/drawing/2014/main" id="{7D934390-3D00-48BD-9F65-B8F0DA35EEE5}"/>
                  </a:ext>
                </a:extLst>
              </p:cNvPr>
              <p:cNvSpPr txBox="1"/>
              <p:nvPr/>
            </p:nvSpPr>
            <p:spPr>
              <a:xfrm>
                <a:off x="7333229" y="2763104"/>
                <a:ext cx="1080985"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a:ea typeface="+mn-ea"/>
                    <a:cs typeface="+mn-cs"/>
                  </a:rPr>
                  <a:t>Scale up to Commercial Production</a:t>
                </a:r>
              </a:p>
            </p:txBody>
          </p:sp>
          <p:sp>
            <p:nvSpPr>
              <p:cNvPr id="16" name="TextBox 15">
                <a:extLst>
                  <a:ext uri="{FF2B5EF4-FFF2-40B4-BE49-F238E27FC236}">
                    <a16:creationId xmlns:a16="http://schemas.microsoft.com/office/drawing/2014/main" id="{B8976751-63C5-4FF9-AF02-CFBBEDCF3302}"/>
                  </a:ext>
                </a:extLst>
              </p:cNvPr>
              <p:cNvSpPr txBox="1"/>
              <p:nvPr/>
            </p:nvSpPr>
            <p:spPr>
              <a:xfrm>
                <a:off x="8617569" y="2763104"/>
                <a:ext cx="1448531"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a:ea typeface="+mn-ea"/>
                    <a:cs typeface="+mn-cs"/>
                  </a:rPr>
                  <a:t>Continuous Improvement </a:t>
                </a:r>
              </a:p>
            </p:txBody>
          </p:sp>
          <p:sp>
            <p:nvSpPr>
              <p:cNvPr id="17" name="TextBox 16">
                <a:extLst>
                  <a:ext uri="{FF2B5EF4-FFF2-40B4-BE49-F238E27FC236}">
                    <a16:creationId xmlns:a16="http://schemas.microsoft.com/office/drawing/2014/main" id="{33D78F3B-DE50-4E07-9161-DF5FA634D59C}"/>
                  </a:ext>
                </a:extLst>
              </p:cNvPr>
              <p:cNvSpPr txBox="1"/>
              <p:nvPr/>
            </p:nvSpPr>
            <p:spPr>
              <a:xfrm>
                <a:off x="10065368" y="2763104"/>
                <a:ext cx="1448531"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Quality Assurance &amp; Quality Control</a:t>
                </a:r>
              </a:p>
            </p:txBody>
          </p:sp>
          <p:pic>
            <p:nvPicPr>
              <p:cNvPr id="19" name="Graphic 18">
                <a:extLst>
                  <a:ext uri="{FF2B5EF4-FFF2-40B4-BE49-F238E27FC236}">
                    <a16:creationId xmlns:a16="http://schemas.microsoft.com/office/drawing/2014/main" id="{39A0ED59-27AE-400B-A743-E909615761C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29730" y="2461259"/>
                <a:ext cx="228600" cy="228600"/>
              </a:xfrm>
              <a:prstGeom prst="rect">
                <a:avLst/>
              </a:prstGeom>
            </p:spPr>
          </p:pic>
          <p:pic>
            <p:nvPicPr>
              <p:cNvPr id="20" name="Graphic 19">
                <a:extLst>
                  <a:ext uri="{FF2B5EF4-FFF2-40B4-BE49-F238E27FC236}">
                    <a16:creationId xmlns:a16="http://schemas.microsoft.com/office/drawing/2014/main" id="{313D3955-0460-4DBD-8469-C5E7D435D9F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33230" y="2461259"/>
                <a:ext cx="228600" cy="228600"/>
              </a:xfrm>
              <a:prstGeom prst="rect">
                <a:avLst/>
              </a:prstGeom>
            </p:spPr>
          </p:pic>
          <p:pic>
            <p:nvPicPr>
              <p:cNvPr id="21" name="Graphic 20">
                <a:extLst>
                  <a:ext uri="{FF2B5EF4-FFF2-40B4-BE49-F238E27FC236}">
                    <a16:creationId xmlns:a16="http://schemas.microsoft.com/office/drawing/2014/main" id="{EFFFE592-070D-4D70-9F42-32C407F1505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617569" y="2461259"/>
                <a:ext cx="228600" cy="228600"/>
              </a:xfrm>
              <a:prstGeom prst="rect">
                <a:avLst/>
              </a:prstGeom>
            </p:spPr>
          </p:pic>
          <p:pic>
            <p:nvPicPr>
              <p:cNvPr id="22" name="Graphic 21">
                <a:extLst>
                  <a:ext uri="{FF2B5EF4-FFF2-40B4-BE49-F238E27FC236}">
                    <a16:creationId xmlns:a16="http://schemas.microsoft.com/office/drawing/2014/main" id="{7107340A-D7E1-4E6E-A85B-AC2A472ADE1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91435" y="2461259"/>
                <a:ext cx="228600" cy="228600"/>
              </a:xfrm>
              <a:prstGeom prst="rect">
                <a:avLst/>
              </a:prstGeom>
            </p:spPr>
          </p:pic>
        </p:grpSp>
      </p:grpSp>
      <p:grpSp>
        <p:nvGrpSpPr>
          <p:cNvPr id="36" name="Group 35">
            <a:extLst>
              <a:ext uri="{FF2B5EF4-FFF2-40B4-BE49-F238E27FC236}">
                <a16:creationId xmlns:a16="http://schemas.microsoft.com/office/drawing/2014/main" id="{784C08F7-A501-4805-8EC0-2EB62EE9401E}"/>
              </a:ext>
            </a:extLst>
          </p:cNvPr>
          <p:cNvGrpSpPr/>
          <p:nvPr/>
        </p:nvGrpSpPr>
        <p:grpSpPr>
          <a:xfrm>
            <a:off x="838200" y="3701661"/>
            <a:ext cx="3255086" cy="2396181"/>
            <a:chOff x="838200" y="3938675"/>
            <a:chExt cx="3255086" cy="2396181"/>
          </a:xfrm>
        </p:grpSpPr>
        <p:cxnSp>
          <p:nvCxnSpPr>
            <p:cNvPr id="35" name="Straight Connector 34">
              <a:extLst>
                <a:ext uri="{FF2B5EF4-FFF2-40B4-BE49-F238E27FC236}">
                  <a16:creationId xmlns:a16="http://schemas.microsoft.com/office/drawing/2014/main" id="{4C5D9200-74B1-4F8E-A846-23E225E9053C}"/>
                </a:ext>
              </a:extLst>
            </p:cNvPr>
            <p:cNvCxnSpPr>
              <a:cxnSpLocks/>
            </p:cNvCxnSpPr>
            <p:nvPr/>
          </p:nvCxnSpPr>
          <p:spPr>
            <a:xfrm>
              <a:off x="1053281" y="4290006"/>
              <a:ext cx="0" cy="2044850"/>
            </a:xfrm>
            <a:prstGeom prst="line">
              <a:avLst/>
            </a:prstGeom>
            <a:ln>
              <a:solidFill>
                <a:schemeClr val="bg1">
                  <a:lumMod val="85000"/>
                  <a:alpha val="68000"/>
                </a:schemeClr>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F68E81B-BF4A-435A-B71A-2967E7E82AA2}"/>
                </a:ext>
              </a:extLst>
            </p:cNvPr>
            <p:cNvSpPr txBox="1"/>
            <p:nvPr/>
          </p:nvSpPr>
          <p:spPr>
            <a:xfrm>
              <a:off x="1477560" y="3977012"/>
              <a:ext cx="2081981"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goe UI"/>
                  <a:ea typeface="+mn-ea"/>
                  <a:cs typeface="+mn-cs"/>
                </a:rPr>
                <a:t>Laboratories </a:t>
              </a:r>
            </a:p>
          </p:txBody>
        </p:sp>
        <p:sp>
          <p:nvSpPr>
            <p:cNvPr id="29" name="TextBox 28">
              <a:extLst>
                <a:ext uri="{FF2B5EF4-FFF2-40B4-BE49-F238E27FC236}">
                  <a16:creationId xmlns:a16="http://schemas.microsoft.com/office/drawing/2014/main" id="{18AB0FF8-513C-4EFD-A40A-112BD48A7789}"/>
                </a:ext>
              </a:extLst>
            </p:cNvPr>
            <p:cNvSpPr txBox="1"/>
            <p:nvPr/>
          </p:nvSpPr>
          <p:spPr>
            <a:xfrm>
              <a:off x="1477559" y="4264875"/>
              <a:ext cx="2615727" cy="861774"/>
            </a:xfrm>
            <a:prstGeom prst="rect">
              <a:avLst/>
            </a:prstGeom>
            <a:noFill/>
          </p:spPr>
          <p:txBody>
            <a:bodyPr wrap="square" lIns="0" tIns="0" rIns="0" bIns="0" rtlCol="0">
              <a:spAutoFit/>
            </a:bodyPr>
            <a:lstStyle/>
            <a:p>
              <a:pPr marL="225425" marR="0" lvl="0" indent="-225425"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R&amp;D (Batch/Flow) &amp; ADL </a:t>
              </a:r>
            </a:p>
            <a:p>
              <a:pPr marL="225425" marR="0" lvl="0" indent="-225425"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Process Safety &amp; Hazards, Effluent Treatment,</a:t>
              </a:r>
            </a:p>
            <a:p>
              <a:pPr marL="225425" marR="0" lvl="0" indent="-225425"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QC, QA, &amp; Microbiology </a:t>
              </a:r>
            </a:p>
          </p:txBody>
        </p:sp>
        <p:sp>
          <p:nvSpPr>
            <p:cNvPr id="30" name="TextBox 29">
              <a:extLst>
                <a:ext uri="{FF2B5EF4-FFF2-40B4-BE49-F238E27FC236}">
                  <a16:creationId xmlns:a16="http://schemas.microsoft.com/office/drawing/2014/main" id="{6A59BCE8-532D-4DEB-AB6D-71F14C2ED152}"/>
                </a:ext>
              </a:extLst>
            </p:cNvPr>
            <p:cNvSpPr txBox="1"/>
            <p:nvPr/>
          </p:nvSpPr>
          <p:spPr>
            <a:xfrm>
              <a:off x="1477560" y="5166065"/>
              <a:ext cx="2081981"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Segoe UI"/>
                  <a:ea typeface="+mn-ea"/>
                  <a:cs typeface="+mn-cs"/>
                </a:rPr>
                <a:t>Kilo Labs &amp; Pilot Plants</a:t>
              </a:r>
            </a:p>
          </p:txBody>
        </p:sp>
        <p:sp>
          <p:nvSpPr>
            <p:cNvPr id="31" name="TextBox 30">
              <a:extLst>
                <a:ext uri="{FF2B5EF4-FFF2-40B4-BE49-F238E27FC236}">
                  <a16:creationId xmlns:a16="http://schemas.microsoft.com/office/drawing/2014/main" id="{CFCE1CE2-D8CB-46AD-86AA-FCC89FBED26D}"/>
                </a:ext>
              </a:extLst>
            </p:cNvPr>
            <p:cNvSpPr txBox="1"/>
            <p:nvPr/>
          </p:nvSpPr>
          <p:spPr>
            <a:xfrm>
              <a:off x="1477560" y="5453928"/>
              <a:ext cx="2548283" cy="861774"/>
            </a:xfrm>
            <a:prstGeom prst="rect">
              <a:avLst/>
            </a:prstGeom>
            <a:noFill/>
          </p:spPr>
          <p:txBody>
            <a:bodyPr wrap="square" lIns="0" tIns="0" rIns="0" bIns="0" rtlCol="0">
              <a:spAutoFit/>
            </a:bodyPr>
            <a:lstStyle/>
            <a:p>
              <a:pPr marL="225425" marR="0" lvl="0" indent="-225425"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Scale up Studies (12 reactors)</a:t>
              </a:r>
            </a:p>
            <a:p>
              <a:pPr marL="225425" marR="0" lvl="0" indent="-225425"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Small Lot </a:t>
              </a:r>
              <a:r>
                <a:rPr kumimoji="0" lang="en-US" sz="1400" b="0" i="0" u="none" strike="noStrike" kern="1200" cap="none" spc="0" normalizeH="0" baseline="0" noProof="0" dirty="0" err="1">
                  <a:ln>
                    <a:noFill/>
                  </a:ln>
                  <a:solidFill>
                    <a:prstClr val="white"/>
                  </a:solidFill>
                  <a:effectLst/>
                  <a:uLnTx/>
                  <a:uFillTx/>
                  <a:latin typeface="Segoe UI"/>
                  <a:ea typeface="+mn-ea"/>
                  <a:cs typeface="+mn-cs"/>
                </a:rPr>
                <a:t>Mfg</a:t>
              </a:r>
              <a:r>
                <a:rPr kumimoji="0" lang="en-US" sz="1400" b="0" i="0" u="none" strike="noStrike" kern="1200" cap="none" spc="0" normalizeH="0" baseline="0" noProof="0" dirty="0">
                  <a:ln>
                    <a:noFill/>
                  </a:ln>
                  <a:solidFill>
                    <a:prstClr val="white"/>
                  </a:solidFill>
                  <a:effectLst/>
                  <a:uLnTx/>
                  <a:uFillTx/>
                  <a:latin typeface="Segoe UI"/>
                  <a:ea typeface="+mn-ea"/>
                  <a:cs typeface="+mn-cs"/>
                </a:rPr>
                <a:t> (29 reactors)</a:t>
              </a:r>
            </a:p>
            <a:p>
              <a:pPr marL="225425" marR="0" lvl="0" indent="-225425"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BB425"/>
                  </a:solidFill>
                  <a:effectLst/>
                  <a:uLnTx/>
                  <a:uFillTx/>
                  <a:latin typeface="Segoe UI"/>
                  <a:ea typeface="+mn-ea"/>
                  <a:cs typeface="+mn-cs"/>
                </a:rPr>
                <a:t>Total 41 reactors</a:t>
              </a:r>
            </a:p>
            <a:p>
              <a:pPr marL="225425" marR="0" lvl="0" indent="-225425"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BB425"/>
                  </a:solidFill>
                  <a:effectLst/>
                  <a:uLnTx/>
                  <a:uFillTx/>
                  <a:latin typeface="Segoe UI"/>
                  <a:ea typeface="+mn-ea"/>
                  <a:cs typeface="+mn-cs"/>
                </a:rPr>
                <a:t>30 – 300 – 1000 lit</a:t>
              </a:r>
            </a:p>
          </p:txBody>
        </p:sp>
        <p:sp>
          <p:nvSpPr>
            <p:cNvPr id="32" name="Oval 31">
              <a:extLst>
                <a:ext uri="{FF2B5EF4-FFF2-40B4-BE49-F238E27FC236}">
                  <a16:creationId xmlns:a16="http://schemas.microsoft.com/office/drawing/2014/main" id="{FBFAE970-23B0-4B7D-97C7-750B799537A0}"/>
                </a:ext>
              </a:extLst>
            </p:cNvPr>
            <p:cNvSpPr/>
            <p:nvPr/>
          </p:nvSpPr>
          <p:spPr>
            <a:xfrm>
              <a:off x="838200" y="3938675"/>
              <a:ext cx="430161" cy="430161"/>
            </a:xfrm>
            <a:prstGeom prst="ellipse">
              <a:avLst/>
            </a:prstGeom>
            <a:solidFill>
              <a:srgbClr val="FBB4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3" name="Oval 32">
              <a:extLst>
                <a:ext uri="{FF2B5EF4-FFF2-40B4-BE49-F238E27FC236}">
                  <a16:creationId xmlns:a16="http://schemas.microsoft.com/office/drawing/2014/main" id="{91606EEA-E3F2-4DBB-A6DC-CAFF9B1F2794}"/>
                </a:ext>
              </a:extLst>
            </p:cNvPr>
            <p:cNvSpPr/>
            <p:nvPr/>
          </p:nvSpPr>
          <p:spPr>
            <a:xfrm>
              <a:off x="838200" y="5093048"/>
              <a:ext cx="430161" cy="43016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7" name="Group 36">
            <a:extLst>
              <a:ext uri="{FF2B5EF4-FFF2-40B4-BE49-F238E27FC236}">
                <a16:creationId xmlns:a16="http://schemas.microsoft.com/office/drawing/2014/main" id="{265590A8-3287-4A82-83B7-98DEBD74212A}"/>
              </a:ext>
            </a:extLst>
          </p:cNvPr>
          <p:cNvGrpSpPr/>
          <p:nvPr/>
        </p:nvGrpSpPr>
        <p:grpSpPr>
          <a:xfrm>
            <a:off x="3983820" y="3701661"/>
            <a:ext cx="3235110" cy="2247012"/>
            <a:chOff x="838200" y="3938675"/>
            <a:chExt cx="3235110" cy="2247012"/>
          </a:xfrm>
        </p:grpSpPr>
        <p:cxnSp>
          <p:nvCxnSpPr>
            <p:cNvPr id="38" name="Straight Connector 37">
              <a:extLst>
                <a:ext uri="{FF2B5EF4-FFF2-40B4-BE49-F238E27FC236}">
                  <a16:creationId xmlns:a16="http://schemas.microsoft.com/office/drawing/2014/main" id="{742EC27B-963A-4838-995E-DA76C44B06AF}"/>
                </a:ext>
              </a:extLst>
            </p:cNvPr>
            <p:cNvCxnSpPr>
              <a:cxnSpLocks/>
              <a:stCxn id="43" idx="4"/>
            </p:cNvCxnSpPr>
            <p:nvPr/>
          </p:nvCxnSpPr>
          <p:spPr>
            <a:xfrm>
              <a:off x="1053281" y="4368836"/>
              <a:ext cx="0" cy="1816851"/>
            </a:xfrm>
            <a:prstGeom prst="line">
              <a:avLst/>
            </a:prstGeom>
            <a:ln>
              <a:solidFill>
                <a:schemeClr val="bg1">
                  <a:lumMod val="85000"/>
                  <a:alpha val="72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C1520344-7BD6-4AB0-98BC-38990E45893B}"/>
                </a:ext>
              </a:extLst>
            </p:cNvPr>
            <p:cNvSpPr txBox="1"/>
            <p:nvPr/>
          </p:nvSpPr>
          <p:spPr>
            <a:xfrm>
              <a:off x="1477560" y="3977012"/>
              <a:ext cx="2081981"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goe UI"/>
                  <a:ea typeface="+mn-ea"/>
                  <a:cs typeface="+mn-cs"/>
                </a:rPr>
                <a:t>Manufacturing Facilities</a:t>
              </a:r>
            </a:p>
          </p:txBody>
        </p:sp>
        <p:sp>
          <p:nvSpPr>
            <p:cNvPr id="40" name="TextBox 39">
              <a:extLst>
                <a:ext uri="{FF2B5EF4-FFF2-40B4-BE49-F238E27FC236}">
                  <a16:creationId xmlns:a16="http://schemas.microsoft.com/office/drawing/2014/main" id="{038F231E-9A16-4E44-ADA3-E210E668AA01}"/>
                </a:ext>
              </a:extLst>
            </p:cNvPr>
            <p:cNvSpPr txBox="1"/>
            <p:nvPr/>
          </p:nvSpPr>
          <p:spPr>
            <a:xfrm>
              <a:off x="1477560" y="4264875"/>
              <a:ext cx="2184987" cy="1077218"/>
            </a:xfrm>
            <a:prstGeom prst="rect">
              <a:avLst/>
            </a:prstGeom>
            <a:noFill/>
          </p:spPr>
          <p:txBody>
            <a:bodyPr wrap="square" lIns="0" tIns="0" rIns="0" bIns="0" rtlCol="0">
              <a:spAutoFit/>
            </a:bodyPr>
            <a:lstStyle/>
            <a:p>
              <a:pPr marL="225425" marR="0" lvl="0" indent="-225425"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FBB425"/>
                  </a:solidFill>
                  <a:effectLst/>
                  <a:uLnTx/>
                  <a:uFillTx/>
                  <a:latin typeface="Segoe UI"/>
                  <a:ea typeface="+mn-ea"/>
                  <a:cs typeface="+mn-cs"/>
                </a:rPr>
                <a:t>APIs &amp; RSMs</a:t>
              </a:r>
            </a:p>
            <a:p>
              <a:pPr marL="225425" marR="0" lvl="0" indent="-225425"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Specialties</a:t>
              </a:r>
            </a:p>
            <a:p>
              <a:pPr marL="225425" marR="0" lvl="0" indent="-225425"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Advanced Intermediates (GMP &amp; non-GMP)</a:t>
              </a:r>
            </a:p>
            <a:p>
              <a:pPr marL="225425" marR="0" lvl="0" indent="-225425"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Bulk Intermediates</a:t>
              </a:r>
            </a:p>
          </p:txBody>
        </p:sp>
        <p:sp>
          <p:nvSpPr>
            <p:cNvPr id="43" name="Oval 42">
              <a:extLst>
                <a:ext uri="{FF2B5EF4-FFF2-40B4-BE49-F238E27FC236}">
                  <a16:creationId xmlns:a16="http://schemas.microsoft.com/office/drawing/2014/main" id="{B4C87DB5-FDCF-496B-BF6C-24EA0DF8722C}"/>
                </a:ext>
              </a:extLst>
            </p:cNvPr>
            <p:cNvSpPr/>
            <p:nvPr/>
          </p:nvSpPr>
          <p:spPr>
            <a:xfrm>
              <a:off x="838200" y="3938675"/>
              <a:ext cx="430161" cy="430161"/>
            </a:xfrm>
            <a:prstGeom prst="ellipse">
              <a:avLst/>
            </a:prstGeom>
            <a:solidFill>
              <a:srgbClr val="ACCF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45" name="TextBox 44">
              <a:extLst>
                <a:ext uri="{FF2B5EF4-FFF2-40B4-BE49-F238E27FC236}">
                  <a16:creationId xmlns:a16="http://schemas.microsoft.com/office/drawing/2014/main" id="{F97EC1CE-EF3E-4A8F-B019-7C8F189371CC}"/>
                </a:ext>
              </a:extLst>
            </p:cNvPr>
            <p:cNvSpPr txBox="1"/>
            <p:nvPr/>
          </p:nvSpPr>
          <p:spPr>
            <a:xfrm>
              <a:off x="1477560" y="5454051"/>
              <a:ext cx="2595750"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goe UI"/>
                  <a:ea typeface="+mn-ea"/>
                  <a:cs typeface="+mn-cs"/>
                </a:rPr>
                <a:t>Effluent Treatment Facilities</a:t>
              </a:r>
            </a:p>
          </p:txBody>
        </p:sp>
        <p:sp>
          <p:nvSpPr>
            <p:cNvPr id="46" name="TextBox 45">
              <a:extLst>
                <a:ext uri="{FF2B5EF4-FFF2-40B4-BE49-F238E27FC236}">
                  <a16:creationId xmlns:a16="http://schemas.microsoft.com/office/drawing/2014/main" id="{DA02AC66-CDD7-436D-8D9E-C18DDF37E135}"/>
                </a:ext>
              </a:extLst>
            </p:cNvPr>
            <p:cNvSpPr txBox="1"/>
            <p:nvPr/>
          </p:nvSpPr>
          <p:spPr>
            <a:xfrm>
              <a:off x="1477560" y="5754800"/>
              <a:ext cx="2595750" cy="430887"/>
            </a:xfrm>
            <a:prstGeom prst="rect">
              <a:avLst/>
            </a:prstGeom>
            <a:noFill/>
          </p:spPr>
          <p:txBody>
            <a:bodyPr wrap="square" lIns="0" tIns="0" rIns="0" bIns="0" rtlCol="0">
              <a:spAutoFit/>
            </a:bodyPr>
            <a:lstStyle/>
            <a:p>
              <a:pPr marL="225425" marR="0" lvl="0" indent="-225425" algn="l" defTabSz="914400" rtl="0" eaLnBrk="1" fontAlgn="auto" latinLnBrk="0" hangingPunct="1">
                <a:lnSpc>
                  <a:spcPct val="100000"/>
                </a:lnSpc>
                <a:spcBef>
                  <a:spcPts val="0"/>
                </a:spcBef>
                <a:spcAft>
                  <a:spcPts val="0"/>
                </a:spcAft>
                <a:buClr>
                  <a:srgbClr val="ACCF59"/>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Segoe UI"/>
                  <a:ea typeface="+mn-ea"/>
                  <a:cs typeface="+mn-cs"/>
                </a:rPr>
                <a:t>500 KL/Day Discharge Permission</a:t>
              </a:r>
            </a:p>
          </p:txBody>
        </p:sp>
        <p:sp>
          <p:nvSpPr>
            <p:cNvPr id="47" name="Oval 46">
              <a:extLst>
                <a:ext uri="{FF2B5EF4-FFF2-40B4-BE49-F238E27FC236}">
                  <a16:creationId xmlns:a16="http://schemas.microsoft.com/office/drawing/2014/main" id="{DCACC4BB-3491-472B-84D1-DB6D9A608554}"/>
                </a:ext>
              </a:extLst>
            </p:cNvPr>
            <p:cNvSpPr/>
            <p:nvPr/>
          </p:nvSpPr>
          <p:spPr>
            <a:xfrm>
              <a:off x="838200" y="5357710"/>
              <a:ext cx="430161" cy="430161"/>
            </a:xfrm>
            <a:prstGeom prst="ellipse">
              <a:avLst/>
            </a:prstGeom>
            <a:solidFill>
              <a:srgbClr val="00A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pic>
        <p:nvPicPr>
          <p:cNvPr id="27" name="Picture 26">
            <a:extLst>
              <a:ext uri="{FF2B5EF4-FFF2-40B4-BE49-F238E27FC236}">
                <a16:creationId xmlns:a16="http://schemas.microsoft.com/office/drawing/2014/main" id="{5627445C-199A-443A-BB07-426C5C6F5654}"/>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7391988" y="3914729"/>
            <a:ext cx="3834553" cy="2123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TextBox 48">
            <a:extLst>
              <a:ext uri="{FF2B5EF4-FFF2-40B4-BE49-F238E27FC236}">
                <a16:creationId xmlns:a16="http://schemas.microsoft.com/office/drawing/2014/main" id="{FCDD5F7B-203C-47FE-9FEF-71A5242E92D4}"/>
              </a:ext>
            </a:extLst>
          </p:cNvPr>
          <p:cNvSpPr txBox="1"/>
          <p:nvPr/>
        </p:nvSpPr>
        <p:spPr>
          <a:xfrm>
            <a:off x="8794447" y="5602873"/>
            <a:ext cx="3047857" cy="49244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prstClr val="white"/>
                </a:solidFill>
                <a:effectLst/>
                <a:uLnTx/>
                <a:uFillTx/>
                <a:latin typeface="Segoe UI"/>
                <a:ea typeface="+mn-ea"/>
                <a:cs typeface="+mn-cs"/>
              </a:rPr>
              <a:t>5 min Virtual Tou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1C5289"/>
                </a:solidFill>
                <a:effectLst/>
                <a:uLnTx/>
                <a:uFillTx/>
                <a:latin typeface="Segoe UI"/>
                <a:ea typeface="+mn-ea"/>
                <a:cs typeface="+mn-cs"/>
              </a:rPr>
              <a:t>https://youtu.be/9rcNlSdsyX8</a:t>
            </a:r>
          </a:p>
        </p:txBody>
      </p:sp>
      <p:pic>
        <p:nvPicPr>
          <p:cNvPr id="51" name="Graphic 50">
            <a:extLst>
              <a:ext uri="{FF2B5EF4-FFF2-40B4-BE49-F238E27FC236}">
                <a16:creationId xmlns:a16="http://schemas.microsoft.com/office/drawing/2014/main" id="{02C56207-CDA7-4FDB-B3A8-13E5476B43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609" y="3829126"/>
            <a:ext cx="229001" cy="229001"/>
          </a:xfrm>
          <a:prstGeom prst="rect">
            <a:avLst/>
          </a:prstGeom>
        </p:spPr>
      </p:pic>
      <p:pic>
        <p:nvPicPr>
          <p:cNvPr id="53" name="Graphic 52">
            <a:extLst>
              <a:ext uri="{FF2B5EF4-FFF2-40B4-BE49-F238E27FC236}">
                <a16:creationId xmlns:a16="http://schemas.microsoft.com/office/drawing/2014/main" id="{099F2613-D7D2-4DD3-A086-AD2E23378D0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2451" y="4966198"/>
            <a:ext cx="233316" cy="233316"/>
          </a:xfrm>
          <a:prstGeom prst="rect">
            <a:avLst/>
          </a:prstGeom>
        </p:spPr>
      </p:pic>
      <p:pic>
        <p:nvPicPr>
          <p:cNvPr id="55" name="Graphic 54">
            <a:extLst>
              <a:ext uri="{FF2B5EF4-FFF2-40B4-BE49-F238E27FC236}">
                <a16:creationId xmlns:a16="http://schemas.microsoft.com/office/drawing/2014/main" id="{007B4BE2-B12E-43BF-9503-A0E882C0FBF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093288" y="3831094"/>
            <a:ext cx="223422" cy="223422"/>
          </a:xfrm>
          <a:prstGeom prst="rect">
            <a:avLst/>
          </a:prstGeom>
        </p:spPr>
      </p:pic>
      <p:pic>
        <p:nvPicPr>
          <p:cNvPr id="57" name="Graphic 56">
            <a:extLst>
              <a:ext uri="{FF2B5EF4-FFF2-40B4-BE49-F238E27FC236}">
                <a16:creationId xmlns:a16="http://schemas.microsoft.com/office/drawing/2014/main" id="{54BF8CBA-A30F-4E1E-A064-72941A8C9F8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85317" y="5250095"/>
            <a:ext cx="232771" cy="232771"/>
          </a:xfrm>
          <a:prstGeom prst="rect">
            <a:avLst/>
          </a:prstGeom>
        </p:spPr>
      </p:pic>
      <p:sp>
        <p:nvSpPr>
          <p:cNvPr id="3" name="TextBox 2">
            <a:extLst>
              <a:ext uri="{FF2B5EF4-FFF2-40B4-BE49-F238E27FC236}">
                <a16:creationId xmlns:a16="http://schemas.microsoft.com/office/drawing/2014/main" id="{CDB8EF80-EE95-40AF-9767-EAECF3E89063}"/>
              </a:ext>
            </a:extLst>
          </p:cNvPr>
          <p:cNvSpPr txBox="1"/>
          <p:nvPr/>
        </p:nvSpPr>
        <p:spPr>
          <a:xfrm>
            <a:off x="8503268" y="474911"/>
            <a:ext cx="368873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BB425"/>
                </a:solidFill>
                <a:effectLst/>
                <a:uLnTx/>
                <a:uFillTx/>
                <a:latin typeface="Segoe UI"/>
                <a:ea typeface="+mn-ea"/>
                <a:cs typeface="+mn-cs"/>
              </a:rPr>
              <a:t>WHO G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BB425"/>
                </a:solidFill>
                <a:effectLst/>
                <a:uLnTx/>
                <a:uFillTx/>
                <a:latin typeface="Segoe UI"/>
                <a:ea typeface="+mn-ea"/>
                <a:cs typeface="+mn-cs"/>
              </a:rPr>
              <a:t>ISO 9001, ISO 14001, ISO 45000</a:t>
            </a:r>
          </a:p>
        </p:txBody>
      </p:sp>
      <p:sp>
        <p:nvSpPr>
          <p:cNvPr id="50" name="Footer Placeholder 3">
            <a:extLst>
              <a:ext uri="{FF2B5EF4-FFF2-40B4-BE49-F238E27FC236}">
                <a16:creationId xmlns:a16="http://schemas.microsoft.com/office/drawing/2014/main" id="{2A5B8532-723D-48F7-A2E1-E1D3FCC27206}"/>
              </a:ext>
            </a:extLst>
          </p:cNvPr>
          <p:cNvSpPr>
            <a:spLocks noGrp="1"/>
          </p:cNvSpPr>
          <p:nvPr>
            <p:ph type="ftr" sz="quarter" idx="11"/>
          </p:nvPr>
        </p:nvSpPr>
        <p:spPr>
          <a:xfrm>
            <a:off x="6361043" y="6356350"/>
            <a:ext cx="461507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Copyright © 2005-2024  Inventys Research Company, All Rights Reserved. </a:t>
            </a:r>
          </a:p>
        </p:txBody>
      </p:sp>
    </p:spTree>
    <p:extLst>
      <p:ext uri="{BB962C8B-B14F-4D97-AF65-F5344CB8AC3E}">
        <p14:creationId xmlns:p14="http://schemas.microsoft.com/office/powerpoint/2010/main" val="1234560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96" name="Freeform: Shape 195">
            <a:extLst>
              <a:ext uri="{FF2B5EF4-FFF2-40B4-BE49-F238E27FC236}">
                <a16:creationId xmlns:a16="http://schemas.microsoft.com/office/drawing/2014/main" id="{39BB4E18-5A87-4F01-8F0E-7AD3BEB6A8CE}"/>
              </a:ext>
            </a:extLst>
          </p:cNvPr>
          <p:cNvSpPr/>
          <p:nvPr/>
        </p:nvSpPr>
        <p:spPr>
          <a:xfrm flipV="1">
            <a:off x="6898753" y="-2290"/>
            <a:ext cx="5293247" cy="4823049"/>
          </a:xfrm>
          <a:custGeom>
            <a:avLst/>
            <a:gdLst>
              <a:gd name="connsiteX0" fmla="*/ 5093361 w 7157772"/>
              <a:gd name="connsiteY0" fmla="*/ 0 h 6521949"/>
              <a:gd name="connsiteX1" fmla="*/ 7075927 w 7157772"/>
              <a:gd name="connsiteY1" fmla="*/ 400262 h 6521949"/>
              <a:gd name="connsiteX2" fmla="*/ 7157772 w 7157772"/>
              <a:gd name="connsiteY2" fmla="*/ 437263 h 6521949"/>
              <a:gd name="connsiteX3" fmla="*/ 7157772 w 7157772"/>
              <a:gd name="connsiteY3" fmla="*/ 6521949 h 6521949"/>
              <a:gd name="connsiteX4" fmla="*/ 204560 w 7157772"/>
              <a:gd name="connsiteY4" fmla="*/ 6521949 h 6521949"/>
              <a:gd name="connsiteX5" fmla="*/ 160353 w 7157772"/>
              <a:gd name="connsiteY5" fmla="*/ 6366272 h 6521949"/>
              <a:gd name="connsiteX6" fmla="*/ 0 w 7157772"/>
              <a:gd name="connsiteY6" fmla="*/ 5093361 h 6521949"/>
              <a:gd name="connsiteX7" fmla="*/ 5093361 w 7157772"/>
              <a:gd name="connsiteY7" fmla="*/ 0 h 652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7772" h="6521949">
                <a:moveTo>
                  <a:pt x="5093361" y="0"/>
                </a:moveTo>
                <a:cubicBezTo>
                  <a:pt x="5796607" y="0"/>
                  <a:pt x="6466566" y="142524"/>
                  <a:pt x="7075927" y="400262"/>
                </a:cubicBezTo>
                <a:lnTo>
                  <a:pt x="7157772" y="437263"/>
                </a:lnTo>
                <a:lnTo>
                  <a:pt x="7157772" y="6521949"/>
                </a:lnTo>
                <a:lnTo>
                  <a:pt x="204560" y="6521949"/>
                </a:lnTo>
                <a:lnTo>
                  <a:pt x="160353" y="6366272"/>
                </a:lnTo>
                <a:cubicBezTo>
                  <a:pt x="55674" y="5959416"/>
                  <a:pt x="0" y="5532890"/>
                  <a:pt x="0" y="5093361"/>
                </a:cubicBezTo>
                <a:cubicBezTo>
                  <a:pt x="0" y="2280375"/>
                  <a:pt x="2280375" y="0"/>
                  <a:pt x="5093361" y="0"/>
                </a:cubicBezTo>
                <a:close/>
              </a:path>
            </a:pathLst>
          </a:custGeom>
          <a:solidFill>
            <a:srgbClr val="00AF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35C16387-BB6B-4FBA-9AC1-71C889F496B5}"/>
              </a:ext>
            </a:extLst>
          </p:cNvPr>
          <p:cNvGrpSpPr/>
          <p:nvPr/>
        </p:nvGrpSpPr>
        <p:grpSpPr>
          <a:xfrm>
            <a:off x="0" y="5230941"/>
            <a:ext cx="12191998" cy="958821"/>
            <a:chOff x="0" y="5230941"/>
            <a:chExt cx="12191998" cy="958821"/>
          </a:xfrm>
        </p:grpSpPr>
        <p:sp>
          <p:nvSpPr>
            <p:cNvPr id="194" name="Rectangle 193">
              <a:extLst>
                <a:ext uri="{FF2B5EF4-FFF2-40B4-BE49-F238E27FC236}">
                  <a16:creationId xmlns:a16="http://schemas.microsoft.com/office/drawing/2014/main" id="{CA0C51F1-D06C-4627-8B2D-C64ECF8BC7E2}"/>
                </a:ext>
              </a:extLst>
            </p:cNvPr>
            <p:cNvSpPr/>
            <p:nvPr/>
          </p:nvSpPr>
          <p:spPr>
            <a:xfrm>
              <a:off x="0" y="5230941"/>
              <a:ext cx="12191998" cy="9588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95" name="TextBox 194">
              <a:extLst>
                <a:ext uri="{FF2B5EF4-FFF2-40B4-BE49-F238E27FC236}">
                  <a16:creationId xmlns:a16="http://schemas.microsoft.com/office/drawing/2014/main" id="{88A4B920-409F-4A13-985C-5E9A2DD5436B}"/>
                </a:ext>
              </a:extLst>
            </p:cNvPr>
            <p:cNvSpPr txBox="1"/>
            <p:nvPr/>
          </p:nvSpPr>
          <p:spPr>
            <a:xfrm>
              <a:off x="783320" y="5289731"/>
              <a:ext cx="10812027"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Segoe UI"/>
                  <a:ea typeface="Microsoft JhengHei UI" panose="020B0604030504040204" pitchFamily="34" charset="-120"/>
                  <a:cs typeface="+mn-cs"/>
                </a:rPr>
                <a:t>Inventys manufacturing capacity expected increase ~9x in next ~6 ye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Segoe UI"/>
                  <a:ea typeface="Microsoft JhengHei UI" panose="020B0604030504040204" pitchFamily="34" charset="-120"/>
                  <a:cs typeface="+mn-cs"/>
                </a:rPr>
                <a:t>Necessary permissions in pla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Segoe UI"/>
                  <a:ea typeface="Microsoft JhengHei UI" panose="020B0604030504040204" pitchFamily="34" charset="-120"/>
                  <a:cs typeface="+mn-cs"/>
                </a:rPr>
                <a:t>DEBT FREE </a:t>
              </a:r>
            </a:p>
          </p:txBody>
        </p:sp>
      </p:grpSp>
      <p:sp>
        <p:nvSpPr>
          <p:cNvPr id="193" name="Rectangle: Rounded Corners 192">
            <a:extLst>
              <a:ext uri="{FF2B5EF4-FFF2-40B4-BE49-F238E27FC236}">
                <a16:creationId xmlns:a16="http://schemas.microsoft.com/office/drawing/2014/main" id="{BAAF1337-6F36-44BA-A766-81C5228F20F4}"/>
              </a:ext>
            </a:extLst>
          </p:cNvPr>
          <p:cNvSpPr/>
          <p:nvPr/>
        </p:nvSpPr>
        <p:spPr>
          <a:xfrm>
            <a:off x="796952" y="1196288"/>
            <a:ext cx="10798396" cy="3899503"/>
          </a:xfrm>
          <a:prstGeom prst="roundRect">
            <a:avLst>
              <a:gd name="adj" fmla="val 3052"/>
            </a:avLst>
          </a:prstGeom>
          <a:solidFill>
            <a:schemeClr val="bg1"/>
          </a:solidFill>
          <a:ln w="95250">
            <a:noFill/>
          </a:ln>
          <a:effectLst>
            <a:outerShdw blurRad="152400" dist="381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mn-ea"/>
              <a:cs typeface="+mn-cs"/>
            </a:endParaRPr>
          </a:p>
        </p:txBody>
      </p:sp>
      <p:sp>
        <p:nvSpPr>
          <p:cNvPr id="2" name="Title 1">
            <a:extLst>
              <a:ext uri="{FF2B5EF4-FFF2-40B4-BE49-F238E27FC236}">
                <a16:creationId xmlns:a16="http://schemas.microsoft.com/office/drawing/2014/main" id="{14BBA487-97BB-4DD0-9FF8-6C233213D27D}"/>
              </a:ext>
            </a:extLst>
          </p:cNvPr>
          <p:cNvSpPr>
            <a:spLocks noGrp="1"/>
          </p:cNvSpPr>
          <p:nvPr>
            <p:ph type="title"/>
          </p:nvPr>
        </p:nvSpPr>
        <p:spPr>
          <a:xfrm>
            <a:off x="838200" y="540646"/>
            <a:ext cx="10668000" cy="443198"/>
          </a:xfrm>
        </p:spPr>
        <p:txBody>
          <a:bodyPr/>
          <a:lstStyle/>
          <a:p>
            <a:r>
              <a:rPr lang="en-US" dirty="0">
                <a:solidFill>
                  <a:schemeClr val="bg1"/>
                </a:solidFill>
              </a:rPr>
              <a:t>Inventys </a:t>
            </a:r>
            <a:r>
              <a:rPr lang="en-US" dirty="0">
                <a:solidFill>
                  <a:srgbClr val="FBB425"/>
                </a:solidFill>
              </a:rPr>
              <a:t>Manufacturing Infrastructure</a:t>
            </a:r>
          </a:p>
        </p:txBody>
      </p:sp>
      <p:sp>
        <p:nvSpPr>
          <p:cNvPr id="4" name="Footer Placeholder 3">
            <a:extLst>
              <a:ext uri="{FF2B5EF4-FFF2-40B4-BE49-F238E27FC236}">
                <a16:creationId xmlns:a16="http://schemas.microsoft.com/office/drawing/2014/main" id="{51FD9E8D-9B85-4061-9530-ADCA8FA9A80C}"/>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Copyright © 2005-2024  Inventys Research Company, All Rights Reserved. </a:t>
            </a:r>
          </a:p>
        </p:txBody>
      </p:sp>
      <p:sp>
        <p:nvSpPr>
          <p:cNvPr id="5" name="Slide Number Placeholder 4">
            <a:extLst>
              <a:ext uri="{FF2B5EF4-FFF2-40B4-BE49-F238E27FC236}">
                <a16:creationId xmlns:a16="http://schemas.microsoft.com/office/drawing/2014/main" id="{C566FC6A-98D0-4BEC-8398-9BD44C3FB75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7212B-DAB7-41D9-8B3C-111279E9B140}" type="slidenum">
              <a:rPr kumimoji="0" lang="en-US" sz="1050" b="0" i="0" u="none" strike="noStrike" kern="1200" cap="none" spc="0" normalizeH="0" baseline="0" noProof="0" smtClean="0">
                <a:ln>
                  <a:noFill/>
                </a:ln>
                <a:solidFill>
                  <a:prstClr val="white"/>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50" b="0" i="0" u="none" strike="noStrike" kern="1200" cap="none" spc="0" normalizeH="0" baseline="0" noProof="0">
              <a:ln>
                <a:noFill/>
              </a:ln>
              <a:solidFill>
                <a:prstClr val="white"/>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B4B795DD-1E77-4D42-97B9-7CC23F6357A0}"/>
              </a:ext>
            </a:extLst>
          </p:cNvPr>
          <p:cNvGrpSpPr/>
          <p:nvPr/>
        </p:nvGrpSpPr>
        <p:grpSpPr>
          <a:xfrm>
            <a:off x="1012799" y="1284524"/>
            <a:ext cx="10382249" cy="3729517"/>
            <a:chOff x="838197" y="907675"/>
            <a:chExt cx="10515601" cy="3729517"/>
          </a:xfrm>
        </p:grpSpPr>
        <p:sp>
          <p:nvSpPr>
            <p:cNvPr id="11" name="Rectangle: Top Corners Rounded 10">
              <a:extLst>
                <a:ext uri="{FF2B5EF4-FFF2-40B4-BE49-F238E27FC236}">
                  <a16:creationId xmlns:a16="http://schemas.microsoft.com/office/drawing/2014/main" id="{4BC105CE-47FE-4235-90BE-2058F7EA8748}"/>
                </a:ext>
              </a:extLst>
            </p:cNvPr>
            <p:cNvSpPr/>
            <p:nvPr/>
          </p:nvSpPr>
          <p:spPr>
            <a:xfrm>
              <a:off x="838199" y="907675"/>
              <a:ext cx="2628900" cy="275905"/>
            </a:xfrm>
            <a:prstGeom prst="round2SameRect">
              <a:avLst>
                <a:gd name="adj1" fmla="val 22345"/>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Segoe UI"/>
                  <a:ea typeface="+mn-ea"/>
                  <a:cs typeface="+mn-cs"/>
                </a:rPr>
                <a:t>SITE I</a:t>
              </a:r>
            </a:p>
          </p:txBody>
        </p:sp>
        <p:sp>
          <p:nvSpPr>
            <p:cNvPr id="12" name="Rectangle: Top Corners Rounded 11">
              <a:extLst>
                <a:ext uri="{FF2B5EF4-FFF2-40B4-BE49-F238E27FC236}">
                  <a16:creationId xmlns:a16="http://schemas.microsoft.com/office/drawing/2014/main" id="{F9F8C29C-0991-4301-B768-FE2A37C9E536}"/>
                </a:ext>
              </a:extLst>
            </p:cNvPr>
            <p:cNvSpPr/>
            <p:nvPr/>
          </p:nvSpPr>
          <p:spPr>
            <a:xfrm>
              <a:off x="3467099" y="907675"/>
              <a:ext cx="2628900" cy="275905"/>
            </a:xfrm>
            <a:prstGeom prst="round2SameRect">
              <a:avLst>
                <a:gd name="adj1" fmla="val 20452"/>
                <a:gd name="adj2" fmla="val 0"/>
              </a:avLst>
            </a:prstGeom>
            <a:solidFill>
              <a:srgbClr val="FBB4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Segoe UI"/>
                  <a:ea typeface="+mn-ea"/>
                  <a:cs typeface="+mn-cs"/>
                </a:rPr>
                <a:t>SITE II</a:t>
              </a:r>
            </a:p>
          </p:txBody>
        </p:sp>
        <p:sp>
          <p:nvSpPr>
            <p:cNvPr id="13" name="Rectangle: Top Corners Rounded 12">
              <a:extLst>
                <a:ext uri="{FF2B5EF4-FFF2-40B4-BE49-F238E27FC236}">
                  <a16:creationId xmlns:a16="http://schemas.microsoft.com/office/drawing/2014/main" id="{A1C73764-8F02-49BB-A7F1-5B525056E44A}"/>
                </a:ext>
              </a:extLst>
            </p:cNvPr>
            <p:cNvSpPr/>
            <p:nvPr/>
          </p:nvSpPr>
          <p:spPr>
            <a:xfrm>
              <a:off x="6095999" y="907675"/>
              <a:ext cx="2628900" cy="275905"/>
            </a:xfrm>
            <a:prstGeom prst="round2SameRect">
              <a:avLst>
                <a:gd name="adj1" fmla="val 22345"/>
                <a:gd name="adj2" fmla="val 0"/>
              </a:avLst>
            </a:prstGeom>
            <a:solidFill>
              <a:srgbClr val="ACCF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Segoe UI"/>
                  <a:ea typeface="+mn-ea"/>
                  <a:cs typeface="+mn-cs"/>
                </a:rPr>
                <a:t>SITE III</a:t>
              </a:r>
            </a:p>
          </p:txBody>
        </p:sp>
        <p:sp>
          <p:nvSpPr>
            <p:cNvPr id="14" name="Rectangle: Top Corners Rounded 13">
              <a:extLst>
                <a:ext uri="{FF2B5EF4-FFF2-40B4-BE49-F238E27FC236}">
                  <a16:creationId xmlns:a16="http://schemas.microsoft.com/office/drawing/2014/main" id="{A3C3CE9E-869D-473A-B5F8-5E0E4677BDCB}"/>
                </a:ext>
              </a:extLst>
            </p:cNvPr>
            <p:cNvSpPr/>
            <p:nvPr/>
          </p:nvSpPr>
          <p:spPr>
            <a:xfrm>
              <a:off x="8724898" y="907675"/>
              <a:ext cx="2628900" cy="275905"/>
            </a:xfrm>
            <a:prstGeom prst="round2SameRect">
              <a:avLst>
                <a:gd name="adj1" fmla="val 26130"/>
                <a:gd name="adj2" fmla="val 0"/>
              </a:avLst>
            </a:prstGeom>
            <a:solidFill>
              <a:srgbClr val="00A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Segoe UI"/>
                  <a:ea typeface="+mn-ea"/>
                  <a:cs typeface="+mn-cs"/>
                </a:rPr>
                <a:t>SITE IV (FUTURE)</a:t>
              </a:r>
            </a:p>
          </p:txBody>
        </p:sp>
        <p:grpSp>
          <p:nvGrpSpPr>
            <p:cNvPr id="36" name="Group 35">
              <a:extLst>
                <a:ext uri="{FF2B5EF4-FFF2-40B4-BE49-F238E27FC236}">
                  <a16:creationId xmlns:a16="http://schemas.microsoft.com/office/drawing/2014/main" id="{95D660EF-43A6-4345-8FF5-FA20A14DFD5C}"/>
                </a:ext>
              </a:extLst>
            </p:cNvPr>
            <p:cNvGrpSpPr/>
            <p:nvPr/>
          </p:nvGrpSpPr>
          <p:grpSpPr>
            <a:xfrm>
              <a:off x="838198" y="1224774"/>
              <a:ext cx="10515600" cy="294418"/>
              <a:chOff x="838198" y="2038497"/>
              <a:chExt cx="10515600" cy="356690"/>
            </a:xfrm>
          </p:grpSpPr>
          <p:cxnSp>
            <p:nvCxnSpPr>
              <p:cNvPr id="10" name="Straight Connector 9">
                <a:extLst>
                  <a:ext uri="{FF2B5EF4-FFF2-40B4-BE49-F238E27FC236}">
                    <a16:creationId xmlns:a16="http://schemas.microsoft.com/office/drawing/2014/main" id="{7575FE79-5FB3-4B39-A426-D6CB65961B22}"/>
                  </a:ext>
                </a:extLst>
              </p:cNvPr>
              <p:cNvCxnSpPr>
                <a:cxnSpLocks/>
              </p:cNvCxnSpPr>
              <p:nvPr/>
            </p:nvCxnSpPr>
            <p:spPr>
              <a:xfrm>
                <a:off x="838200" y="2320412"/>
                <a:ext cx="1051559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B62076EA-3635-4E03-9AC8-F68C73B20B49}"/>
                  </a:ext>
                </a:extLst>
              </p:cNvPr>
              <p:cNvGrpSpPr/>
              <p:nvPr/>
            </p:nvGrpSpPr>
            <p:grpSpPr>
              <a:xfrm>
                <a:off x="838198" y="2038497"/>
                <a:ext cx="2628900" cy="356690"/>
                <a:chOff x="838198" y="2038497"/>
                <a:chExt cx="2628900" cy="356690"/>
              </a:xfrm>
            </p:grpSpPr>
            <p:sp>
              <p:nvSpPr>
                <p:cNvPr id="22" name="TextBox 21">
                  <a:extLst>
                    <a:ext uri="{FF2B5EF4-FFF2-40B4-BE49-F238E27FC236}">
                      <a16:creationId xmlns:a16="http://schemas.microsoft.com/office/drawing/2014/main" id="{B19A51E0-D3AD-463F-9029-B99B76BD08CA}"/>
                    </a:ext>
                  </a:extLst>
                </p:cNvPr>
                <p:cNvSpPr txBox="1"/>
                <p:nvPr/>
              </p:nvSpPr>
              <p:spPr>
                <a:xfrm>
                  <a:off x="838198" y="2038497"/>
                  <a:ext cx="2628900" cy="16779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7 Acres</a:t>
                  </a:r>
                </a:p>
              </p:txBody>
            </p:sp>
            <p:cxnSp>
              <p:nvCxnSpPr>
                <p:cNvPr id="24" name="Straight Connector 23">
                  <a:extLst>
                    <a:ext uri="{FF2B5EF4-FFF2-40B4-BE49-F238E27FC236}">
                      <a16:creationId xmlns:a16="http://schemas.microsoft.com/office/drawing/2014/main" id="{DBAEB191-5863-45B2-A170-C55CB931253D}"/>
                    </a:ext>
                  </a:extLst>
                </p:cNvPr>
                <p:cNvCxnSpPr>
                  <a:cxnSpLocks/>
                  <a:endCxn id="21" idx="2"/>
                </p:cNvCxnSpPr>
                <p:nvPr/>
              </p:nvCxnSpPr>
              <p:spPr>
                <a:xfrm flipV="1">
                  <a:off x="838198" y="2310580"/>
                  <a:ext cx="2436697" cy="9833"/>
                </a:xfrm>
                <a:prstGeom prst="line">
                  <a:avLst/>
                </a:prstGeom>
                <a:ln w="66675" cap="rnd">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8175C51C-BBAD-480E-A8AE-0E31B159D85E}"/>
                    </a:ext>
                  </a:extLst>
                </p:cNvPr>
                <p:cNvSpPr/>
                <p:nvPr/>
              </p:nvSpPr>
              <p:spPr>
                <a:xfrm>
                  <a:off x="3274895" y="2225972"/>
                  <a:ext cx="138922" cy="169215"/>
                </a:xfrm>
                <a:prstGeom prst="ellipse">
                  <a:avLst/>
                </a:prstGeom>
                <a:solidFill>
                  <a:schemeClr val="bg1"/>
                </a:solidFill>
                <a:ln w="53975">
                  <a:solidFill>
                    <a:schemeClr val="accent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26" name="Group 25">
                <a:extLst>
                  <a:ext uri="{FF2B5EF4-FFF2-40B4-BE49-F238E27FC236}">
                    <a16:creationId xmlns:a16="http://schemas.microsoft.com/office/drawing/2014/main" id="{B7F3FB9B-A832-4D4F-8DA8-4F0CCFBD6B19}"/>
                  </a:ext>
                </a:extLst>
              </p:cNvPr>
              <p:cNvGrpSpPr/>
              <p:nvPr/>
            </p:nvGrpSpPr>
            <p:grpSpPr>
              <a:xfrm>
                <a:off x="3611385" y="2038497"/>
                <a:ext cx="5012312" cy="356690"/>
                <a:chOff x="880266" y="2038497"/>
                <a:chExt cx="5012312" cy="356690"/>
              </a:xfrm>
            </p:grpSpPr>
            <p:sp>
              <p:nvSpPr>
                <p:cNvPr id="28" name="TextBox 27">
                  <a:extLst>
                    <a:ext uri="{FF2B5EF4-FFF2-40B4-BE49-F238E27FC236}">
                      <a16:creationId xmlns:a16="http://schemas.microsoft.com/office/drawing/2014/main" id="{5C34530F-079E-450D-AE79-C52C46613528}"/>
                    </a:ext>
                  </a:extLst>
                </p:cNvPr>
                <p:cNvSpPr txBox="1"/>
                <p:nvPr/>
              </p:nvSpPr>
              <p:spPr>
                <a:xfrm>
                  <a:off x="2002511" y="2038497"/>
                  <a:ext cx="2628900" cy="16779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12 Acres</a:t>
                  </a:r>
                </a:p>
              </p:txBody>
            </p:sp>
            <p:cxnSp>
              <p:nvCxnSpPr>
                <p:cNvPr id="29" name="Straight Connector 28">
                  <a:extLst>
                    <a:ext uri="{FF2B5EF4-FFF2-40B4-BE49-F238E27FC236}">
                      <a16:creationId xmlns:a16="http://schemas.microsoft.com/office/drawing/2014/main" id="{3FFCBE93-CAFA-4E6D-BB35-6482A0D427E2}"/>
                    </a:ext>
                  </a:extLst>
                </p:cNvPr>
                <p:cNvCxnSpPr>
                  <a:cxnSpLocks/>
                </p:cNvCxnSpPr>
                <p:nvPr/>
              </p:nvCxnSpPr>
              <p:spPr>
                <a:xfrm flipV="1">
                  <a:off x="880266" y="2310580"/>
                  <a:ext cx="4873389" cy="19664"/>
                </a:xfrm>
                <a:prstGeom prst="line">
                  <a:avLst/>
                </a:prstGeom>
                <a:ln w="66675"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3558384D-7E88-4234-A372-9DB1FEF77327}"/>
                    </a:ext>
                  </a:extLst>
                </p:cNvPr>
                <p:cNvSpPr/>
                <p:nvPr/>
              </p:nvSpPr>
              <p:spPr>
                <a:xfrm>
                  <a:off x="5753656" y="2225972"/>
                  <a:ext cx="138922" cy="169215"/>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31" name="Group 30">
                <a:extLst>
                  <a:ext uri="{FF2B5EF4-FFF2-40B4-BE49-F238E27FC236}">
                    <a16:creationId xmlns:a16="http://schemas.microsoft.com/office/drawing/2014/main" id="{A1ACDE95-E8E6-4395-A0B4-736A3DC1416A}"/>
                  </a:ext>
                </a:extLst>
              </p:cNvPr>
              <p:cNvGrpSpPr/>
              <p:nvPr/>
            </p:nvGrpSpPr>
            <p:grpSpPr>
              <a:xfrm>
                <a:off x="8799870" y="2038497"/>
                <a:ext cx="2553928" cy="356690"/>
                <a:chOff x="936158" y="2038497"/>
                <a:chExt cx="2553928" cy="356690"/>
              </a:xfrm>
            </p:grpSpPr>
            <p:sp>
              <p:nvSpPr>
                <p:cNvPr id="33" name="TextBox 32">
                  <a:extLst>
                    <a:ext uri="{FF2B5EF4-FFF2-40B4-BE49-F238E27FC236}">
                      <a16:creationId xmlns:a16="http://schemas.microsoft.com/office/drawing/2014/main" id="{9FA6C6B5-B9BF-454B-BC7C-C669C117BD4A}"/>
                    </a:ext>
                  </a:extLst>
                </p:cNvPr>
                <p:cNvSpPr txBox="1"/>
                <p:nvPr/>
              </p:nvSpPr>
              <p:spPr>
                <a:xfrm>
                  <a:off x="936158" y="2038497"/>
                  <a:ext cx="2553928" cy="16779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5 Acres</a:t>
                  </a:r>
                </a:p>
              </p:txBody>
            </p:sp>
            <p:cxnSp>
              <p:nvCxnSpPr>
                <p:cNvPr id="34" name="Straight Connector 33">
                  <a:extLst>
                    <a:ext uri="{FF2B5EF4-FFF2-40B4-BE49-F238E27FC236}">
                      <a16:creationId xmlns:a16="http://schemas.microsoft.com/office/drawing/2014/main" id="{B63FD74D-77CE-4928-B2FE-76E61086FD6F}"/>
                    </a:ext>
                  </a:extLst>
                </p:cNvPr>
                <p:cNvCxnSpPr>
                  <a:cxnSpLocks/>
                  <a:endCxn id="32" idx="2"/>
                </p:cNvCxnSpPr>
                <p:nvPr/>
              </p:nvCxnSpPr>
              <p:spPr>
                <a:xfrm flipV="1">
                  <a:off x="960280" y="2310580"/>
                  <a:ext cx="2338736" cy="9436"/>
                </a:xfrm>
                <a:prstGeom prst="line">
                  <a:avLst/>
                </a:prstGeom>
                <a:ln w="66675" cap="rnd">
                  <a:solidFill>
                    <a:srgbClr val="00AFB9"/>
                  </a:solidFill>
                  <a:round/>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D337CB78-4F2E-42E9-BB23-2F1D9D40220F}"/>
                    </a:ext>
                  </a:extLst>
                </p:cNvPr>
                <p:cNvSpPr/>
                <p:nvPr/>
              </p:nvSpPr>
              <p:spPr>
                <a:xfrm>
                  <a:off x="3299016" y="2225972"/>
                  <a:ext cx="138922" cy="169215"/>
                </a:xfrm>
                <a:prstGeom prst="ellipse">
                  <a:avLst/>
                </a:prstGeom>
                <a:solidFill>
                  <a:schemeClr val="bg1"/>
                </a:solidFill>
                <a:ln w="53975">
                  <a:solidFill>
                    <a:srgbClr val="00AFB9"/>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37" name="Group 36">
              <a:extLst>
                <a:ext uri="{FF2B5EF4-FFF2-40B4-BE49-F238E27FC236}">
                  <a16:creationId xmlns:a16="http://schemas.microsoft.com/office/drawing/2014/main" id="{EFD46D34-B063-4803-A918-057E0E84E54F}"/>
                </a:ext>
              </a:extLst>
            </p:cNvPr>
            <p:cNvGrpSpPr/>
            <p:nvPr/>
          </p:nvGrpSpPr>
          <p:grpSpPr>
            <a:xfrm>
              <a:off x="838198" y="1547960"/>
              <a:ext cx="10515600" cy="418991"/>
              <a:chOff x="838198" y="1887575"/>
              <a:chExt cx="10515600" cy="507612"/>
            </a:xfrm>
          </p:grpSpPr>
          <p:cxnSp>
            <p:nvCxnSpPr>
              <p:cNvPr id="38" name="Straight Connector 37">
                <a:extLst>
                  <a:ext uri="{FF2B5EF4-FFF2-40B4-BE49-F238E27FC236}">
                    <a16:creationId xmlns:a16="http://schemas.microsoft.com/office/drawing/2014/main" id="{1F206586-F57F-4F43-8341-50169D24A739}"/>
                  </a:ext>
                </a:extLst>
              </p:cNvPr>
              <p:cNvCxnSpPr>
                <a:cxnSpLocks/>
              </p:cNvCxnSpPr>
              <p:nvPr/>
            </p:nvCxnSpPr>
            <p:spPr>
              <a:xfrm>
                <a:off x="838200" y="2320412"/>
                <a:ext cx="1051559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B430AF9E-5AB1-4C7D-876C-C9FA04963B98}"/>
                  </a:ext>
                </a:extLst>
              </p:cNvPr>
              <p:cNvGrpSpPr/>
              <p:nvPr/>
            </p:nvGrpSpPr>
            <p:grpSpPr>
              <a:xfrm>
                <a:off x="838198" y="1887575"/>
                <a:ext cx="2575619" cy="507612"/>
                <a:chOff x="838198" y="1887575"/>
                <a:chExt cx="2575619" cy="507612"/>
              </a:xfrm>
            </p:grpSpPr>
            <p:sp>
              <p:nvSpPr>
                <p:cNvPr id="49" name="TextBox 48">
                  <a:extLst>
                    <a:ext uri="{FF2B5EF4-FFF2-40B4-BE49-F238E27FC236}">
                      <a16:creationId xmlns:a16="http://schemas.microsoft.com/office/drawing/2014/main" id="{11BB48F6-8806-446E-B468-EF9479BF170E}"/>
                    </a:ext>
                  </a:extLst>
                </p:cNvPr>
                <p:cNvSpPr txBox="1"/>
                <p:nvPr/>
              </p:nvSpPr>
              <p:spPr>
                <a:xfrm>
                  <a:off x="838198" y="1887575"/>
                  <a:ext cx="1826344" cy="335587"/>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Healthcare &amp; Specialty Integrated Manufacturing</a:t>
                  </a:r>
                </a:p>
              </p:txBody>
            </p:sp>
            <p:cxnSp>
              <p:nvCxnSpPr>
                <p:cNvPr id="50" name="Straight Connector 49">
                  <a:extLst>
                    <a:ext uri="{FF2B5EF4-FFF2-40B4-BE49-F238E27FC236}">
                      <a16:creationId xmlns:a16="http://schemas.microsoft.com/office/drawing/2014/main" id="{FD79554B-EF27-47EF-8F14-FCF0F049A1FC}"/>
                    </a:ext>
                  </a:extLst>
                </p:cNvPr>
                <p:cNvCxnSpPr>
                  <a:cxnSpLocks/>
                  <a:endCxn id="48" idx="2"/>
                </p:cNvCxnSpPr>
                <p:nvPr/>
              </p:nvCxnSpPr>
              <p:spPr>
                <a:xfrm flipV="1">
                  <a:off x="838198" y="2310580"/>
                  <a:ext cx="2436697" cy="9831"/>
                </a:xfrm>
                <a:prstGeom prst="line">
                  <a:avLst/>
                </a:prstGeom>
                <a:ln w="66675" cap="rnd">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3EF0E82F-628F-4A9A-9708-FEDD2740482C}"/>
                    </a:ext>
                  </a:extLst>
                </p:cNvPr>
                <p:cNvSpPr/>
                <p:nvPr/>
              </p:nvSpPr>
              <p:spPr>
                <a:xfrm>
                  <a:off x="3274895" y="2225972"/>
                  <a:ext cx="138922" cy="169215"/>
                </a:xfrm>
                <a:prstGeom prst="ellipse">
                  <a:avLst/>
                </a:prstGeom>
                <a:solidFill>
                  <a:schemeClr val="bg1"/>
                </a:solidFill>
                <a:ln w="53975">
                  <a:solidFill>
                    <a:schemeClr val="accent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0" name="Group 39">
                <a:extLst>
                  <a:ext uri="{FF2B5EF4-FFF2-40B4-BE49-F238E27FC236}">
                    <a16:creationId xmlns:a16="http://schemas.microsoft.com/office/drawing/2014/main" id="{90DC7A63-BDB2-4438-A157-C395F5260111}"/>
                  </a:ext>
                </a:extLst>
              </p:cNvPr>
              <p:cNvGrpSpPr/>
              <p:nvPr/>
            </p:nvGrpSpPr>
            <p:grpSpPr>
              <a:xfrm>
                <a:off x="3611385" y="1980519"/>
                <a:ext cx="5012312" cy="414668"/>
                <a:chOff x="880266" y="1980519"/>
                <a:chExt cx="5012312" cy="414668"/>
              </a:xfrm>
            </p:grpSpPr>
            <p:sp>
              <p:nvSpPr>
                <p:cNvPr id="46" name="TextBox 45">
                  <a:extLst>
                    <a:ext uri="{FF2B5EF4-FFF2-40B4-BE49-F238E27FC236}">
                      <a16:creationId xmlns:a16="http://schemas.microsoft.com/office/drawing/2014/main" id="{790632AF-5DCF-45CE-8484-71999FF8D80E}"/>
                    </a:ext>
                  </a:extLst>
                </p:cNvPr>
                <p:cNvSpPr txBox="1"/>
                <p:nvPr/>
              </p:nvSpPr>
              <p:spPr>
                <a:xfrm>
                  <a:off x="1618447" y="1980519"/>
                  <a:ext cx="3012964" cy="167793"/>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Crop Protection &amp; Specialty Chemicals Manufacturing</a:t>
                  </a:r>
                </a:p>
              </p:txBody>
            </p:sp>
            <p:cxnSp>
              <p:nvCxnSpPr>
                <p:cNvPr id="47" name="Straight Connector 46">
                  <a:extLst>
                    <a:ext uri="{FF2B5EF4-FFF2-40B4-BE49-F238E27FC236}">
                      <a16:creationId xmlns:a16="http://schemas.microsoft.com/office/drawing/2014/main" id="{035FADEB-5790-4FAD-8263-7C0606316304}"/>
                    </a:ext>
                  </a:extLst>
                </p:cNvPr>
                <p:cNvCxnSpPr>
                  <a:cxnSpLocks/>
                </p:cNvCxnSpPr>
                <p:nvPr/>
              </p:nvCxnSpPr>
              <p:spPr>
                <a:xfrm flipV="1">
                  <a:off x="880266" y="2310580"/>
                  <a:ext cx="4873389" cy="19664"/>
                </a:xfrm>
                <a:prstGeom prst="line">
                  <a:avLst/>
                </a:prstGeom>
                <a:ln w="66675"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EA5CE47C-2EFC-4417-ADB8-D2F9E44959EA}"/>
                    </a:ext>
                  </a:extLst>
                </p:cNvPr>
                <p:cNvSpPr/>
                <p:nvPr/>
              </p:nvSpPr>
              <p:spPr>
                <a:xfrm>
                  <a:off x="5753656" y="2225972"/>
                  <a:ext cx="138922" cy="169215"/>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41" name="Group 40">
                <a:extLst>
                  <a:ext uri="{FF2B5EF4-FFF2-40B4-BE49-F238E27FC236}">
                    <a16:creationId xmlns:a16="http://schemas.microsoft.com/office/drawing/2014/main" id="{6B4AF386-ACDE-40DD-9FF9-69D245FAFA1C}"/>
                  </a:ext>
                </a:extLst>
              </p:cNvPr>
              <p:cNvGrpSpPr/>
              <p:nvPr/>
            </p:nvGrpSpPr>
            <p:grpSpPr>
              <a:xfrm>
                <a:off x="8799870" y="1962178"/>
                <a:ext cx="2553927" cy="433009"/>
                <a:chOff x="936158" y="1962178"/>
                <a:chExt cx="2553927" cy="433009"/>
              </a:xfrm>
            </p:grpSpPr>
            <p:sp>
              <p:nvSpPr>
                <p:cNvPr id="43" name="TextBox 42">
                  <a:extLst>
                    <a:ext uri="{FF2B5EF4-FFF2-40B4-BE49-F238E27FC236}">
                      <a16:creationId xmlns:a16="http://schemas.microsoft.com/office/drawing/2014/main" id="{2E061848-480E-4470-AA62-BC6B7ECEEFD6}"/>
                    </a:ext>
                  </a:extLst>
                </p:cNvPr>
                <p:cNvSpPr txBox="1"/>
                <p:nvPr/>
              </p:nvSpPr>
              <p:spPr>
                <a:xfrm>
                  <a:off x="936158" y="1962178"/>
                  <a:ext cx="2553927" cy="167793"/>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Healthcare Manufacturing&amp; Development</a:t>
                  </a:r>
                </a:p>
              </p:txBody>
            </p:sp>
            <p:cxnSp>
              <p:nvCxnSpPr>
                <p:cNvPr id="44" name="Straight Connector 43">
                  <a:extLst>
                    <a:ext uri="{FF2B5EF4-FFF2-40B4-BE49-F238E27FC236}">
                      <a16:creationId xmlns:a16="http://schemas.microsoft.com/office/drawing/2014/main" id="{377F4D7E-30AC-4796-BAC2-05921F7AD6C0}"/>
                    </a:ext>
                  </a:extLst>
                </p:cNvPr>
                <p:cNvCxnSpPr>
                  <a:cxnSpLocks/>
                  <a:endCxn id="42" idx="2"/>
                </p:cNvCxnSpPr>
                <p:nvPr/>
              </p:nvCxnSpPr>
              <p:spPr>
                <a:xfrm flipV="1">
                  <a:off x="960280" y="2310580"/>
                  <a:ext cx="2338736" cy="9436"/>
                </a:xfrm>
                <a:prstGeom prst="line">
                  <a:avLst/>
                </a:prstGeom>
                <a:ln w="66675" cap="rnd">
                  <a:solidFill>
                    <a:srgbClr val="00AFB9"/>
                  </a:solidFill>
                  <a:round/>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6BBC94F6-2B1D-401D-930C-E9F8A42D452F}"/>
                    </a:ext>
                  </a:extLst>
                </p:cNvPr>
                <p:cNvSpPr/>
                <p:nvPr/>
              </p:nvSpPr>
              <p:spPr>
                <a:xfrm>
                  <a:off x="3299016" y="2225972"/>
                  <a:ext cx="138922" cy="169215"/>
                </a:xfrm>
                <a:prstGeom prst="ellipse">
                  <a:avLst/>
                </a:prstGeom>
                <a:solidFill>
                  <a:schemeClr val="bg1"/>
                </a:solidFill>
                <a:ln w="53975">
                  <a:solidFill>
                    <a:srgbClr val="00AFB9"/>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51" name="Group 50">
              <a:extLst>
                <a:ext uri="{FF2B5EF4-FFF2-40B4-BE49-F238E27FC236}">
                  <a16:creationId xmlns:a16="http://schemas.microsoft.com/office/drawing/2014/main" id="{0F209EF3-2BAF-458C-89F9-7F25822BE34F}"/>
                </a:ext>
              </a:extLst>
            </p:cNvPr>
            <p:cNvGrpSpPr/>
            <p:nvPr/>
          </p:nvGrpSpPr>
          <p:grpSpPr>
            <a:xfrm>
              <a:off x="838198" y="1995718"/>
              <a:ext cx="10515600" cy="418991"/>
              <a:chOff x="838198" y="1887575"/>
              <a:chExt cx="10515600" cy="507612"/>
            </a:xfrm>
          </p:grpSpPr>
          <p:cxnSp>
            <p:nvCxnSpPr>
              <p:cNvPr id="52" name="Straight Connector 51">
                <a:extLst>
                  <a:ext uri="{FF2B5EF4-FFF2-40B4-BE49-F238E27FC236}">
                    <a16:creationId xmlns:a16="http://schemas.microsoft.com/office/drawing/2014/main" id="{1C8F2A9E-13FB-48F6-AD01-105495758EB9}"/>
                  </a:ext>
                </a:extLst>
              </p:cNvPr>
              <p:cNvCxnSpPr>
                <a:cxnSpLocks/>
              </p:cNvCxnSpPr>
              <p:nvPr/>
            </p:nvCxnSpPr>
            <p:spPr>
              <a:xfrm>
                <a:off x="838200" y="2320412"/>
                <a:ext cx="1051559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7481A101-4637-4DBE-AAE5-3675A21A9A78}"/>
                  </a:ext>
                </a:extLst>
              </p:cNvPr>
              <p:cNvGrpSpPr/>
              <p:nvPr/>
            </p:nvGrpSpPr>
            <p:grpSpPr>
              <a:xfrm>
                <a:off x="838198" y="1887575"/>
                <a:ext cx="2575619" cy="507612"/>
                <a:chOff x="838198" y="1887575"/>
                <a:chExt cx="2575619" cy="507612"/>
              </a:xfrm>
            </p:grpSpPr>
            <p:sp>
              <p:nvSpPr>
                <p:cNvPr id="63" name="TextBox 62">
                  <a:extLst>
                    <a:ext uri="{FF2B5EF4-FFF2-40B4-BE49-F238E27FC236}">
                      <a16:creationId xmlns:a16="http://schemas.microsoft.com/office/drawing/2014/main" id="{163F1FC5-4794-4E46-9CC8-5B6535D97B8A}"/>
                    </a:ext>
                  </a:extLst>
                </p:cNvPr>
                <p:cNvSpPr txBox="1"/>
                <p:nvPr/>
              </p:nvSpPr>
              <p:spPr>
                <a:xfrm>
                  <a:off x="838198" y="1887575"/>
                  <a:ext cx="1826344" cy="335587"/>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Pharma KSMs, Advanced Intermediates, Specialties</a:t>
                  </a:r>
                </a:p>
              </p:txBody>
            </p:sp>
            <p:cxnSp>
              <p:nvCxnSpPr>
                <p:cNvPr id="64" name="Straight Connector 63">
                  <a:extLst>
                    <a:ext uri="{FF2B5EF4-FFF2-40B4-BE49-F238E27FC236}">
                      <a16:creationId xmlns:a16="http://schemas.microsoft.com/office/drawing/2014/main" id="{B4F8C4C4-0A85-410E-889B-0DE568022F8F}"/>
                    </a:ext>
                  </a:extLst>
                </p:cNvPr>
                <p:cNvCxnSpPr>
                  <a:cxnSpLocks/>
                  <a:endCxn id="62" idx="2"/>
                </p:cNvCxnSpPr>
                <p:nvPr/>
              </p:nvCxnSpPr>
              <p:spPr>
                <a:xfrm flipV="1">
                  <a:off x="838198" y="2310580"/>
                  <a:ext cx="2436697" cy="9831"/>
                </a:xfrm>
                <a:prstGeom prst="line">
                  <a:avLst/>
                </a:prstGeom>
                <a:ln w="66675" cap="rnd">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0EE5BB5B-7A93-4881-B682-1654DD25E419}"/>
                    </a:ext>
                  </a:extLst>
                </p:cNvPr>
                <p:cNvSpPr/>
                <p:nvPr/>
              </p:nvSpPr>
              <p:spPr>
                <a:xfrm>
                  <a:off x="3274895" y="2225972"/>
                  <a:ext cx="138922" cy="169215"/>
                </a:xfrm>
                <a:prstGeom prst="ellipse">
                  <a:avLst/>
                </a:prstGeom>
                <a:solidFill>
                  <a:schemeClr val="bg1"/>
                </a:solidFill>
                <a:ln w="53975">
                  <a:solidFill>
                    <a:schemeClr val="accent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54" name="Group 53">
                <a:extLst>
                  <a:ext uri="{FF2B5EF4-FFF2-40B4-BE49-F238E27FC236}">
                    <a16:creationId xmlns:a16="http://schemas.microsoft.com/office/drawing/2014/main" id="{58D289F8-47C0-446A-94FE-0823B93A00E3}"/>
                  </a:ext>
                </a:extLst>
              </p:cNvPr>
              <p:cNvGrpSpPr/>
              <p:nvPr/>
            </p:nvGrpSpPr>
            <p:grpSpPr>
              <a:xfrm>
                <a:off x="3569317" y="1887575"/>
                <a:ext cx="5062728" cy="507612"/>
                <a:chOff x="838198" y="1887575"/>
                <a:chExt cx="5062728" cy="507612"/>
              </a:xfrm>
            </p:grpSpPr>
            <p:sp>
              <p:nvSpPr>
                <p:cNvPr id="60" name="TextBox 59">
                  <a:extLst>
                    <a:ext uri="{FF2B5EF4-FFF2-40B4-BE49-F238E27FC236}">
                      <a16:creationId xmlns:a16="http://schemas.microsoft.com/office/drawing/2014/main" id="{59DFECC5-5A43-4056-B598-856689590946}"/>
                    </a:ext>
                  </a:extLst>
                </p:cNvPr>
                <p:cNvSpPr txBox="1"/>
                <p:nvPr/>
              </p:nvSpPr>
              <p:spPr>
                <a:xfrm>
                  <a:off x="838198" y="1887575"/>
                  <a:ext cx="2311488" cy="335587"/>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a:ea typeface="+mn-ea"/>
                      <a:cs typeface="+mn-cs"/>
                    </a:rPr>
                    <a:t>Crop Protection Actives, RSMs, Advanced Intermediates, Specialties</a:t>
                  </a:r>
                </a:p>
              </p:txBody>
            </p:sp>
            <p:cxnSp>
              <p:nvCxnSpPr>
                <p:cNvPr id="61" name="Straight Connector 60">
                  <a:extLst>
                    <a:ext uri="{FF2B5EF4-FFF2-40B4-BE49-F238E27FC236}">
                      <a16:creationId xmlns:a16="http://schemas.microsoft.com/office/drawing/2014/main" id="{5C73CA90-5E0F-4808-AE60-5929E21670B7}"/>
                    </a:ext>
                  </a:extLst>
                </p:cNvPr>
                <p:cNvCxnSpPr>
                  <a:cxnSpLocks/>
                </p:cNvCxnSpPr>
                <p:nvPr/>
              </p:nvCxnSpPr>
              <p:spPr>
                <a:xfrm flipV="1">
                  <a:off x="857113" y="2320707"/>
                  <a:ext cx="2363649" cy="9537"/>
                </a:xfrm>
                <a:prstGeom prst="line">
                  <a:avLst/>
                </a:prstGeom>
                <a:ln w="66675"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29FDF156-0DFF-4C59-A861-1B55F514F29E}"/>
                    </a:ext>
                  </a:extLst>
                </p:cNvPr>
                <p:cNvSpPr/>
                <p:nvPr/>
              </p:nvSpPr>
              <p:spPr>
                <a:xfrm>
                  <a:off x="3152019" y="2225972"/>
                  <a:ext cx="138922" cy="169215"/>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sp>
              <p:nvSpPr>
                <p:cNvPr id="66" name="TextBox 65">
                  <a:extLst>
                    <a:ext uri="{FF2B5EF4-FFF2-40B4-BE49-F238E27FC236}">
                      <a16:creationId xmlns:a16="http://schemas.microsoft.com/office/drawing/2014/main" id="{574630D7-6F60-44F4-BA81-62265A2A4DFD}"/>
                    </a:ext>
                  </a:extLst>
                </p:cNvPr>
                <p:cNvSpPr txBox="1"/>
                <p:nvPr/>
              </p:nvSpPr>
              <p:spPr>
                <a:xfrm>
                  <a:off x="3448183" y="1965553"/>
                  <a:ext cx="2311488" cy="167793"/>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Crop Protection Herbicides</a:t>
                  </a:r>
                </a:p>
              </p:txBody>
            </p:sp>
            <p:cxnSp>
              <p:nvCxnSpPr>
                <p:cNvPr id="67" name="Straight Connector 66">
                  <a:extLst>
                    <a:ext uri="{FF2B5EF4-FFF2-40B4-BE49-F238E27FC236}">
                      <a16:creationId xmlns:a16="http://schemas.microsoft.com/office/drawing/2014/main" id="{B022B909-3535-4257-9C1E-CEBB647ED722}"/>
                    </a:ext>
                  </a:extLst>
                </p:cNvPr>
                <p:cNvCxnSpPr>
                  <a:cxnSpLocks/>
                </p:cNvCxnSpPr>
                <p:nvPr/>
              </p:nvCxnSpPr>
              <p:spPr>
                <a:xfrm flipV="1">
                  <a:off x="3467098" y="2320707"/>
                  <a:ext cx="2363649" cy="9537"/>
                </a:xfrm>
                <a:prstGeom prst="line">
                  <a:avLst/>
                </a:prstGeom>
                <a:ln w="66675" cap="rnd">
                  <a:solidFill>
                    <a:srgbClr val="ACCF59"/>
                  </a:solidFill>
                  <a:round/>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3C466A09-7040-4A4A-A895-766644CCD5E8}"/>
                    </a:ext>
                  </a:extLst>
                </p:cNvPr>
                <p:cNvSpPr/>
                <p:nvPr/>
              </p:nvSpPr>
              <p:spPr>
                <a:xfrm>
                  <a:off x="5762004" y="2225972"/>
                  <a:ext cx="138922" cy="169215"/>
                </a:xfrm>
                <a:prstGeom prst="ellipse">
                  <a:avLst/>
                </a:prstGeom>
                <a:solidFill>
                  <a:schemeClr val="bg1"/>
                </a:solidFill>
                <a:ln w="53975">
                  <a:solidFill>
                    <a:srgbClr val="ACCF59"/>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55" name="Group 54">
                <a:extLst>
                  <a:ext uri="{FF2B5EF4-FFF2-40B4-BE49-F238E27FC236}">
                    <a16:creationId xmlns:a16="http://schemas.microsoft.com/office/drawing/2014/main" id="{AF7808CF-AFD4-42DF-841C-4CAB224676F9}"/>
                  </a:ext>
                </a:extLst>
              </p:cNvPr>
              <p:cNvGrpSpPr/>
              <p:nvPr/>
            </p:nvGrpSpPr>
            <p:grpSpPr>
              <a:xfrm>
                <a:off x="8799870" y="1965551"/>
                <a:ext cx="2553928" cy="429636"/>
                <a:chOff x="936158" y="1965551"/>
                <a:chExt cx="2553928" cy="429636"/>
              </a:xfrm>
            </p:grpSpPr>
            <p:sp>
              <p:nvSpPr>
                <p:cNvPr id="57" name="TextBox 56">
                  <a:extLst>
                    <a:ext uri="{FF2B5EF4-FFF2-40B4-BE49-F238E27FC236}">
                      <a16:creationId xmlns:a16="http://schemas.microsoft.com/office/drawing/2014/main" id="{DBCD6270-D030-4425-8828-FF2889F616D2}"/>
                    </a:ext>
                  </a:extLst>
                </p:cNvPr>
                <p:cNvSpPr txBox="1"/>
                <p:nvPr/>
              </p:nvSpPr>
              <p:spPr>
                <a:xfrm>
                  <a:off x="936158" y="1965551"/>
                  <a:ext cx="2553928" cy="167793"/>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Healthcare CDMO CRO</a:t>
                  </a:r>
                </a:p>
              </p:txBody>
            </p:sp>
            <p:cxnSp>
              <p:nvCxnSpPr>
                <p:cNvPr id="58" name="Straight Connector 57">
                  <a:extLst>
                    <a:ext uri="{FF2B5EF4-FFF2-40B4-BE49-F238E27FC236}">
                      <a16:creationId xmlns:a16="http://schemas.microsoft.com/office/drawing/2014/main" id="{CCDCF6E4-A9AE-4B08-B8E9-A0DD91BF6F6A}"/>
                    </a:ext>
                  </a:extLst>
                </p:cNvPr>
                <p:cNvCxnSpPr>
                  <a:cxnSpLocks/>
                  <a:endCxn id="56" idx="2"/>
                </p:cNvCxnSpPr>
                <p:nvPr/>
              </p:nvCxnSpPr>
              <p:spPr>
                <a:xfrm flipV="1">
                  <a:off x="960280" y="2310580"/>
                  <a:ext cx="2338736" cy="9436"/>
                </a:xfrm>
                <a:prstGeom prst="line">
                  <a:avLst/>
                </a:prstGeom>
                <a:ln w="66675" cap="rnd">
                  <a:solidFill>
                    <a:srgbClr val="00AFB9"/>
                  </a:solidFill>
                  <a:round/>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134CB8BE-776D-46C1-9862-C10D9A9BE246}"/>
                    </a:ext>
                  </a:extLst>
                </p:cNvPr>
                <p:cNvSpPr/>
                <p:nvPr/>
              </p:nvSpPr>
              <p:spPr>
                <a:xfrm>
                  <a:off x="3299016" y="2225972"/>
                  <a:ext cx="138922" cy="169215"/>
                </a:xfrm>
                <a:prstGeom prst="ellipse">
                  <a:avLst/>
                </a:prstGeom>
                <a:solidFill>
                  <a:schemeClr val="bg1"/>
                </a:solidFill>
                <a:ln w="53975">
                  <a:solidFill>
                    <a:srgbClr val="00AFB9"/>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86" name="Group 85">
              <a:extLst>
                <a:ext uri="{FF2B5EF4-FFF2-40B4-BE49-F238E27FC236}">
                  <a16:creationId xmlns:a16="http://schemas.microsoft.com/office/drawing/2014/main" id="{B410B439-38E8-4915-AF20-1EFC875E293A}"/>
                </a:ext>
              </a:extLst>
            </p:cNvPr>
            <p:cNvGrpSpPr/>
            <p:nvPr/>
          </p:nvGrpSpPr>
          <p:grpSpPr>
            <a:xfrm>
              <a:off x="838197" y="2443483"/>
              <a:ext cx="10515601" cy="440327"/>
              <a:chOff x="838197" y="1861729"/>
              <a:chExt cx="10515601" cy="533458"/>
            </a:xfrm>
          </p:grpSpPr>
          <p:cxnSp>
            <p:nvCxnSpPr>
              <p:cNvPr id="87" name="Straight Connector 86">
                <a:extLst>
                  <a:ext uri="{FF2B5EF4-FFF2-40B4-BE49-F238E27FC236}">
                    <a16:creationId xmlns:a16="http://schemas.microsoft.com/office/drawing/2014/main" id="{0B8321AD-2F1D-4A88-B5E2-A3FC3B751115}"/>
                  </a:ext>
                </a:extLst>
              </p:cNvPr>
              <p:cNvCxnSpPr>
                <a:cxnSpLocks/>
              </p:cNvCxnSpPr>
              <p:nvPr/>
            </p:nvCxnSpPr>
            <p:spPr>
              <a:xfrm>
                <a:off x="838200" y="2320412"/>
                <a:ext cx="1051559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F6DFF02A-4BC6-45C1-8C5D-03BEF5800256}"/>
                  </a:ext>
                </a:extLst>
              </p:cNvPr>
              <p:cNvGrpSpPr/>
              <p:nvPr/>
            </p:nvGrpSpPr>
            <p:grpSpPr>
              <a:xfrm>
                <a:off x="838197" y="1887576"/>
                <a:ext cx="2575620" cy="507611"/>
                <a:chOff x="838197" y="1887576"/>
                <a:chExt cx="2575620" cy="507611"/>
              </a:xfrm>
            </p:grpSpPr>
            <p:sp>
              <p:nvSpPr>
                <p:cNvPr id="97" name="TextBox 96">
                  <a:extLst>
                    <a:ext uri="{FF2B5EF4-FFF2-40B4-BE49-F238E27FC236}">
                      <a16:creationId xmlns:a16="http://schemas.microsoft.com/office/drawing/2014/main" id="{75750DAB-D949-4B81-937C-D9EA703324C2}"/>
                    </a:ext>
                  </a:extLst>
                </p:cNvPr>
                <p:cNvSpPr txBox="1"/>
                <p:nvPr/>
              </p:nvSpPr>
              <p:spPr>
                <a:xfrm>
                  <a:off x="838197" y="1887576"/>
                  <a:ext cx="2359379" cy="335586"/>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Segoe UI"/>
                      <a:ea typeface="+mn-ea"/>
                      <a:cs typeface="+mn-cs"/>
                    </a:rPr>
                    <a:t>22 small </a:t>
                  </a:r>
                  <a:r>
                    <a:rPr kumimoji="0" lang="en-US" sz="900" b="0" i="0" u="none" strike="noStrike" kern="1200" cap="none" spc="0" normalizeH="0" baseline="0" noProof="0" dirty="0">
                      <a:ln>
                        <a:noFill/>
                      </a:ln>
                      <a:solidFill>
                        <a:prstClr val="black"/>
                      </a:solidFill>
                      <a:effectLst/>
                      <a:uLnTx/>
                      <a:uFillTx/>
                      <a:latin typeface="Segoe UI"/>
                      <a:ea typeface="+mn-ea"/>
                      <a:cs typeface="+mn-cs"/>
                    </a:rPr>
                    <a:t>reactors AND </a:t>
                  </a:r>
                  <a:r>
                    <a:rPr kumimoji="0" lang="en-US" sz="900" b="1" i="0" u="none" strike="noStrike" kern="1200" cap="none" spc="0" normalizeH="0" baseline="0" noProof="0" dirty="0">
                      <a:ln>
                        <a:noFill/>
                      </a:ln>
                      <a:solidFill>
                        <a:prstClr val="black"/>
                      </a:solidFill>
                      <a:effectLst/>
                      <a:uLnTx/>
                      <a:uFillTx/>
                      <a:latin typeface="Segoe UI"/>
                      <a:ea typeface="+mn-ea"/>
                      <a:cs typeface="+mn-cs"/>
                    </a:rPr>
                    <a:t>50+ large </a:t>
                  </a:r>
                  <a:r>
                    <a:rPr kumimoji="0" lang="en-US" sz="900" b="0" i="0" u="none" strike="noStrike" kern="1200" cap="none" spc="0" normalizeH="0" baseline="0" noProof="0" dirty="0">
                      <a:ln>
                        <a:noFill/>
                      </a:ln>
                      <a:solidFill>
                        <a:prstClr val="black"/>
                      </a:solidFill>
                      <a:effectLst/>
                      <a:uLnTx/>
                      <a:uFillTx/>
                      <a:latin typeface="Segoe UI"/>
                      <a:ea typeface="+mn-ea"/>
                      <a:cs typeface="+mn-cs"/>
                    </a:rPr>
                    <a:t>Batch/Flow Reactors+ANFDs/Cfg./Dryers/etc &amp; Utilities</a:t>
                  </a:r>
                </a:p>
              </p:txBody>
            </p:sp>
            <p:cxnSp>
              <p:nvCxnSpPr>
                <p:cNvPr id="98" name="Straight Connector 97">
                  <a:extLst>
                    <a:ext uri="{FF2B5EF4-FFF2-40B4-BE49-F238E27FC236}">
                      <a16:creationId xmlns:a16="http://schemas.microsoft.com/office/drawing/2014/main" id="{EF037FD8-74F3-4055-8C58-C7B3CCDFA131}"/>
                    </a:ext>
                  </a:extLst>
                </p:cNvPr>
                <p:cNvCxnSpPr>
                  <a:cxnSpLocks/>
                  <a:endCxn id="99" idx="2"/>
                </p:cNvCxnSpPr>
                <p:nvPr/>
              </p:nvCxnSpPr>
              <p:spPr>
                <a:xfrm flipV="1">
                  <a:off x="838198" y="2310580"/>
                  <a:ext cx="2436697" cy="9831"/>
                </a:xfrm>
                <a:prstGeom prst="line">
                  <a:avLst/>
                </a:prstGeom>
                <a:ln w="66675" cap="rnd">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99" name="Oval 98">
                  <a:extLst>
                    <a:ext uri="{FF2B5EF4-FFF2-40B4-BE49-F238E27FC236}">
                      <a16:creationId xmlns:a16="http://schemas.microsoft.com/office/drawing/2014/main" id="{8987D5F7-DB40-4A7F-9D82-21B3672E249A}"/>
                    </a:ext>
                  </a:extLst>
                </p:cNvPr>
                <p:cNvSpPr/>
                <p:nvPr/>
              </p:nvSpPr>
              <p:spPr>
                <a:xfrm>
                  <a:off x="3274895" y="2225972"/>
                  <a:ext cx="138922" cy="169215"/>
                </a:xfrm>
                <a:prstGeom prst="ellipse">
                  <a:avLst/>
                </a:prstGeom>
                <a:solidFill>
                  <a:schemeClr val="bg1"/>
                </a:solidFill>
                <a:ln w="53975">
                  <a:solidFill>
                    <a:schemeClr val="accent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89" name="Group 88">
                <a:extLst>
                  <a:ext uri="{FF2B5EF4-FFF2-40B4-BE49-F238E27FC236}">
                    <a16:creationId xmlns:a16="http://schemas.microsoft.com/office/drawing/2014/main" id="{1BB7F363-E1E7-4F21-8E40-4636E3856DB2}"/>
                  </a:ext>
                </a:extLst>
              </p:cNvPr>
              <p:cNvGrpSpPr/>
              <p:nvPr/>
            </p:nvGrpSpPr>
            <p:grpSpPr>
              <a:xfrm>
                <a:off x="3611385" y="1872605"/>
                <a:ext cx="5012312" cy="522582"/>
                <a:chOff x="880266" y="1872605"/>
                <a:chExt cx="5012312" cy="522582"/>
              </a:xfrm>
            </p:grpSpPr>
            <p:sp>
              <p:nvSpPr>
                <p:cNvPr id="94" name="TextBox 93">
                  <a:extLst>
                    <a:ext uri="{FF2B5EF4-FFF2-40B4-BE49-F238E27FC236}">
                      <a16:creationId xmlns:a16="http://schemas.microsoft.com/office/drawing/2014/main" id="{E5675AC0-7C17-4120-926C-5B09031B96E6}"/>
                    </a:ext>
                  </a:extLst>
                </p:cNvPr>
                <p:cNvSpPr txBox="1"/>
                <p:nvPr/>
              </p:nvSpPr>
              <p:spPr>
                <a:xfrm>
                  <a:off x="1297338" y="1872605"/>
                  <a:ext cx="4005230" cy="335585"/>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Segoe UI"/>
                      <a:ea typeface="+mn-ea"/>
                      <a:cs typeface="+mn-cs"/>
                    </a:rPr>
                    <a:t>250+ large </a:t>
                  </a:r>
                  <a:r>
                    <a:rPr kumimoji="0" lang="en-US" sz="900" b="0" i="0" u="none" strike="noStrike" kern="1200" cap="none" spc="0" normalizeH="0" baseline="0" noProof="0" dirty="0">
                      <a:ln>
                        <a:noFill/>
                      </a:ln>
                      <a:solidFill>
                        <a:prstClr val="black"/>
                      </a:solidFill>
                      <a:effectLst/>
                      <a:uLnTx/>
                      <a:uFillTx/>
                      <a:latin typeface="Segoe UI"/>
                      <a:ea typeface="+mn-ea"/>
                      <a:cs typeface="+mn-cs"/>
                    </a:rPr>
                    <a:t>Batch/Flow Reactors+ANFDs/Cfg./Dryers/etc &amp; Util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To be installed in </a:t>
                  </a:r>
                  <a:r>
                    <a:rPr kumimoji="0" lang="en-US" sz="900" b="1" i="0" u="none" strike="noStrike" kern="1200" cap="none" spc="0" normalizeH="0" baseline="0" noProof="0" dirty="0">
                      <a:ln>
                        <a:noFill/>
                      </a:ln>
                      <a:solidFill>
                        <a:prstClr val="black"/>
                      </a:solidFill>
                      <a:effectLst/>
                      <a:uLnTx/>
                      <a:uFillTx/>
                      <a:latin typeface="Segoe UI"/>
                      <a:ea typeface="+mn-ea"/>
                      <a:cs typeface="+mn-cs"/>
                    </a:rPr>
                    <a:t>three phases</a:t>
                  </a:r>
                </a:p>
              </p:txBody>
            </p:sp>
            <p:cxnSp>
              <p:nvCxnSpPr>
                <p:cNvPr id="95" name="Straight Connector 94">
                  <a:extLst>
                    <a:ext uri="{FF2B5EF4-FFF2-40B4-BE49-F238E27FC236}">
                      <a16:creationId xmlns:a16="http://schemas.microsoft.com/office/drawing/2014/main" id="{0AA10B9C-2AA5-4231-A6DF-315DB04546D7}"/>
                    </a:ext>
                  </a:extLst>
                </p:cNvPr>
                <p:cNvCxnSpPr>
                  <a:cxnSpLocks/>
                  <a:endCxn id="96" idx="2"/>
                </p:cNvCxnSpPr>
                <p:nvPr/>
              </p:nvCxnSpPr>
              <p:spPr>
                <a:xfrm flipV="1">
                  <a:off x="880266" y="2310580"/>
                  <a:ext cx="4873389" cy="19664"/>
                </a:xfrm>
                <a:prstGeom prst="line">
                  <a:avLst/>
                </a:prstGeom>
                <a:ln w="66675"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96" name="Oval 95">
                  <a:extLst>
                    <a:ext uri="{FF2B5EF4-FFF2-40B4-BE49-F238E27FC236}">
                      <a16:creationId xmlns:a16="http://schemas.microsoft.com/office/drawing/2014/main" id="{9DBF89F0-F270-4724-8CBA-7A373CAA44C1}"/>
                    </a:ext>
                  </a:extLst>
                </p:cNvPr>
                <p:cNvSpPr/>
                <p:nvPr/>
              </p:nvSpPr>
              <p:spPr>
                <a:xfrm>
                  <a:off x="5753656" y="2225972"/>
                  <a:ext cx="138922" cy="169215"/>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90" name="Group 89">
                <a:extLst>
                  <a:ext uri="{FF2B5EF4-FFF2-40B4-BE49-F238E27FC236}">
                    <a16:creationId xmlns:a16="http://schemas.microsoft.com/office/drawing/2014/main" id="{DCEF0D67-30DA-447E-888A-0183F8FBABDB}"/>
                  </a:ext>
                </a:extLst>
              </p:cNvPr>
              <p:cNvGrpSpPr/>
              <p:nvPr/>
            </p:nvGrpSpPr>
            <p:grpSpPr>
              <a:xfrm>
                <a:off x="8799870" y="1861729"/>
                <a:ext cx="2553927" cy="533458"/>
                <a:chOff x="936158" y="1861729"/>
                <a:chExt cx="2553927" cy="533458"/>
              </a:xfrm>
            </p:grpSpPr>
            <p:sp>
              <p:nvSpPr>
                <p:cNvPr id="91" name="TextBox 90">
                  <a:extLst>
                    <a:ext uri="{FF2B5EF4-FFF2-40B4-BE49-F238E27FC236}">
                      <a16:creationId xmlns:a16="http://schemas.microsoft.com/office/drawing/2014/main" id="{3117915F-2D32-47F3-9D79-39CA9B3E46F8}"/>
                    </a:ext>
                  </a:extLst>
                </p:cNvPr>
                <p:cNvSpPr txBox="1"/>
                <p:nvPr/>
              </p:nvSpPr>
              <p:spPr>
                <a:xfrm>
                  <a:off x="936158" y="1861729"/>
                  <a:ext cx="2553927" cy="335587"/>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Segoe UI"/>
                      <a:ea typeface="+mn-ea"/>
                      <a:cs typeface="+mn-cs"/>
                    </a:rPr>
                    <a:t>60+ midsize &amp; small </a:t>
                  </a:r>
                  <a:r>
                    <a:rPr kumimoji="0" lang="en-US" sz="900" b="0" i="0" u="none" strike="noStrike" kern="1200" cap="none" spc="0" normalizeH="0" baseline="0" noProof="0" dirty="0">
                      <a:ln>
                        <a:noFill/>
                      </a:ln>
                      <a:solidFill>
                        <a:prstClr val="black"/>
                      </a:solidFill>
                      <a:effectLst/>
                      <a:uLnTx/>
                      <a:uFillTx/>
                      <a:latin typeface="Segoe UI"/>
                      <a:ea typeface="+mn-ea"/>
                      <a:cs typeface="+mn-cs"/>
                    </a:rPr>
                    <a:t>Batch/Flow Reactors+ANFDs/Cfg./Dryers/etc &amp; Utilities</a:t>
                  </a:r>
                </a:p>
              </p:txBody>
            </p:sp>
            <p:cxnSp>
              <p:nvCxnSpPr>
                <p:cNvPr id="92" name="Straight Connector 91">
                  <a:extLst>
                    <a:ext uri="{FF2B5EF4-FFF2-40B4-BE49-F238E27FC236}">
                      <a16:creationId xmlns:a16="http://schemas.microsoft.com/office/drawing/2014/main" id="{67CC2996-7BE9-4AFC-8887-3F78CFF521B5}"/>
                    </a:ext>
                  </a:extLst>
                </p:cNvPr>
                <p:cNvCxnSpPr>
                  <a:cxnSpLocks/>
                  <a:endCxn id="93" idx="2"/>
                </p:cNvCxnSpPr>
                <p:nvPr/>
              </p:nvCxnSpPr>
              <p:spPr>
                <a:xfrm flipV="1">
                  <a:off x="960280" y="2310580"/>
                  <a:ext cx="2338736" cy="9436"/>
                </a:xfrm>
                <a:prstGeom prst="line">
                  <a:avLst/>
                </a:prstGeom>
                <a:ln w="66675" cap="rnd">
                  <a:solidFill>
                    <a:srgbClr val="00AFB9"/>
                  </a:solidFill>
                  <a:round/>
                </a:ln>
              </p:spPr>
              <p:style>
                <a:lnRef idx="1">
                  <a:schemeClr val="accent1"/>
                </a:lnRef>
                <a:fillRef idx="0">
                  <a:schemeClr val="accent1"/>
                </a:fillRef>
                <a:effectRef idx="0">
                  <a:schemeClr val="accent1"/>
                </a:effectRef>
                <a:fontRef idx="minor">
                  <a:schemeClr val="tx1"/>
                </a:fontRef>
              </p:style>
            </p:cxnSp>
            <p:sp>
              <p:nvSpPr>
                <p:cNvPr id="93" name="Oval 92">
                  <a:extLst>
                    <a:ext uri="{FF2B5EF4-FFF2-40B4-BE49-F238E27FC236}">
                      <a16:creationId xmlns:a16="http://schemas.microsoft.com/office/drawing/2014/main" id="{938B687F-BAF7-4954-ABE0-6722C39B8A9E}"/>
                    </a:ext>
                  </a:extLst>
                </p:cNvPr>
                <p:cNvSpPr/>
                <p:nvPr/>
              </p:nvSpPr>
              <p:spPr>
                <a:xfrm>
                  <a:off x="3299016" y="2225972"/>
                  <a:ext cx="138922" cy="169215"/>
                </a:xfrm>
                <a:prstGeom prst="ellipse">
                  <a:avLst/>
                </a:prstGeom>
                <a:solidFill>
                  <a:schemeClr val="bg1"/>
                </a:solidFill>
                <a:ln w="53975">
                  <a:solidFill>
                    <a:srgbClr val="00AFB9"/>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00" name="Group 99">
              <a:extLst>
                <a:ext uri="{FF2B5EF4-FFF2-40B4-BE49-F238E27FC236}">
                  <a16:creationId xmlns:a16="http://schemas.microsoft.com/office/drawing/2014/main" id="{BA61ED07-E446-48DF-A985-545A8965464A}"/>
                </a:ext>
              </a:extLst>
            </p:cNvPr>
            <p:cNvGrpSpPr/>
            <p:nvPr/>
          </p:nvGrpSpPr>
          <p:grpSpPr>
            <a:xfrm>
              <a:off x="838198" y="2922823"/>
              <a:ext cx="10515600" cy="294418"/>
              <a:chOff x="838198" y="2038497"/>
              <a:chExt cx="10515600" cy="356690"/>
            </a:xfrm>
          </p:grpSpPr>
          <p:cxnSp>
            <p:nvCxnSpPr>
              <p:cNvPr id="101" name="Straight Connector 100">
                <a:extLst>
                  <a:ext uri="{FF2B5EF4-FFF2-40B4-BE49-F238E27FC236}">
                    <a16:creationId xmlns:a16="http://schemas.microsoft.com/office/drawing/2014/main" id="{68469DB7-7C78-4605-BE0B-2415BC2BAA5E}"/>
                  </a:ext>
                </a:extLst>
              </p:cNvPr>
              <p:cNvCxnSpPr>
                <a:cxnSpLocks/>
              </p:cNvCxnSpPr>
              <p:nvPr/>
            </p:nvCxnSpPr>
            <p:spPr>
              <a:xfrm>
                <a:off x="838200" y="2320412"/>
                <a:ext cx="1051559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0797D462-31AD-494E-8A72-77D23603A0FE}"/>
                  </a:ext>
                </a:extLst>
              </p:cNvPr>
              <p:cNvGrpSpPr/>
              <p:nvPr/>
            </p:nvGrpSpPr>
            <p:grpSpPr>
              <a:xfrm>
                <a:off x="838198" y="2038497"/>
                <a:ext cx="2628900" cy="356690"/>
                <a:chOff x="838198" y="2038497"/>
                <a:chExt cx="2628900" cy="356690"/>
              </a:xfrm>
            </p:grpSpPr>
            <p:sp>
              <p:nvSpPr>
                <p:cNvPr id="111" name="TextBox 110">
                  <a:extLst>
                    <a:ext uri="{FF2B5EF4-FFF2-40B4-BE49-F238E27FC236}">
                      <a16:creationId xmlns:a16="http://schemas.microsoft.com/office/drawing/2014/main" id="{BD04E910-DA7A-4483-9DAC-FD1DC5B70451}"/>
                    </a:ext>
                  </a:extLst>
                </p:cNvPr>
                <p:cNvSpPr txBox="1"/>
                <p:nvPr/>
              </p:nvSpPr>
              <p:spPr>
                <a:xfrm>
                  <a:off x="838198" y="2038497"/>
                  <a:ext cx="2628900" cy="16779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R&amp;D/ADL/QC/Safety/Microbio/Eff.Treat. Labs</a:t>
                  </a:r>
                </a:p>
              </p:txBody>
            </p:sp>
            <p:cxnSp>
              <p:nvCxnSpPr>
                <p:cNvPr id="112" name="Straight Connector 111">
                  <a:extLst>
                    <a:ext uri="{FF2B5EF4-FFF2-40B4-BE49-F238E27FC236}">
                      <a16:creationId xmlns:a16="http://schemas.microsoft.com/office/drawing/2014/main" id="{F2850BF4-C08C-4E5B-B1BB-24E6CC9AAA01}"/>
                    </a:ext>
                  </a:extLst>
                </p:cNvPr>
                <p:cNvCxnSpPr>
                  <a:cxnSpLocks/>
                  <a:endCxn id="113" idx="2"/>
                </p:cNvCxnSpPr>
                <p:nvPr/>
              </p:nvCxnSpPr>
              <p:spPr>
                <a:xfrm flipV="1">
                  <a:off x="838198" y="2310580"/>
                  <a:ext cx="2436697" cy="9833"/>
                </a:xfrm>
                <a:prstGeom prst="line">
                  <a:avLst/>
                </a:prstGeom>
                <a:ln w="66675" cap="rnd">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13" name="Oval 112">
                  <a:extLst>
                    <a:ext uri="{FF2B5EF4-FFF2-40B4-BE49-F238E27FC236}">
                      <a16:creationId xmlns:a16="http://schemas.microsoft.com/office/drawing/2014/main" id="{C96ED3CF-4B91-4F58-89C9-B98E91C7FB1F}"/>
                    </a:ext>
                  </a:extLst>
                </p:cNvPr>
                <p:cNvSpPr/>
                <p:nvPr/>
              </p:nvSpPr>
              <p:spPr>
                <a:xfrm>
                  <a:off x="3274895" y="2225972"/>
                  <a:ext cx="138922" cy="169215"/>
                </a:xfrm>
                <a:prstGeom prst="ellipse">
                  <a:avLst/>
                </a:prstGeom>
                <a:solidFill>
                  <a:schemeClr val="bg1"/>
                </a:solidFill>
                <a:ln w="53975">
                  <a:solidFill>
                    <a:schemeClr val="accent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03" name="Group 102">
                <a:extLst>
                  <a:ext uri="{FF2B5EF4-FFF2-40B4-BE49-F238E27FC236}">
                    <a16:creationId xmlns:a16="http://schemas.microsoft.com/office/drawing/2014/main" id="{4D5BB727-7C70-4BA7-A5C1-024DCD7920E4}"/>
                  </a:ext>
                </a:extLst>
              </p:cNvPr>
              <p:cNvGrpSpPr/>
              <p:nvPr/>
            </p:nvGrpSpPr>
            <p:grpSpPr>
              <a:xfrm>
                <a:off x="3611385" y="2038497"/>
                <a:ext cx="5012312" cy="356690"/>
                <a:chOff x="880266" y="2038497"/>
                <a:chExt cx="5012312" cy="356690"/>
              </a:xfrm>
            </p:grpSpPr>
            <p:sp>
              <p:nvSpPr>
                <p:cNvPr id="108" name="TextBox 107">
                  <a:extLst>
                    <a:ext uri="{FF2B5EF4-FFF2-40B4-BE49-F238E27FC236}">
                      <a16:creationId xmlns:a16="http://schemas.microsoft.com/office/drawing/2014/main" id="{DE7D4323-943E-42D3-97DE-305B45C60D30}"/>
                    </a:ext>
                  </a:extLst>
                </p:cNvPr>
                <p:cNvSpPr txBox="1"/>
                <p:nvPr/>
              </p:nvSpPr>
              <p:spPr>
                <a:xfrm>
                  <a:off x="1477041" y="2038497"/>
                  <a:ext cx="3698997" cy="16779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50 products could be made simultaneously</a:t>
                  </a:r>
                </a:p>
              </p:txBody>
            </p:sp>
            <p:cxnSp>
              <p:nvCxnSpPr>
                <p:cNvPr id="109" name="Straight Connector 108">
                  <a:extLst>
                    <a:ext uri="{FF2B5EF4-FFF2-40B4-BE49-F238E27FC236}">
                      <a16:creationId xmlns:a16="http://schemas.microsoft.com/office/drawing/2014/main" id="{731D0A8C-A831-4D5F-9709-1DA6C8137F26}"/>
                    </a:ext>
                  </a:extLst>
                </p:cNvPr>
                <p:cNvCxnSpPr>
                  <a:cxnSpLocks/>
                </p:cNvCxnSpPr>
                <p:nvPr/>
              </p:nvCxnSpPr>
              <p:spPr>
                <a:xfrm flipV="1">
                  <a:off x="880266" y="2310580"/>
                  <a:ext cx="4873389" cy="19664"/>
                </a:xfrm>
                <a:prstGeom prst="line">
                  <a:avLst/>
                </a:prstGeom>
                <a:ln w="66675"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a16="http://schemas.microsoft.com/office/drawing/2014/main" id="{AAB8AF6F-F31F-484E-9453-3BAABE531A0A}"/>
                    </a:ext>
                  </a:extLst>
                </p:cNvPr>
                <p:cNvSpPr/>
                <p:nvPr/>
              </p:nvSpPr>
              <p:spPr>
                <a:xfrm>
                  <a:off x="5753656" y="2225972"/>
                  <a:ext cx="138922" cy="169215"/>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04" name="Group 103">
                <a:extLst>
                  <a:ext uri="{FF2B5EF4-FFF2-40B4-BE49-F238E27FC236}">
                    <a16:creationId xmlns:a16="http://schemas.microsoft.com/office/drawing/2014/main" id="{48146827-E357-48DD-83FD-05EEB8C75E5E}"/>
                  </a:ext>
                </a:extLst>
              </p:cNvPr>
              <p:cNvGrpSpPr/>
              <p:nvPr/>
            </p:nvGrpSpPr>
            <p:grpSpPr>
              <a:xfrm>
                <a:off x="8799870" y="2038497"/>
                <a:ext cx="2553928" cy="356690"/>
                <a:chOff x="936158" y="2038497"/>
                <a:chExt cx="2553928" cy="356690"/>
              </a:xfrm>
            </p:grpSpPr>
            <p:sp>
              <p:nvSpPr>
                <p:cNvPr id="105" name="TextBox 104">
                  <a:extLst>
                    <a:ext uri="{FF2B5EF4-FFF2-40B4-BE49-F238E27FC236}">
                      <a16:creationId xmlns:a16="http://schemas.microsoft.com/office/drawing/2014/main" id="{E1AC2F03-8FCA-4CFC-96F6-1ABA5B0231CB}"/>
                    </a:ext>
                  </a:extLst>
                </p:cNvPr>
                <p:cNvSpPr txBox="1"/>
                <p:nvPr/>
              </p:nvSpPr>
              <p:spPr>
                <a:xfrm>
                  <a:off x="936158" y="2038497"/>
                  <a:ext cx="2553928" cy="16779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To be Decided</a:t>
                  </a:r>
                </a:p>
              </p:txBody>
            </p:sp>
            <p:cxnSp>
              <p:nvCxnSpPr>
                <p:cNvPr id="106" name="Straight Connector 105">
                  <a:extLst>
                    <a:ext uri="{FF2B5EF4-FFF2-40B4-BE49-F238E27FC236}">
                      <a16:creationId xmlns:a16="http://schemas.microsoft.com/office/drawing/2014/main" id="{11676832-98BC-42AD-A7B1-38A41527A3ED}"/>
                    </a:ext>
                  </a:extLst>
                </p:cNvPr>
                <p:cNvCxnSpPr>
                  <a:cxnSpLocks/>
                  <a:endCxn id="107" idx="2"/>
                </p:cNvCxnSpPr>
                <p:nvPr/>
              </p:nvCxnSpPr>
              <p:spPr>
                <a:xfrm flipV="1">
                  <a:off x="960280" y="2310580"/>
                  <a:ext cx="2338736" cy="9436"/>
                </a:xfrm>
                <a:prstGeom prst="line">
                  <a:avLst/>
                </a:prstGeom>
                <a:ln w="66675" cap="rnd">
                  <a:solidFill>
                    <a:srgbClr val="00AFB9"/>
                  </a:solidFill>
                  <a:round/>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163D8C91-0E31-411F-B1F9-35AF17D841D9}"/>
                    </a:ext>
                  </a:extLst>
                </p:cNvPr>
                <p:cNvSpPr/>
                <p:nvPr/>
              </p:nvSpPr>
              <p:spPr>
                <a:xfrm>
                  <a:off x="3299016" y="2225972"/>
                  <a:ext cx="138922" cy="169215"/>
                </a:xfrm>
                <a:prstGeom prst="ellipse">
                  <a:avLst/>
                </a:prstGeom>
                <a:solidFill>
                  <a:schemeClr val="bg1"/>
                </a:solidFill>
                <a:ln w="53975">
                  <a:solidFill>
                    <a:srgbClr val="00AFB9"/>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28" name="Group 127">
              <a:extLst>
                <a:ext uri="{FF2B5EF4-FFF2-40B4-BE49-F238E27FC236}">
                  <a16:creationId xmlns:a16="http://schemas.microsoft.com/office/drawing/2014/main" id="{3F9D7629-CE0C-4988-85E8-D4D246D55B39}"/>
                </a:ext>
              </a:extLst>
            </p:cNvPr>
            <p:cNvGrpSpPr/>
            <p:nvPr/>
          </p:nvGrpSpPr>
          <p:grpSpPr>
            <a:xfrm>
              <a:off x="838198" y="3240884"/>
              <a:ext cx="10515600" cy="557489"/>
              <a:chOff x="838198" y="1719784"/>
              <a:chExt cx="10515600" cy="675403"/>
            </a:xfrm>
          </p:grpSpPr>
          <p:cxnSp>
            <p:nvCxnSpPr>
              <p:cNvPr id="129" name="Straight Connector 128">
                <a:extLst>
                  <a:ext uri="{FF2B5EF4-FFF2-40B4-BE49-F238E27FC236}">
                    <a16:creationId xmlns:a16="http://schemas.microsoft.com/office/drawing/2014/main" id="{697D908C-494A-417F-88A3-22338A31981C}"/>
                  </a:ext>
                </a:extLst>
              </p:cNvPr>
              <p:cNvCxnSpPr>
                <a:cxnSpLocks/>
              </p:cNvCxnSpPr>
              <p:nvPr/>
            </p:nvCxnSpPr>
            <p:spPr>
              <a:xfrm>
                <a:off x="838200" y="2320412"/>
                <a:ext cx="1051559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0" name="Group 129">
                <a:extLst>
                  <a:ext uri="{FF2B5EF4-FFF2-40B4-BE49-F238E27FC236}">
                    <a16:creationId xmlns:a16="http://schemas.microsoft.com/office/drawing/2014/main" id="{EF8373E7-B987-4CE7-844A-06E17A6C8667}"/>
                  </a:ext>
                </a:extLst>
              </p:cNvPr>
              <p:cNvGrpSpPr/>
              <p:nvPr/>
            </p:nvGrpSpPr>
            <p:grpSpPr>
              <a:xfrm>
                <a:off x="838198" y="1719784"/>
                <a:ext cx="2575619" cy="675403"/>
                <a:chOff x="838198" y="1719784"/>
                <a:chExt cx="2575619" cy="675403"/>
              </a:xfrm>
            </p:grpSpPr>
            <p:sp>
              <p:nvSpPr>
                <p:cNvPr id="142" name="TextBox 141">
                  <a:extLst>
                    <a:ext uri="{FF2B5EF4-FFF2-40B4-BE49-F238E27FC236}">
                      <a16:creationId xmlns:a16="http://schemas.microsoft.com/office/drawing/2014/main" id="{8A4BE7B1-4F09-44CD-9BE4-B96EAA079C5E}"/>
                    </a:ext>
                  </a:extLst>
                </p:cNvPr>
                <p:cNvSpPr txBox="1"/>
                <p:nvPr/>
              </p:nvSpPr>
              <p:spPr>
                <a:xfrm>
                  <a:off x="838198" y="1719784"/>
                  <a:ext cx="2514258" cy="503379"/>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6 Prod Blocks (3,000 to 15,000 lit reacto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Pilot Plant &amp; Kilo Plant for Scale Up &amp; Small Lot Manufacturing (30/300/1000 lit reactors)</a:t>
                  </a:r>
                </a:p>
              </p:txBody>
            </p:sp>
            <p:cxnSp>
              <p:nvCxnSpPr>
                <p:cNvPr id="143" name="Straight Connector 142">
                  <a:extLst>
                    <a:ext uri="{FF2B5EF4-FFF2-40B4-BE49-F238E27FC236}">
                      <a16:creationId xmlns:a16="http://schemas.microsoft.com/office/drawing/2014/main" id="{6228950E-4974-4861-BF64-72310D2343D2}"/>
                    </a:ext>
                  </a:extLst>
                </p:cNvPr>
                <p:cNvCxnSpPr>
                  <a:cxnSpLocks/>
                  <a:endCxn id="144" idx="2"/>
                </p:cNvCxnSpPr>
                <p:nvPr/>
              </p:nvCxnSpPr>
              <p:spPr>
                <a:xfrm flipV="1">
                  <a:off x="838198" y="2310580"/>
                  <a:ext cx="2436697" cy="9831"/>
                </a:xfrm>
                <a:prstGeom prst="line">
                  <a:avLst/>
                </a:prstGeom>
                <a:ln w="66675" cap="rnd">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44" name="Oval 143">
                  <a:extLst>
                    <a:ext uri="{FF2B5EF4-FFF2-40B4-BE49-F238E27FC236}">
                      <a16:creationId xmlns:a16="http://schemas.microsoft.com/office/drawing/2014/main" id="{9A433E2C-2CE3-4DE0-A7F7-4A6F0DB1CC94}"/>
                    </a:ext>
                  </a:extLst>
                </p:cNvPr>
                <p:cNvSpPr/>
                <p:nvPr/>
              </p:nvSpPr>
              <p:spPr>
                <a:xfrm>
                  <a:off x="3274895" y="2225972"/>
                  <a:ext cx="138922" cy="169215"/>
                </a:xfrm>
                <a:prstGeom prst="ellipse">
                  <a:avLst/>
                </a:prstGeom>
                <a:solidFill>
                  <a:schemeClr val="bg1"/>
                </a:solidFill>
                <a:ln w="53975">
                  <a:solidFill>
                    <a:schemeClr val="accent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31" name="Group 130">
                <a:extLst>
                  <a:ext uri="{FF2B5EF4-FFF2-40B4-BE49-F238E27FC236}">
                    <a16:creationId xmlns:a16="http://schemas.microsoft.com/office/drawing/2014/main" id="{BA7E938B-EC17-4024-B8AB-25623ED63E58}"/>
                  </a:ext>
                </a:extLst>
              </p:cNvPr>
              <p:cNvGrpSpPr/>
              <p:nvPr/>
            </p:nvGrpSpPr>
            <p:grpSpPr>
              <a:xfrm>
                <a:off x="3569317" y="1719784"/>
                <a:ext cx="5062728" cy="675403"/>
                <a:chOff x="838198" y="1719784"/>
                <a:chExt cx="5062728" cy="675403"/>
              </a:xfrm>
            </p:grpSpPr>
            <p:sp>
              <p:nvSpPr>
                <p:cNvPr id="136" name="TextBox 135">
                  <a:extLst>
                    <a:ext uri="{FF2B5EF4-FFF2-40B4-BE49-F238E27FC236}">
                      <a16:creationId xmlns:a16="http://schemas.microsoft.com/office/drawing/2014/main" id="{2098DB56-B874-47B9-BCA0-10CF4A563196}"/>
                    </a:ext>
                  </a:extLst>
                </p:cNvPr>
                <p:cNvSpPr txBox="1"/>
                <p:nvPr/>
              </p:nvSpPr>
              <p:spPr>
                <a:xfrm>
                  <a:off x="838198" y="1719784"/>
                  <a:ext cx="2311488" cy="503380"/>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16 Production Bloc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8,000 / 10.000 / 12,000 lit reacto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Small Kilo Plant + Quality Control </a:t>
                  </a:r>
                </a:p>
              </p:txBody>
            </p:sp>
            <p:cxnSp>
              <p:nvCxnSpPr>
                <p:cNvPr id="137" name="Straight Connector 136">
                  <a:extLst>
                    <a:ext uri="{FF2B5EF4-FFF2-40B4-BE49-F238E27FC236}">
                      <a16:creationId xmlns:a16="http://schemas.microsoft.com/office/drawing/2014/main" id="{6E7FD3B7-F976-4513-B2FC-8217A26C1638}"/>
                    </a:ext>
                  </a:extLst>
                </p:cNvPr>
                <p:cNvCxnSpPr>
                  <a:cxnSpLocks/>
                </p:cNvCxnSpPr>
                <p:nvPr/>
              </p:nvCxnSpPr>
              <p:spPr>
                <a:xfrm flipV="1">
                  <a:off x="857113" y="2320707"/>
                  <a:ext cx="2363649" cy="9537"/>
                </a:xfrm>
                <a:prstGeom prst="line">
                  <a:avLst/>
                </a:prstGeom>
                <a:ln w="66675"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138" name="Oval 137">
                  <a:extLst>
                    <a:ext uri="{FF2B5EF4-FFF2-40B4-BE49-F238E27FC236}">
                      <a16:creationId xmlns:a16="http://schemas.microsoft.com/office/drawing/2014/main" id="{7BEC144E-7791-475F-A417-37B4631F770E}"/>
                    </a:ext>
                  </a:extLst>
                </p:cNvPr>
                <p:cNvSpPr/>
                <p:nvPr/>
              </p:nvSpPr>
              <p:spPr>
                <a:xfrm>
                  <a:off x="3152019" y="2225972"/>
                  <a:ext cx="138922" cy="169215"/>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sp>
              <p:nvSpPr>
                <p:cNvPr id="139" name="TextBox 138">
                  <a:extLst>
                    <a:ext uri="{FF2B5EF4-FFF2-40B4-BE49-F238E27FC236}">
                      <a16:creationId xmlns:a16="http://schemas.microsoft.com/office/drawing/2014/main" id="{5BF139D5-9D1C-4C26-933F-A1368F06AD4A}"/>
                    </a:ext>
                  </a:extLst>
                </p:cNvPr>
                <p:cNvSpPr txBox="1"/>
                <p:nvPr/>
              </p:nvSpPr>
              <p:spPr>
                <a:xfrm>
                  <a:off x="3448183" y="1719784"/>
                  <a:ext cx="2311488" cy="503380"/>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5 Production Block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8,000 / 10.000 / 12,000 lit reacto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Small Kilo Plant + Quality Control</a:t>
                  </a:r>
                </a:p>
              </p:txBody>
            </p:sp>
            <p:cxnSp>
              <p:nvCxnSpPr>
                <p:cNvPr id="140" name="Straight Connector 139">
                  <a:extLst>
                    <a:ext uri="{FF2B5EF4-FFF2-40B4-BE49-F238E27FC236}">
                      <a16:creationId xmlns:a16="http://schemas.microsoft.com/office/drawing/2014/main" id="{10D8F8AD-64CD-4355-96CD-D763CC854C7A}"/>
                    </a:ext>
                  </a:extLst>
                </p:cNvPr>
                <p:cNvCxnSpPr>
                  <a:cxnSpLocks/>
                </p:cNvCxnSpPr>
                <p:nvPr/>
              </p:nvCxnSpPr>
              <p:spPr>
                <a:xfrm flipV="1">
                  <a:off x="3467098" y="2320707"/>
                  <a:ext cx="2363649" cy="9537"/>
                </a:xfrm>
                <a:prstGeom prst="line">
                  <a:avLst/>
                </a:prstGeom>
                <a:ln w="66675" cap="rnd">
                  <a:solidFill>
                    <a:srgbClr val="ACCF59"/>
                  </a:solidFill>
                  <a:round/>
                </a:ln>
              </p:spPr>
              <p:style>
                <a:lnRef idx="1">
                  <a:schemeClr val="accent1"/>
                </a:lnRef>
                <a:fillRef idx="0">
                  <a:schemeClr val="accent1"/>
                </a:fillRef>
                <a:effectRef idx="0">
                  <a:schemeClr val="accent1"/>
                </a:effectRef>
                <a:fontRef idx="minor">
                  <a:schemeClr val="tx1"/>
                </a:fontRef>
              </p:style>
            </p:cxnSp>
            <p:sp>
              <p:nvSpPr>
                <p:cNvPr id="141" name="Oval 140">
                  <a:extLst>
                    <a:ext uri="{FF2B5EF4-FFF2-40B4-BE49-F238E27FC236}">
                      <a16:creationId xmlns:a16="http://schemas.microsoft.com/office/drawing/2014/main" id="{9F1037D9-B13E-482C-82FE-532505ED1D00}"/>
                    </a:ext>
                  </a:extLst>
                </p:cNvPr>
                <p:cNvSpPr/>
                <p:nvPr/>
              </p:nvSpPr>
              <p:spPr>
                <a:xfrm>
                  <a:off x="5762004" y="2225972"/>
                  <a:ext cx="138922" cy="169215"/>
                </a:xfrm>
                <a:prstGeom prst="ellipse">
                  <a:avLst/>
                </a:prstGeom>
                <a:solidFill>
                  <a:schemeClr val="bg1"/>
                </a:solidFill>
                <a:ln w="53975">
                  <a:solidFill>
                    <a:srgbClr val="ACCF59"/>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32" name="Group 131">
                <a:extLst>
                  <a:ext uri="{FF2B5EF4-FFF2-40B4-BE49-F238E27FC236}">
                    <a16:creationId xmlns:a16="http://schemas.microsoft.com/office/drawing/2014/main" id="{2EF0B153-B91F-4017-9DC8-4734E23755B4}"/>
                  </a:ext>
                </a:extLst>
              </p:cNvPr>
              <p:cNvGrpSpPr/>
              <p:nvPr/>
            </p:nvGrpSpPr>
            <p:grpSpPr>
              <a:xfrm>
                <a:off x="8799870" y="1719784"/>
                <a:ext cx="2553928" cy="675403"/>
                <a:chOff x="936158" y="1719784"/>
                <a:chExt cx="2553928" cy="675403"/>
              </a:xfrm>
            </p:grpSpPr>
            <p:sp>
              <p:nvSpPr>
                <p:cNvPr id="133" name="TextBox 132">
                  <a:extLst>
                    <a:ext uri="{FF2B5EF4-FFF2-40B4-BE49-F238E27FC236}">
                      <a16:creationId xmlns:a16="http://schemas.microsoft.com/office/drawing/2014/main" id="{10ADE0FE-1A09-4C02-9922-8FC8367E8F3C}"/>
                    </a:ext>
                  </a:extLst>
                </p:cNvPr>
                <p:cNvSpPr txBox="1"/>
                <p:nvPr/>
              </p:nvSpPr>
              <p:spPr>
                <a:xfrm>
                  <a:off x="936158" y="1719784"/>
                  <a:ext cx="2553928" cy="503380"/>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6 Production Block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Microbiology / ADL / QC Laborato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Various Utilities</a:t>
                  </a:r>
                </a:p>
              </p:txBody>
            </p:sp>
            <p:cxnSp>
              <p:nvCxnSpPr>
                <p:cNvPr id="134" name="Straight Connector 133">
                  <a:extLst>
                    <a:ext uri="{FF2B5EF4-FFF2-40B4-BE49-F238E27FC236}">
                      <a16:creationId xmlns:a16="http://schemas.microsoft.com/office/drawing/2014/main" id="{05C44CF7-005F-4CCC-B941-B0DF4672FF48}"/>
                    </a:ext>
                  </a:extLst>
                </p:cNvPr>
                <p:cNvCxnSpPr>
                  <a:cxnSpLocks/>
                  <a:endCxn id="135" idx="2"/>
                </p:cNvCxnSpPr>
                <p:nvPr/>
              </p:nvCxnSpPr>
              <p:spPr>
                <a:xfrm flipV="1">
                  <a:off x="960280" y="2310580"/>
                  <a:ext cx="2338736" cy="9436"/>
                </a:xfrm>
                <a:prstGeom prst="line">
                  <a:avLst/>
                </a:prstGeom>
                <a:ln w="66675" cap="rnd">
                  <a:solidFill>
                    <a:srgbClr val="00AFB9"/>
                  </a:solidFill>
                  <a:round/>
                </a:ln>
              </p:spPr>
              <p:style>
                <a:lnRef idx="1">
                  <a:schemeClr val="accent1"/>
                </a:lnRef>
                <a:fillRef idx="0">
                  <a:schemeClr val="accent1"/>
                </a:fillRef>
                <a:effectRef idx="0">
                  <a:schemeClr val="accent1"/>
                </a:effectRef>
                <a:fontRef idx="minor">
                  <a:schemeClr val="tx1"/>
                </a:fontRef>
              </p:style>
            </p:cxnSp>
            <p:sp>
              <p:nvSpPr>
                <p:cNvPr id="135" name="Oval 134">
                  <a:extLst>
                    <a:ext uri="{FF2B5EF4-FFF2-40B4-BE49-F238E27FC236}">
                      <a16:creationId xmlns:a16="http://schemas.microsoft.com/office/drawing/2014/main" id="{E03E46AA-E437-46F4-AE6D-9D8921283CCF}"/>
                    </a:ext>
                  </a:extLst>
                </p:cNvPr>
                <p:cNvSpPr/>
                <p:nvPr/>
              </p:nvSpPr>
              <p:spPr>
                <a:xfrm>
                  <a:off x="3299016" y="2225972"/>
                  <a:ext cx="138922" cy="169215"/>
                </a:xfrm>
                <a:prstGeom prst="ellipse">
                  <a:avLst/>
                </a:prstGeom>
                <a:solidFill>
                  <a:schemeClr val="bg1"/>
                </a:solidFill>
                <a:ln w="53975">
                  <a:solidFill>
                    <a:srgbClr val="00AFB9"/>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59" name="Group 158">
              <a:extLst>
                <a:ext uri="{FF2B5EF4-FFF2-40B4-BE49-F238E27FC236}">
                  <a16:creationId xmlns:a16="http://schemas.microsoft.com/office/drawing/2014/main" id="{EE47A1F7-2CA8-4C2B-8203-5EED9B7C3A2E}"/>
                </a:ext>
              </a:extLst>
            </p:cNvPr>
            <p:cNvGrpSpPr/>
            <p:nvPr/>
          </p:nvGrpSpPr>
          <p:grpSpPr>
            <a:xfrm>
              <a:off x="838198" y="3832268"/>
              <a:ext cx="10515600" cy="280491"/>
              <a:chOff x="838198" y="2055369"/>
              <a:chExt cx="10515600" cy="339818"/>
            </a:xfrm>
          </p:grpSpPr>
          <p:cxnSp>
            <p:nvCxnSpPr>
              <p:cNvPr id="160" name="Straight Connector 159">
                <a:extLst>
                  <a:ext uri="{FF2B5EF4-FFF2-40B4-BE49-F238E27FC236}">
                    <a16:creationId xmlns:a16="http://schemas.microsoft.com/office/drawing/2014/main" id="{5633C6F4-E8A9-41CB-87BC-733D8720BFC0}"/>
                  </a:ext>
                </a:extLst>
              </p:cNvPr>
              <p:cNvCxnSpPr>
                <a:cxnSpLocks/>
              </p:cNvCxnSpPr>
              <p:nvPr/>
            </p:nvCxnSpPr>
            <p:spPr>
              <a:xfrm>
                <a:off x="838200" y="2320412"/>
                <a:ext cx="1051559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1" name="Group 160">
                <a:extLst>
                  <a:ext uri="{FF2B5EF4-FFF2-40B4-BE49-F238E27FC236}">
                    <a16:creationId xmlns:a16="http://schemas.microsoft.com/office/drawing/2014/main" id="{EAC75D61-9235-45CF-AB4A-748A6466E972}"/>
                  </a:ext>
                </a:extLst>
              </p:cNvPr>
              <p:cNvGrpSpPr/>
              <p:nvPr/>
            </p:nvGrpSpPr>
            <p:grpSpPr>
              <a:xfrm>
                <a:off x="838198" y="2055369"/>
                <a:ext cx="2575619" cy="339818"/>
                <a:chOff x="838198" y="2055369"/>
                <a:chExt cx="2575619" cy="339818"/>
              </a:xfrm>
            </p:grpSpPr>
            <p:sp>
              <p:nvSpPr>
                <p:cNvPr id="173" name="TextBox 172">
                  <a:extLst>
                    <a:ext uri="{FF2B5EF4-FFF2-40B4-BE49-F238E27FC236}">
                      <a16:creationId xmlns:a16="http://schemas.microsoft.com/office/drawing/2014/main" id="{ABEE021D-0F21-433F-878D-3E9464DE21B4}"/>
                    </a:ext>
                  </a:extLst>
                </p:cNvPr>
                <p:cNvSpPr txBox="1"/>
                <p:nvPr/>
              </p:nvSpPr>
              <p:spPr>
                <a:xfrm>
                  <a:off x="838198" y="2055369"/>
                  <a:ext cx="2138200" cy="167793"/>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Segoe UI"/>
                      <a:ea typeface="+mn-ea"/>
                      <a:cs typeface="+mn-cs"/>
                    </a:rPr>
                    <a:t>300+ </a:t>
                  </a:r>
                  <a:r>
                    <a:rPr kumimoji="0" lang="en-US" sz="900" b="0" i="0" u="none" strike="noStrike" kern="1200" cap="none" spc="0" normalizeH="0" baseline="0" noProof="0" dirty="0">
                      <a:ln>
                        <a:noFill/>
                      </a:ln>
                      <a:solidFill>
                        <a:prstClr val="black"/>
                      </a:solidFill>
                      <a:effectLst/>
                      <a:uLnTx/>
                      <a:uFillTx/>
                      <a:latin typeface="Segoe UI"/>
                      <a:ea typeface="+mn-ea"/>
                      <a:cs typeface="+mn-cs"/>
                    </a:rPr>
                    <a:t>KL Reaction Capacity</a:t>
                  </a:r>
                </a:p>
              </p:txBody>
            </p:sp>
            <p:cxnSp>
              <p:nvCxnSpPr>
                <p:cNvPr id="174" name="Straight Connector 173">
                  <a:extLst>
                    <a:ext uri="{FF2B5EF4-FFF2-40B4-BE49-F238E27FC236}">
                      <a16:creationId xmlns:a16="http://schemas.microsoft.com/office/drawing/2014/main" id="{25146CD8-74DD-4B65-9BC5-23288E8B422E}"/>
                    </a:ext>
                  </a:extLst>
                </p:cNvPr>
                <p:cNvCxnSpPr>
                  <a:cxnSpLocks/>
                  <a:endCxn id="175" idx="2"/>
                </p:cNvCxnSpPr>
                <p:nvPr/>
              </p:nvCxnSpPr>
              <p:spPr>
                <a:xfrm flipV="1">
                  <a:off x="838198" y="2310580"/>
                  <a:ext cx="2436697" cy="9831"/>
                </a:xfrm>
                <a:prstGeom prst="line">
                  <a:avLst/>
                </a:prstGeom>
                <a:ln w="66675" cap="rnd">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75" name="Oval 174">
                  <a:extLst>
                    <a:ext uri="{FF2B5EF4-FFF2-40B4-BE49-F238E27FC236}">
                      <a16:creationId xmlns:a16="http://schemas.microsoft.com/office/drawing/2014/main" id="{1471BACE-D075-4AE9-ACCA-7BCCCE861FB6}"/>
                    </a:ext>
                  </a:extLst>
                </p:cNvPr>
                <p:cNvSpPr/>
                <p:nvPr/>
              </p:nvSpPr>
              <p:spPr>
                <a:xfrm>
                  <a:off x="3274895" y="2225972"/>
                  <a:ext cx="138922" cy="169215"/>
                </a:xfrm>
                <a:prstGeom prst="ellipse">
                  <a:avLst/>
                </a:prstGeom>
                <a:solidFill>
                  <a:schemeClr val="bg1"/>
                </a:solidFill>
                <a:ln w="53975">
                  <a:solidFill>
                    <a:schemeClr val="accent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62" name="Group 161">
                <a:extLst>
                  <a:ext uri="{FF2B5EF4-FFF2-40B4-BE49-F238E27FC236}">
                    <a16:creationId xmlns:a16="http://schemas.microsoft.com/office/drawing/2014/main" id="{FBCDD394-FF68-433D-A650-F594D072BC53}"/>
                  </a:ext>
                </a:extLst>
              </p:cNvPr>
              <p:cNvGrpSpPr/>
              <p:nvPr/>
            </p:nvGrpSpPr>
            <p:grpSpPr>
              <a:xfrm>
                <a:off x="3569317" y="2055369"/>
                <a:ext cx="5062728" cy="339818"/>
                <a:chOff x="838198" y="2055369"/>
                <a:chExt cx="5062728" cy="339818"/>
              </a:xfrm>
            </p:grpSpPr>
            <p:sp>
              <p:nvSpPr>
                <p:cNvPr id="167" name="TextBox 166">
                  <a:extLst>
                    <a:ext uri="{FF2B5EF4-FFF2-40B4-BE49-F238E27FC236}">
                      <a16:creationId xmlns:a16="http://schemas.microsoft.com/office/drawing/2014/main" id="{8BF3EA0B-566F-4D7C-877D-15BBE13AC4C2}"/>
                    </a:ext>
                  </a:extLst>
                </p:cNvPr>
                <p:cNvSpPr txBox="1"/>
                <p:nvPr/>
              </p:nvSpPr>
              <p:spPr>
                <a:xfrm>
                  <a:off x="838198" y="2055369"/>
                  <a:ext cx="2311488" cy="167793"/>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Segoe UI"/>
                      <a:ea typeface="+mn-ea"/>
                      <a:cs typeface="+mn-cs"/>
                    </a:rPr>
                    <a:t>2100+ KL </a:t>
                  </a:r>
                  <a:r>
                    <a:rPr kumimoji="0" lang="en-US" sz="900" b="0" i="0" u="none" strike="noStrike" kern="1200" cap="none" spc="0" normalizeH="0" baseline="0" noProof="0" dirty="0">
                      <a:ln>
                        <a:noFill/>
                      </a:ln>
                      <a:solidFill>
                        <a:prstClr val="black"/>
                      </a:solidFill>
                      <a:effectLst/>
                      <a:uLnTx/>
                      <a:uFillTx/>
                      <a:latin typeface="Segoe UI"/>
                      <a:ea typeface="+mn-ea"/>
                      <a:cs typeface="+mn-cs"/>
                    </a:rPr>
                    <a:t>Reaction Capacity</a:t>
                  </a:r>
                </a:p>
              </p:txBody>
            </p:sp>
            <p:cxnSp>
              <p:nvCxnSpPr>
                <p:cNvPr id="168" name="Straight Connector 167">
                  <a:extLst>
                    <a:ext uri="{FF2B5EF4-FFF2-40B4-BE49-F238E27FC236}">
                      <a16:creationId xmlns:a16="http://schemas.microsoft.com/office/drawing/2014/main" id="{2E6C627C-6306-435D-8328-C1D8B87D4BF2}"/>
                    </a:ext>
                  </a:extLst>
                </p:cNvPr>
                <p:cNvCxnSpPr>
                  <a:cxnSpLocks/>
                </p:cNvCxnSpPr>
                <p:nvPr/>
              </p:nvCxnSpPr>
              <p:spPr>
                <a:xfrm flipV="1">
                  <a:off x="857113" y="2320707"/>
                  <a:ext cx="2363649" cy="9537"/>
                </a:xfrm>
                <a:prstGeom prst="line">
                  <a:avLst/>
                </a:prstGeom>
                <a:ln w="66675"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169" name="Oval 168">
                  <a:extLst>
                    <a:ext uri="{FF2B5EF4-FFF2-40B4-BE49-F238E27FC236}">
                      <a16:creationId xmlns:a16="http://schemas.microsoft.com/office/drawing/2014/main" id="{8E81B6B6-537C-4D47-BCE8-BEB6D7858EC3}"/>
                    </a:ext>
                  </a:extLst>
                </p:cNvPr>
                <p:cNvSpPr/>
                <p:nvPr/>
              </p:nvSpPr>
              <p:spPr>
                <a:xfrm>
                  <a:off x="3152019" y="2225972"/>
                  <a:ext cx="138922" cy="169215"/>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sp>
              <p:nvSpPr>
                <p:cNvPr id="170" name="TextBox 169">
                  <a:extLst>
                    <a:ext uri="{FF2B5EF4-FFF2-40B4-BE49-F238E27FC236}">
                      <a16:creationId xmlns:a16="http://schemas.microsoft.com/office/drawing/2014/main" id="{46541529-4B0A-4577-99D2-560744DDCA77}"/>
                    </a:ext>
                  </a:extLst>
                </p:cNvPr>
                <p:cNvSpPr txBox="1"/>
                <p:nvPr/>
              </p:nvSpPr>
              <p:spPr>
                <a:xfrm>
                  <a:off x="3448183" y="2055369"/>
                  <a:ext cx="2311488" cy="167793"/>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Segoe UI"/>
                      <a:ea typeface="+mn-ea"/>
                      <a:cs typeface="+mn-cs"/>
                    </a:rPr>
                    <a:t>~500 KL </a:t>
                  </a:r>
                  <a:r>
                    <a:rPr kumimoji="0" lang="en-US" sz="900" b="0" i="0" u="none" strike="noStrike" kern="1200" cap="none" spc="0" normalizeH="0" baseline="0" noProof="0" dirty="0">
                      <a:ln>
                        <a:noFill/>
                      </a:ln>
                      <a:solidFill>
                        <a:prstClr val="black"/>
                      </a:solidFill>
                      <a:effectLst/>
                      <a:uLnTx/>
                      <a:uFillTx/>
                      <a:latin typeface="Segoe UI"/>
                      <a:ea typeface="+mn-ea"/>
                      <a:cs typeface="+mn-cs"/>
                    </a:rPr>
                    <a:t>Reaction Capacity</a:t>
                  </a:r>
                </a:p>
              </p:txBody>
            </p:sp>
            <p:cxnSp>
              <p:nvCxnSpPr>
                <p:cNvPr id="171" name="Straight Connector 170">
                  <a:extLst>
                    <a:ext uri="{FF2B5EF4-FFF2-40B4-BE49-F238E27FC236}">
                      <a16:creationId xmlns:a16="http://schemas.microsoft.com/office/drawing/2014/main" id="{7DFE2B63-E17D-4911-A853-B1B4D0D7633D}"/>
                    </a:ext>
                  </a:extLst>
                </p:cNvPr>
                <p:cNvCxnSpPr>
                  <a:cxnSpLocks/>
                </p:cNvCxnSpPr>
                <p:nvPr/>
              </p:nvCxnSpPr>
              <p:spPr>
                <a:xfrm flipV="1">
                  <a:off x="3467098" y="2320707"/>
                  <a:ext cx="2363649" cy="9537"/>
                </a:xfrm>
                <a:prstGeom prst="line">
                  <a:avLst/>
                </a:prstGeom>
                <a:ln w="66675" cap="rnd">
                  <a:solidFill>
                    <a:srgbClr val="ACCF59"/>
                  </a:solidFill>
                  <a:round/>
                </a:ln>
              </p:spPr>
              <p:style>
                <a:lnRef idx="1">
                  <a:schemeClr val="accent1"/>
                </a:lnRef>
                <a:fillRef idx="0">
                  <a:schemeClr val="accent1"/>
                </a:fillRef>
                <a:effectRef idx="0">
                  <a:schemeClr val="accent1"/>
                </a:effectRef>
                <a:fontRef idx="minor">
                  <a:schemeClr val="tx1"/>
                </a:fontRef>
              </p:style>
            </p:cxnSp>
            <p:sp>
              <p:nvSpPr>
                <p:cNvPr id="172" name="Oval 171">
                  <a:extLst>
                    <a:ext uri="{FF2B5EF4-FFF2-40B4-BE49-F238E27FC236}">
                      <a16:creationId xmlns:a16="http://schemas.microsoft.com/office/drawing/2014/main" id="{01049A3C-934D-4C0A-9744-1D036C9A7753}"/>
                    </a:ext>
                  </a:extLst>
                </p:cNvPr>
                <p:cNvSpPr/>
                <p:nvPr/>
              </p:nvSpPr>
              <p:spPr>
                <a:xfrm>
                  <a:off x="5762004" y="2225972"/>
                  <a:ext cx="138922" cy="169215"/>
                </a:xfrm>
                <a:prstGeom prst="ellipse">
                  <a:avLst/>
                </a:prstGeom>
                <a:solidFill>
                  <a:schemeClr val="bg1"/>
                </a:solidFill>
                <a:ln w="53975">
                  <a:solidFill>
                    <a:srgbClr val="ACCF59"/>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63" name="Group 162">
                <a:extLst>
                  <a:ext uri="{FF2B5EF4-FFF2-40B4-BE49-F238E27FC236}">
                    <a16:creationId xmlns:a16="http://schemas.microsoft.com/office/drawing/2014/main" id="{1842EFCF-9780-4DBA-AB3E-2A2F14A5ECBC}"/>
                  </a:ext>
                </a:extLst>
              </p:cNvPr>
              <p:cNvGrpSpPr/>
              <p:nvPr/>
            </p:nvGrpSpPr>
            <p:grpSpPr>
              <a:xfrm>
                <a:off x="8799870" y="2055369"/>
                <a:ext cx="2553928" cy="339818"/>
                <a:chOff x="936158" y="2055369"/>
                <a:chExt cx="2553928" cy="339818"/>
              </a:xfrm>
            </p:grpSpPr>
            <p:sp>
              <p:nvSpPr>
                <p:cNvPr id="164" name="TextBox 163">
                  <a:extLst>
                    <a:ext uri="{FF2B5EF4-FFF2-40B4-BE49-F238E27FC236}">
                      <a16:creationId xmlns:a16="http://schemas.microsoft.com/office/drawing/2014/main" id="{B7F5013A-53F1-413F-A6AA-62541F46DBE6}"/>
                    </a:ext>
                  </a:extLst>
                </p:cNvPr>
                <p:cNvSpPr txBox="1"/>
                <p:nvPr/>
              </p:nvSpPr>
              <p:spPr>
                <a:xfrm>
                  <a:off x="936158" y="2055369"/>
                  <a:ext cx="2553928" cy="167793"/>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Segoe UI"/>
                      <a:ea typeface="+mn-ea"/>
                      <a:cs typeface="+mn-cs"/>
                    </a:rPr>
                    <a:t>To be Decided</a:t>
                  </a:r>
                </a:p>
              </p:txBody>
            </p:sp>
            <p:cxnSp>
              <p:nvCxnSpPr>
                <p:cNvPr id="165" name="Straight Connector 164">
                  <a:extLst>
                    <a:ext uri="{FF2B5EF4-FFF2-40B4-BE49-F238E27FC236}">
                      <a16:creationId xmlns:a16="http://schemas.microsoft.com/office/drawing/2014/main" id="{0DE27D44-7FC5-4312-B3DF-6E4901872935}"/>
                    </a:ext>
                  </a:extLst>
                </p:cNvPr>
                <p:cNvCxnSpPr>
                  <a:cxnSpLocks/>
                  <a:endCxn id="166" idx="2"/>
                </p:cNvCxnSpPr>
                <p:nvPr/>
              </p:nvCxnSpPr>
              <p:spPr>
                <a:xfrm flipV="1">
                  <a:off x="960280" y="2310580"/>
                  <a:ext cx="2338736" cy="9436"/>
                </a:xfrm>
                <a:prstGeom prst="line">
                  <a:avLst/>
                </a:prstGeom>
                <a:ln w="66675" cap="rnd">
                  <a:solidFill>
                    <a:srgbClr val="00AFB9"/>
                  </a:solidFill>
                  <a:round/>
                </a:ln>
              </p:spPr>
              <p:style>
                <a:lnRef idx="1">
                  <a:schemeClr val="accent1"/>
                </a:lnRef>
                <a:fillRef idx="0">
                  <a:schemeClr val="accent1"/>
                </a:fillRef>
                <a:effectRef idx="0">
                  <a:schemeClr val="accent1"/>
                </a:effectRef>
                <a:fontRef idx="minor">
                  <a:schemeClr val="tx1"/>
                </a:fontRef>
              </p:style>
            </p:cxnSp>
            <p:sp>
              <p:nvSpPr>
                <p:cNvPr id="166" name="Oval 165">
                  <a:extLst>
                    <a:ext uri="{FF2B5EF4-FFF2-40B4-BE49-F238E27FC236}">
                      <a16:creationId xmlns:a16="http://schemas.microsoft.com/office/drawing/2014/main" id="{8DA3FBEC-2EE9-4CD8-8519-D8C233F57DAB}"/>
                    </a:ext>
                  </a:extLst>
                </p:cNvPr>
                <p:cNvSpPr/>
                <p:nvPr/>
              </p:nvSpPr>
              <p:spPr>
                <a:xfrm>
                  <a:off x="3299016" y="2225972"/>
                  <a:ext cx="138922" cy="169215"/>
                </a:xfrm>
                <a:prstGeom prst="ellipse">
                  <a:avLst/>
                </a:prstGeom>
                <a:solidFill>
                  <a:schemeClr val="bg1"/>
                </a:solidFill>
                <a:ln w="53975">
                  <a:solidFill>
                    <a:srgbClr val="00AFB9"/>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mn-ea"/>
                    <a:cs typeface="+mn-cs"/>
                  </a:endParaRPr>
                </a:p>
              </p:txBody>
            </p:sp>
          </p:grpSp>
        </p:grpSp>
        <p:grpSp>
          <p:nvGrpSpPr>
            <p:cNvPr id="176" name="Group 175">
              <a:extLst>
                <a:ext uri="{FF2B5EF4-FFF2-40B4-BE49-F238E27FC236}">
                  <a16:creationId xmlns:a16="http://schemas.microsoft.com/office/drawing/2014/main" id="{8E1DF3C2-6C83-4FA8-8205-3034FC352581}"/>
                </a:ext>
              </a:extLst>
            </p:cNvPr>
            <p:cNvGrpSpPr/>
            <p:nvPr/>
          </p:nvGrpSpPr>
          <p:grpSpPr>
            <a:xfrm>
              <a:off x="838198" y="4193351"/>
              <a:ext cx="10515600" cy="443841"/>
              <a:chOff x="838198" y="2111988"/>
              <a:chExt cx="10515600" cy="537726"/>
            </a:xfrm>
          </p:grpSpPr>
          <p:grpSp>
            <p:nvGrpSpPr>
              <p:cNvPr id="178" name="Group 177">
                <a:extLst>
                  <a:ext uri="{FF2B5EF4-FFF2-40B4-BE49-F238E27FC236}">
                    <a16:creationId xmlns:a16="http://schemas.microsoft.com/office/drawing/2014/main" id="{CE8134FA-D716-4575-A233-8100B17C6978}"/>
                  </a:ext>
                </a:extLst>
              </p:cNvPr>
              <p:cNvGrpSpPr/>
              <p:nvPr/>
            </p:nvGrpSpPr>
            <p:grpSpPr>
              <a:xfrm>
                <a:off x="838198" y="2111993"/>
                <a:ext cx="2575619" cy="537682"/>
                <a:chOff x="838198" y="2111993"/>
                <a:chExt cx="2575619" cy="537682"/>
              </a:xfrm>
            </p:grpSpPr>
            <p:sp>
              <p:nvSpPr>
                <p:cNvPr id="190" name="TextBox 189">
                  <a:extLst>
                    <a:ext uri="{FF2B5EF4-FFF2-40B4-BE49-F238E27FC236}">
                      <a16:creationId xmlns:a16="http://schemas.microsoft.com/office/drawing/2014/main" id="{A89BDB00-9000-4EF9-8C31-B5F82286D6B6}"/>
                    </a:ext>
                  </a:extLst>
                </p:cNvPr>
                <p:cNvSpPr txBox="1"/>
                <p:nvPr/>
              </p:nvSpPr>
              <p:spPr>
                <a:xfrm>
                  <a:off x="838198" y="2111993"/>
                  <a:ext cx="2138200" cy="298302"/>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Segoe UI"/>
                      <a:ea typeface="+mn-ea"/>
                      <a:cs typeface="+mn-cs"/>
                    </a:rPr>
                    <a:t>Operating Since 2008</a:t>
                  </a:r>
                </a:p>
              </p:txBody>
            </p:sp>
            <p:cxnSp>
              <p:nvCxnSpPr>
                <p:cNvPr id="191" name="Straight Connector 190">
                  <a:extLst>
                    <a:ext uri="{FF2B5EF4-FFF2-40B4-BE49-F238E27FC236}">
                      <a16:creationId xmlns:a16="http://schemas.microsoft.com/office/drawing/2014/main" id="{6045E244-CE0B-4410-BB90-CA63BE80EFB1}"/>
                    </a:ext>
                  </a:extLst>
                </p:cNvPr>
                <p:cNvCxnSpPr>
                  <a:endCxn id="192" idx="2"/>
                </p:cNvCxnSpPr>
                <p:nvPr/>
              </p:nvCxnSpPr>
              <p:spPr>
                <a:xfrm flipV="1">
                  <a:off x="838198" y="2565073"/>
                  <a:ext cx="2436697" cy="9832"/>
                </a:xfrm>
                <a:prstGeom prst="line">
                  <a:avLst/>
                </a:prstGeom>
                <a:ln w="66675" cap="rnd">
                  <a:solidFill>
                    <a:schemeClr val="accent5"/>
                  </a:solidFill>
                  <a:round/>
                </a:ln>
              </p:spPr>
              <p:style>
                <a:lnRef idx="1">
                  <a:schemeClr val="accent1"/>
                </a:lnRef>
                <a:fillRef idx="0">
                  <a:schemeClr val="accent1"/>
                </a:fillRef>
                <a:effectRef idx="0">
                  <a:schemeClr val="accent1"/>
                </a:effectRef>
                <a:fontRef idx="minor">
                  <a:schemeClr val="tx1"/>
                </a:fontRef>
              </p:style>
            </p:cxnSp>
            <p:sp>
              <p:nvSpPr>
                <p:cNvPr id="192" name="Oval 191">
                  <a:extLst>
                    <a:ext uri="{FF2B5EF4-FFF2-40B4-BE49-F238E27FC236}">
                      <a16:creationId xmlns:a16="http://schemas.microsoft.com/office/drawing/2014/main" id="{03253D28-791E-4D22-91B4-B5C1CC94B277}"/>
                    </a:ext>
                  </a:extLst>
                </p:cNvPr>
                <p:cNvSpPr/>
                <p:nvPr/>
              </p:nvSpPr>
              <p:spPr>
                <a:xfrm>
                  <a:off x="3274895" y="2480461"/>
                  <a:ext cx="138922" cy="169214"/>
                </a:xfrm>
                <a:prstGeom prst="ellipse">
                  <a:avLst/>
                </a:prstGeom>
                <a:solidFill>
                  <a:schemeClr val="bg1"/>
                </a:solidFill>
                <a:ln w="53975">
                  <a:solidFill>
                    <a:schemeClr val="accent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79" name="Group 178">
                <a:extLst>
                  <a:ext uri="{FF2B5EF4-FFF2-40B4-BE49-F238E27FC236}">
                    <a16:creationId xmlns:a16="http://schemas.microsoft.com/office/drawing/2014/main" id="{D8382711-E38A-41A3-83AA-FFC2ACCC2949}"/>
                  </a:ext>
                </a:extLst>
              </p:cNvPr>
              <p:cNvGrpSpPr/>
              <p:nvPr/>
            </p:nvGrpSpPr>
            <p:grpSpPr>
              <a:xfrm>
                <a:off x="3569317" y="2111988"/>
                <a:ext cx="5062728" cy="537726"/>
                <a:chOff x="838198" y="2111988"/>
                <a:chExt cx="5062728" cy="537726"/>
              </a:xfrm>
            </p:grpSpPr>
            <p:sp>
              <p:nvSpPr>
                <p:cNvPr id="184" name="TextBox 183">
                  <a:extLst>
                    <a:ext uri="{FF2B5EF4-FFF2-40B4-BE49-F238E27FC236}">
                      <a16:creationId xmlns:a16="http://schemas.microsoft.com/office/drawing/2014/main" id="{8A2304AD-CD9D-4B25-8C8B-C0AC44945B1F}"/>
                    </a:ext>
                  </a:extLst>
                </p:cNvPr>
                <p:cNvSpPr txBox="1"/>
                <p:nvPr/>
              </p:nvSpPr>
              <p:spPr>
                <a:xfrm>
                  <a:off x="838198" y="2111988"/>
                  <a:ext cx="2311488" cy="29830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BB425">
                          <a:lumMod val="75000"/>
                        </a:srgbClr>
                      </a:solidFill>
                      <a:effectLst/>
                      <a:uLnTx/>
                      <a:uFillTx/>
                      <a:latin typeface="Segoe UI"/>
                      <a:ea typeface="+mn-ea"/>
                      <a:cs typeface="+mn-cs"/>
                    </a:rPr>
                    <a:t>33% capacity in 2025</a:t>
                  </a:r>
                </a:p>
              </p:txBody>
            </p:sp>
            <p:cxnSp>
              <p:nvCxnSpPr>
                <p:cNvPr id="185" name="Straight Connector 184">
                  <a:extLst>
                    <a:ext uri="{FF2B5EF4-FFF2-40B4-BE49-F238E27FC236}">
                      <a16:creationId xmlns:a16="http://schemas.microsoft.com/office/drawing/2014/main" id="{12508882-25F9-430D-B212-1CA2D4A4B495}"/>
                    </a:ext>
                  </a:extLst>
                </p:cNvPr>
                <p:cNvCxnSpPr>
                  <a:cxnSpLocks/>
                </p:cNvCxnSpPr>
                <p:nvPr/>
              </p:nvCxnSpPr>
              <p:spPr>
                <a:xfrm flipV="1">
                  <a:off x="857113" y="2575194"/>
                  <a:ext cx="2363649" cy="9537"/>
                </a:xfrm>
                <a:prstGeom prst="line">
                  <a:avLst/>
                </a:prstGeom>
                <a:ln w="66675" cap="rnd">
                  <a:solidFill>
                    <a:schemeClr val="accent3"/>
                  </a:solidFill>
                  <a:round/>
                </a:ln>
              </p:spPr>
              <p:style>
                <a:lnRef idx="1">
                  <a:schemeClr val="accent1"/>
                </a:lnRef>
                <a:fillRef idx="0">
                  <a:schemeClr val="accent1"/>
                </a:fillRef>
                <a:effectRef idx="0">
                  <a:schemeClr val="accent1"/>
                </a:effectRef>
                <a:fontRef idx="minor">
                  <a:schemeClr val="tx1"/>
                </a:fontRef>
              </p:style>
            </p:cxnSp>
            <p:sp>
              <p:nvSpPr>
                <p:cNvPr id="186" name="Oval 185">
                  <a:extLst>
                    <a:ext uri="{FF2B5EF4-FFF2-40B4-BE49-F238E27FC236}">
                      <a16:creationId xmlns:a16="http://schemas.microsoft.com/office/drawing/2014/main" id="{2423B538-49BA-4904-8CFA-19D590D6C9C4}"/>
                    </a:ext>
                  </a:extLst>
                </p:cNvPr>
                <p:cNvSpPr/>
                <p:nvPr/>
              </p:nvSpPr>
              <p:spPr>
                <a:xfrm>
                  <a:off x="3152019" y="2480497"/>
                  <a:ext cx="138922" cy="169217"/>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a:ea typeface="+mn-ea"/>
                    <a:cs typeface="+mn-cs"/>
                  </a:endParaRPr>
                </a:p>
              </p:txBody>
            </p:sp>
            <p:sp>
              <p:nvSpPr>
                <p:cNvPr id="187" name="TextBox 186">
                  <a:extLst>
                    <a:ext uri="{FF2B5EF4-FFF2-40B4-BE49-F238E27FC236}">
                      <a16:creationId xmlns:a16="http://schemas.microsoft.com/office/drawing/2014/main" id="{85374439-D7E5-4615-97C0-A06CBE419974}"/>
                    </a:ext>
                  </a:extLst>
                </p:cNvPr>
                <p:cNvSpPr txBox="1"/>
                <p:nvPr/>
              </p:nvSpPr>
              <p:spPr>
                <a:xfrm>
                  <a:off x="3448183" y="2112022"/>
                  <a:ext cx="2311488" cy="29830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70AD47">
                          <a:lumMod val="75000"/>
                        </a:srgbClr>
                      </a:solidFill>
                      <a:effectLst/>
                      <a:uLnTx/>
                      <a:uFillTx/>
                      <a:latin typeface="Segoe UI"/>
                      <a:ea typeface="+mn-ea"/>
                      <a:cs typeface="+mn-cs"/>
                    </a:rPr>
                    <a:t>40% capacity in 2025</a:t>
                  </a:r>
                </a:p>
              </p:txBody>
            </p:sp>
            <p:cxnSp>
              <p:nvCxnSpPr>
                <p:cNvPr id="188" name="Straight Connector 187">
                  <a:extLst>
                    <a:ext uri="{FF2B5EF4-FFF2-40B4-BE49-F238E27FC236}">
                      <a16:creationId xmlns:a16="http://schemas.microsoft.com/office/drawing/2014/main" id="{14DA8978-0D37-4992-81AB-D9383C053004}"/>
                    </a:ext>
                  </a:extLst>
                </p:cNvPr>
                <p:cNvCxnSpPr>
                  <a:cxnSpLocks/>
                </p:cNvCxnSpPr>
                <p:nvPr/>
              </p:nvCxnSpPr>
              <p:spPr>
                <a:xfrm flipV="1">
                  <a:off x="3467098" y="2575221"/>
                  <a:ext cx="2363649" cy="9537"/>
                </a:xfrm>
                <a:prstGeom prst="line">
                  <a:avLst/>
                </a:prstGeom>
                <a:ln w="66675" cap="rnd">
                  <a:solidFill>
                    <a:srgbClr val="ACCF59"/>
                  </a:solidFill>
                  <a:round/>
                </a:ln>
              </p:spPr>
              <p:style>
                <a:lnRef idx="1">
                  <a:schemeClr val="accent1"/>
                </a:lnRef>
                <a:fillRef idx="0">
                  <a:schemeClr val="accent1"/>
                </a:fillRef>
                <a:effectRef idx="0">
                  <a:schemeClr val="accent1"/>
                </a:effectRef>
                <a:fontRef idx="minor">
                  <a:schemeClr val="tx1"/>
                </a:fontRef>
              </p:style>
            </p:cxnSp>
            <p:sp>
              <p:nvSpPr>
                <p:cNvPr id="189" name="Oval 188">
                  <a:extLst>
                    <a:ext uri="{FF2B5EF4-FFF2-40B4-BE49-F238E27FC236}">
                      <a16:creationId xmlns:a16="http://schemas.microsoft.com/office/drawing/2014/main" id="{84AE10C7-54D5-4E52-B93F-158CC1E55791}"/>
                    </a:ext>
                  </a:extLst>
                </p:cNvPr>
                <p:cNvSpPr/>
                <p:nvPr/>
              </p:nvSpPr>
              <p:spPr>
                <a:xfrm>
                  <a:off x="5762004" y="2480491"/>
                  <a:ext cx="138922" cy="169214"/>
                </a:xfrm>
                <a:prstGeom prst="ellipse">
                  <a:avLst/>
                </a:prstGeom>
                <a:solidFill>
                  <a:schemeClr val="bg1"/>
                </a:solidFill>
                <a:ln w="53975">
                  <a:solidFill>
                    <a:srgbClr val="ACCF59"/>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a:ea typeface="+mn-ea"/>
                    <a:cs typeface="+mn-cs"/>
                  </a:endParaRPr>
                </a:p>
              </p:txBody>
            </p:sp>
          </p:grpSp>
          <p:grpSp>
            <p:nvGrpSpPr>
              <p:cNvPr id="180" name="Group 179">
                <a:extLst>
                  <a:ext uri="{FF2B5EF4-FFF2-40B4-BE49-F238E27FC236}">
                    <a16:creationId xmlns:a16="http://schemas.microsoft.com/office/drawing/2014/main" id="{19437D4B-3917-489A-A0BF-6F9F143BAD66}"/>
                  </a:ext>
                </a:extLst>
              </p:cNvPr>
              <p:cNvGrpSpPr/>
              <p:nvPr/>
            </p:nvGrpSpPr>
            <p:grpSpPr>
              <a:xfrm>
                <a:off x="8799870" y="2112014"/>
                <a:ext cx="2553928" cy="537699"/>
                <a:chOff x="936158" y="2112014"/>
                <a:chExt cx="2553928" cy="537699"/>
              </a:xfrm>
            </p:grpSpPr>
            <p:sp>
              <p:nvSpPr>
                <p:cNvPr id="181" name="TextBox 180">
                  <a:extLst>
                    <a:ext uri="{FF2B5EF4-FFF2-40B4-BE49-F238E27FC236}">
                      <a16:creationId xmlns:a16="http://schemas.microsoft.com/office/drawing/2014/main" id="{21C46E8D-A974-40C4-93F2-5756F9DB79C5}"/>
                    </a:ext>
                  </a:extLst>
                </p:cNvPr>
                <p:cNvSpPr txBox="1"/>
                <p:nvPr/>
              </p:nvSpPr>
              <p:spPr>
                <a:xfrm>
                  <a:off x="936158" y="2112014"/>
                  <a:ext cx="2553928" cy="298303"/>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AFB9">
                          <a:lumMod val="75000"/>
                        </a:srgbClr>
                      </a:solidFill>
                      <a:effectLst/>
                      <a:uLnTx/>
                      <a:uFillTx/>
                      <a:latin typeface="Segoe UI"/>
                      <a:ea typeface="+mn-ea"/>
                      <a:cs typeface="+mn-cs"/>
                    </a:rPr>
                    <a:t>2027</a:t>
                  </a:r>
                </a:p>
              </p:txBody>
            </p:sp>
            <p:cxnSp>
              <p:nvCxnSpPr>
                <p:cNvPr id="182" name="Straight Connector 181">
                  <a:extLst>
                    <a:ext uri="{FF2B5EF4-FFF2-40B4-BE49-F238E27FC236}">
                      <a16:creationId xmlns:a16="http://schemas.microsoft.com/office/drawing/2014/main" id="{153F5861-7EBF-472D-AE60-991B5C4B9082}"/>
                    </a:ext>
                  </a:extLst>
                </p:cNvPr>
                <p:cNvCxnSpPr>
                  <a:cxnSpLocks/>
                  <a:endCxn id="183" idx="2"/>
                </p:cNvCxnSpPr>
                <p:nvPr/>
              </p:nvCxnSpPr>
              <p:spPr>
                <a:xfrm flipV="1">
                  <a:off x="960280" y="2565093"/>
                  <a:ext cx="2338736" cy="9437"/>
                </a:xfrm>
                <a:prstGeom prst="line">
                  <a:avLst/>
                </a:prstGeom>
                <a:ln w="66675" cap="rnd">
                  <a:solidFill>
                    <a:srgbClr val="00AFB9"/>
                  </a:solidFill>
                  <a:round/>
                </a:ln>
              </p:spPr>
              <p:style>
                <a:lnRef idx="1">
                  <a:schemeClr val="accent1"/>
                </a:lnRef>
                <a:fillRef idx="0">
                  <a:schemeClr val="accent1"/>
                </a:fillRef>
                <a:effectRef idx="0">
                  <a:schemeClr val="accent1"/>
                </a:effectRef>
                <a:fontRef idx="minor">
                  <a:schemeClr val="tx1"/>
                </a:fontRef>
              </p:style>
            </p:cxnSp>
            <p:sp>
              <p:nvSpPr>
                <p:cNvPr id="183" name="Oval 182">
                  <a:extLst>
                    <a:ext uri="{FF2B5EF4-FFF2-40B4-BE49-F238E27FC236}">
                      <a16:creationId xmlns:a16="http://schemas.microsoft.com/office/drawing/2014/main" id="{E9DE53E1-73A0-4DCE-B989-6878D43D1731}"/>
                    </a:ext>
                  </a:extLst>
                </p:cNvPr>
                <p:cNvSpPr/>
                <p:nvPr/>
              </p:nvSpPr>
              <p:spPr>
                <a:xfrm>
                  <a:off x="3299016" y="2480493"/>
                  <a:ext cx="138922" cy="169220"/>
                </a:xfrm>
                <a:prstGeom prst="ellipse">
                  <a:avLst/>
                </a:prstGeom>
                <a:solidFill>
                  <a:schemeClr val="bg1"/>
                </a:solidFill>
                <a:ln w="53975">
                  <a:solidFill>
                    <a:srgbClr val="00AFB9"/>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a:ea typeface="+mn-ea"/>
                    <a:cs typeface="+mn-cs"/>
                  </a:endParaRPr>
                </a:p>
              </p:txBody>
            </p:sp>
          </p:grpSp>
        </p:grpSp>
      </p:grpSp>
    </p:spTree>
    <p:extLst>
      <p:ext uri="{BB962C8B-B14F-4D97-AF65-F5344CB8AC3E}">
        <p14:creationId xmlns:p14="http://schemas.microsoft.com/office/powerpoint/2010/main" val="999081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F265F4F-1DE6-EBA1-658E-718145880EC9}"/>
              </a:ext>
            </a:extLst>
          </p:cNvPr>
          <p:cNvSpPr>
            <a:spLocks noGrp="1"/>
          </p:cNvSpPr>
          <p:nvPr>
            <p:ph type="title"/>
          </p:nvPr>
        </p:nvSpPr>
        <p:spPr>
          <a:xfrm>
            <a:off x="466722" y="586855"/>
            <a:ext cx="3201366" cy="5521401"/>
          </a:xfrm>
        </p:spPr>
        <p:txBody>
          <a:bodyPr anchor="b">
            <a:normAutofit/>
          </a:bodyPr>
          <a:lstStyle/>
          <a:p>
            <a:pPr algn="r"/>
            <a:r>
              <a:rPr lang="en-US" sz="4000" dirty="0">
                <a:solidFill>
                  <a:schemeClr val="bg1"/>
                </a:solidFill>
                <a:latin typeface="Verdana" panose="020B0604030504040204" pitchFamily="34" charset="0"/>
                <a:ea typeface="Verdana" panose="020B0604030504040204" pitchFamily="34" charset="0"/>
                <a:cs typeface="Verdana" panose="020B0604030504040204" pitchFamily="34" charset="0"/>
              </a:rPr>
              <a:t>New Chemistry</a:t>
            </a:r>
          </a:p>
        </p:txBody>
      </p:sp>
      <p:graphicFrame>
        <p:nvGraphicFramePr>
          <p:cNvPr id="22" name="Content Placeholder 2">
            <a:extLst>
              <a:ext uri="{FF2B5EF4-FFF2-40B4-BE49-F238E27FC236}">
                <a16:creationId xmlns:a16="http://schemas.microsoft.com/office/drawing/2014/main" id="{88908868-341D-29BE-EB64-6DF811531379}"/>
              </a:ext>
            </a:extLst>
          </p:cNvPr>
          <p:cNvGraphicFramePr>
            <a:graphicFrameLocks noGrp="1"/>
          </p:cNvGraphicFramePr>
          <p:nvPr>
            <p:ph idx="1"/>
            <p:extLst>
              <p:ext uri="{D42A27DB-BD31-4B8C-83A1-F6EECF244321}">
                <p14:modId xmlns:p14="http://schemas.microsoft.com/office/powerpoint/2010/main" val="1132866142"/>
              </p:ext>
            </p:extLst>
          </p:nvPr>
        </p:nvGraphicFramePr>
        <p:xfrm>
          <a:off x="4810259" y="649480"/>
          <a:ext cx="6555347" cy="55460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005577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A6B319F-86FE-4754-878E-06F0804D88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32385" cy="6858000"/>
          </a:xfrm>
          <a:prstGeom prst="rect">
            <a:avLst/>
          </a:prstGeom>
          <a:solidFill>
            <a:schemeClr val="accent5">
              <a:alpha val="70000"/>
            </a:schemeClr>
          </a:solidFill>
          <a:ln>
            <a:noFill/>
          </a:ln>
        </p:spPr>
        <p:style>
          <a:lnRef idx="2">
            <a:schemeClr val="accent1">
              <a:shade val="50000"/>
            </a:schemeClr>
          </a:lnRef>
          <a:fillRef idx="1003">
            <a:schemeClr val="l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7D31"/>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DCF7D1B5-3477-499F-ACC5-2C8B07F4ED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2385" y="0"/>
            <a:ext cx="3218914" cy="6858000"/>
          </a:xfrm>
          <a:prstGeom prst="rect">
            <a:avLst/>
          </a:prstGeom>
          <a:solidFill>
            <a:schemeClr val="accent5">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616D621-FE24-9D15-FD2B-7F802EA082F0}"/>
              </a:ext>
            </a:extLst>
          </p:cNvPr>
          <p:cNvSpPr>
            <a:spLocks noGrp="1"/>
          </p:cNvSpPr>
          <p:nvPr>
            <p:ph type="title"/>
          </p:nvPr>
        </p:nvSpPr>
        <p:spPr>
          <a:xfrm>
            <a:off x="992206" y="1608667"/>
            <a:ext cx="2823275" cy="4501127"/>
          </a:xfrm>
        </p:spPr>
        <p:txBody>
          <a:bodyPr anchor="t">
            <a:normAutofit/>
          </a:bodyPr>
          <a:lstStyle/>
          <a:p>
            <a:pPr algn="r"/>
            <a: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t>New Chemistry </a:t>
            </a:r>
            <a:b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t>@ Commercial Scale</a:t>
            </a:r>
          </a:p>
        </p:txBody>
      </p:sp>
      <p:sp>
        <p:nvSpPr>
          <p:cNvPr id="3" name="Content Placeholder 2">
            <a:extLst>
              <a:ext uri="{FF2B5EF4-FFF2-40B4-BE49-F238E27FC236}">
                <a16:creationId xmlns:a16="http://schemas.microsoft.com/office/drawing/2014/main" id="{5B199AD4-BB70-A616-A2DE-10FAF91C3108}"/>
              </a:ext>
            </a:extLst>
          </p:cNvPr>
          <p:cNvSpPr>
            <a:spLocks noGrp="1"/>
          </p:cNvSpPr>
          <p:nvPr>
            <p:ph sz="half" idx="1"/>
          </p:nvPr>
        </p:nvSpPr>
        <p:spPr>
          <a:xfrm>
            <a:off x="4547697" y="354844"/>
            <a:ext cx="7228291" cy="6237027"/>
          </a:xfrm>
        </p:spPr>
        <p:txBody>
          <a:bodyPr>
            <a:normAutofit/>
          </a:bodyPr>
          <a:lstStyle/>
          <a:p>
            <a:r>
              <a:rPr lang="en-US" sz="2400" dirty="0">
                <a:latin typeface="Verdana" panose="020B0604030504040204" pitchFamily="34" charset="0"/>
                <a:ea typeface="Verdana" panose="020B0604030504040204" pitchFamily="34" charset="0"/>
                <a:cs typeface="Verdana" panose="020B0604030504040204" pitchFamily="34" charset="0"/>
              </a:rPr>
              <a:t>FLOW</a:t>
            </a:r>
          </a:p>
          <a:p>
            <a:endParaRPr lang="en-IN" sz="2400" dirty="0">
              <a:latin typeface="Verdana" panose="020B0604030504040204" pitchFamily="34" charset="0"/>
              <a:ea typeface="Verdana" panose="020B0604030504040204" pitchFamily="34" charset="0"/>
              <a:cs typeface="Verdana" panose="020B0604030504040204" pitchFamily="34" charset="0"/>
            </a:endParaRPr>
          </a:p>
          <a:p>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Telescopic Pyrimidine Synthesis + </a:t>
            </a:r>
            <a:r>
              <a:rPr lang="en-US" sz="2400" dirty="0" err="1">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Nitrosation</a:t>
            </a:r>
            <a:endPar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endParaRPr>
          </a:p>
          <a:p>
            <a:endParaRPr lang="en-IN" sz="2400" dirty="0">
              <a:latin typeface="Verdana" panose="020B0604030504040204" pitchFamily="34" charset="0"/>
              <a:ea typeface="Verdana" panose="020B0604030504040204" pitchFamily="34" charset="0"/>
              <a:cs typeface="Verdana" panose="020B0604030504040204" pitchFamily="34" charset="0"/>
            </a:endParaRPr>
          </a:p>
          <a:p>
            <a:r>
              <a:rPr lang="en-IN" sz="2400" dirty="0">
                <a:latin typeface="Verdana" panose="020B0604030504040204" pitchFamily="34" charset="0"/>
                <a:ea typeface="Verdana" panose="020B0604030504040204" pitchFamily="34" charset="0"/>
                <a:cs typeface="Verdana" panose="020B0604030504040204" pitchFamily="34" charset="0"/>
              </a:rPr>
              <a:t>Telescopic Diazotization + Hydrolysis (to Phenol)</a:t>
            </a:r>
          </a:p>
          <a:p>
            <a:endParaRPr lang="en-US" sz="2400" dirty="0">
              <a:latin typeface="Verdana" panose="020B0604030504040204" pitchFamily="34" charset="0"/>
              <a:ea typeface="Verdana" panose="020B0604030504040204" pitchFamily="34" charset="0"/>
              <a:cs typeface="Verdana" panose="020B0604030504040204" pitchFamily="34" charset="0"/>
            </a:endParaRPr>
          </a:p>
          <a:p>
            <a:r>
              <a:rPr lang="en-US" sz="2400" dirty="0">
                <a:latin typeface="Verdana" panose="020B0604030504040204" pitchFamily="34" charset="0"/>
                <a:ea typeface="Verdana" panose="020B0604030504040204" pitchFamily="34" charset="0"/>
                <a:cs typeface="Verdana" panose="020B0604030504040204" pitchFamily="34" charset="0"/>
              </a:rPr>
              <a:t>Nitration</a:t>
            </a:r>
          </a:p>
          <a:p>
            <a:endParaRPr lang="en-US" sz="2400" dirty="0">
              <a:latin typeface="Verdana" panose="020B0604030504040204" pitchFamily="34" charset="0"/>
              <a:ea typeface="Verdana" panose="020B0604030504040204" pitchFamily="34" charset="0"/>
              <a:cs typeface="Verdana" panose="020B0604030504040204" pitchFamily="34" charset="0"/>
            </a:endParaRPr>
          </a:p>
        </p:txBody>
      </p:sp>
      <p:sp>
        <p:nvSpPr>
          <p:cNvPr id="6" name="Slide Number Placeholder 4">
            <a:extLst>
              <a:ext uri="{FF2B5EF4-FFF2-40B4-BE49-F238E27FC236}">
                <a16:creationId xmlns:a16="http://schemas.microsoft.com/office/drawing/2014/main" id="{E78C60EE-34F9-4AD3-8E29-FFC21ABD21CA}"/>
              </a:ext>
            </a:extLst>
          </p:cNvPr>
          <p:cNvSpPr>
            <a:spLocks noGrp="1"/>
          </p:cNvSpPr>
          <p:nvPr>
            <p:ph type="sldNum" sz="quarter" idx="12"/>
          </p:nvPr>
        </p:nvSpPr>
        <p:spPr>
          <a:xfrm>
            <a:off x="11072190" y="6356350"/>
            <a:ext cx="33927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7212B-DAB7-41D9-8B3C-111279E9B140}" type="slidenum">
              <a:rPr kumimoji="0" lang="en-US" sz="1050" b="0" i="0" u="none" strike="noStrike" kern="1200" cap="none" spc="0" normalizeH="0" baseline="0" noProof="0" smtClean="0">
                <a:ln>
                  <a:noFill/>
                </a:ln>
                <a:solidFill>
                  <a:prstClr val="white"/>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50" b="0" i="0" u="none" strike="noStrike" kern="1200" cap="none" spc="0" normalizeH="0" baseline="0" noProof="0" dirty="0">
              <a:ln>
                <a:noFill/>
              </a:ln>
              <a:solidFill>
                <a:prstClr val="white"/>
              </a:solidFill>
              <a:effectLst/>
              <a:uLnTx/>
              <a:uFillTx/>
              <a:latin typeface="Segoe UI"/>
              <a:ea typeface="+mn-ea"/>
              <a:cs typeface="+mn-cs"/>
            </a:endParaRPr>
          </a:p>
        </p:txBody>
      </p:sp>
      <p:sp>
        <p:nvSpPr>
          <p:cNvPr id="7" name="Footer Placeholder 3">
            <a:extLst>
              <a:ext uri="{FF2B5EF4-FFF2-40B4-BE49-F238E27FC236}">
                <a16:creationId xmlns:a16="http://schemas.microsoft.com/office/drawing/2014/main" id="{E569AF1D-C20C-44A1-9570-E5C9A7D08ADA}"/>
              </a:ext>
            </a:extLst>
          </p:cNvPr>
          <p:cNvSpPr>
            <a:spLocks noGrp="1"/>
          </p:cNvSpPr>
          <p:nvPr>
            <p:ph type="ftr" sz="quarter" idx="11"/>
          </p:nvPr>
        </p:nvSpPr>
        <p:spPr>
          <a:xfrm>
            <a:off x="6361043" y="6356350"/>
            <a:ext cx="461507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Copyright © 2005-2024  Inventys Research Company, All Rights Reserved. </a:t>
            </a:r>
          </a:p>
        </p:txBody>
      </p:sp>
    </p:spTree>
    <p:extLst>
      <p:ext uri="{BB962C8B-B14F-4D97-AF65-F5344CB8AC3E}">
        <p14:creationId xmlns:p14="http://schemas.microsoft.com/office/powerpoint/2010/main" val="935143826"/>
      </p:ext>
    </p:extLst>
  </p:cSld>
  <p:clrMapOvr>
    <a:overrideClrMapping bg1="dk1" tx1="lt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A6B319F-86FE-4754-878E-06F0804D88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32385" cy="6858000"/>
          </a:xfrm>
          <a:prstGeom prst="rect">
            <a:avLst/>
          </a:prstGeom>
          <a:solidFill>
            <a:schemeClr val="accent5">
              <a:alpha val="70000"/>
            </a:schemeClr>
          </a:solidFill>
          <a:ln>
            <a:noFill/>
          </a:ln>
        </p:spPr>
        <p:style>
          <a:lnRef idx="2">
            <a:schemeClr val="accent1">
              <a:shade val="50000"/>
            </a:schemeClr>
          </a:lnRef>
          <a:fillRef idx="1003">
            <a:schemeClr val="l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7D31"/>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DCF7D1B5-3477-499F-ACC5-2C8B07F4ED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2385" y="0"/>
            <a:ext cx="3218914" cy="6858000"/>
          </a:xfrm>
          <a:prstGeom prst="rect">
            <a:avLst/>
          </a:prstGeom>
          <a:solidFill>
            <a:schemeClr val="accent5">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616D621-FE24-9D15-FD2B-7F802EA082F0}"/>
              </a:ext>
            </a:extLst>
          </p:cNvPr>
          <p:cNvSpPr>
            <a:spLocks noGrp="1"/>
          </p:cNvSpPr>
          <p:nvPr>
            <p:ph type="title"/>
          </p:nvPr>
        </p:nvSpPr>
        <p:spPr>
          <a:xfrm>
            <a:off x="992206" y="1608667"/>
            <a:ext cx="2823275" cy="4501127"/>
          </a:xfrm>
        </p:spPr>
        <p:txBody>
          <a:bodyPr anchor="t">
            <a:normAutofit/>
          </a:bodyPr>
          <a:lstStyle/>
          <a:p>
            <a:pPr algn="r"/>
            <a: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t>New Chemistry </a:t>
            </a:r>
            <a:b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t>@ Lab/Pilot Scale</a:t>
            </a:r>
          </a:p>
        </p:txBody>
      </p:sp>
      <p:sp>
        <p:nvSpPr>
          <p:cNvPr id="3" name="Content Placeholder 2">
            <a:extLst>
              <a:ext uri="{FF2B5EF4-FFF2-40B4-BE49-F238E27FC236}">
                <a16:creationId xmlns:a16="http://schemas.microsoft.com/office/drawing/2014/main" id="{5B199AD4-BB70-A616-A2DE-10FAF91C3108}"/>
              </a:ext>
            </a:extLst>
          </p:cNvPr>
          <p:cNvSpPr>
            <a:spLocks noGrp="1"/>
          </p:cNvSpPr>
          <p:nvPr>
            <p:ph sz="half" idx="1"/>
          </p:nvPr>
        </p:nvSpPr>
        <p:spPr>
          <a:xfrm>
            <a:off x="4547698" y="354844"/>
            <a:ext cx="3679392" cy="6237027"/>
          </a:xfrm>
        </p:spPr>
        <p:txBody>
          <a:bodyPr>
            <a:normAutofit fontScale="85000" lnSpcReduction="20000"/>
          </a:bodyPr>
          <a:lstStyle/>
          <a:p>
            <a:pPr>
              <a:lnSpc>
                <a:spcPct val="120000"/>
              </a:lnSpc>
            </a:pPr>
            <a:r>
              <a:rPr lang="en-US" sz="2400" dirty="0">
                <a:latin typeface="Verdana" panose="020B0604030504040204" pitchFamily="34" charset="0"/>
                <a:ea typeface="Verdana" panose="020B0604030504040204" pitchFamily="34" charset="0"/>
                <a:cs typeface="Verdana" panose="020B0604030504040204" pitchFamily="34" charset="0"/>
              </a:rPr>
              <a:t>BATCH</a:t>
            </a:r>
          </a:p>
          <a:p>
            <a:pPr>
              <a:lnSpc>
                <a:spcPct val="120000"/>
              </a:lnSpc>
            </a:pPr>
            <a:endParaRPr lang="en-IN" sz="2400" dirty="0">
              <a:latin typeface="Verdana" panose="020B0604030504040204" pitchFamily="34" charset="0"/>
              <a:ea typeface="Verdana" panose="020B0604030504040204" pitchFamily="34" charset="0"/>
              <a:cs typeface="Verdana" panose="020B0604030504040204" pitchFamily="34" charset="0"/>
            </a:endParaRPr>
          </a:p>
          <a:p>
            <a:pPr>
              <a:lnSpc>
                <a:spcPct val="120000"/>
              </a:lnSpc>
            </a:pPr>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Isocyanide Synthesis (TOSMIC)</a:t>
            </a:r>
          </a:p>
          <a:p>
            <a:pPr>
              <a:lnSpc>
                <a:spcPct val="120000"/>
              </a:lnSpc>
            </a:pPr>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Van-</a:t>
            </a:r>
            <a:r>
              <a:rPr lang="en-US" sz="2400" dirty="0" err="1">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Leusen</a:t>
            </a:r>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 Imidazole Synthesis</a:t>
            </a:r>
          </a:p>
          <a:p>
            <a:pPr>
              <a:lnSpc>
                <a:spcPct val="120000"/>
              </a:lnSpc>
            </a:pPr>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Dichloro- </a:t>
            </a:r>
            <a:r>
              <a:rPr lang="en-US" sz="2400" dirty="0" err="1">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cyclopropanation</a:t>
            </a:r>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 (Carbene Chemistry)</a:t>
            </a:r>
          </a:p>
          <a:p>
            <a:pPr>
              <a:lnSpc>
                <a:spcPct val="120000"/>
              </a:lnSpc>
            </a:pPr>
            <a:r>
              <a:rPr lang="en-US" sz="2400" dirty="0" err="1">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Dechlorination</a:t>
            </a:r>
            <a:endPar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endParaRPr>
          </a:p>
          <a:p>
            <a:pPr>
              <a:lnSpc>
                <a:spcPct val="120000"/>
              </a:lnSpc>
            </a:pPr>
            <a:r>
              <a:rPr lang="en-US" sz="2400" dirty="0" err="1">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Thioetherification</a:t>
            </a:r>
            <a:endPar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endParaRPr>
          </a:p>
          <a:p>
            <a:pPr>
              <a:lnSpc>
                <a:spcPct val="120000"/>
              </a:lnSpc>
            </a:pPr>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Cat. Oxidation of Sulfide to Sulfone</a:t>
            </a:r>
          </a:p>
          <a:p>
            <a:pPr>
              <a:lnSpc>
                <a:spcPct val="120000"/>
              </a:lnSpc>
            </a:pPr>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Indole Synthesis (</a:t>
            </a:r>
            <a:r>
              <a:rPr lang="en-US" sz="2400" dirty="0" err="1">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Leimgruber-Batcho</a:t>
            </a:r>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a:t>
            </a:r>
          </a:p>
          <a:p>
            <a:endParaRPr lang="en-US" sz="2000" dirty="0">
              <a:latin typeface="Verdana" panose="020B0604030504040204" pitchFamily="34" charset="0"/>
              <a:ea typeface="Verdana" panose="020B0604030504040204" pitchFamily="34" charset="0"/>
              <a:cs typeface="Verdana" panose="020B0604030504040204" pitchFamily="34" charset="0"/>
            </a:endParaRPr>
          </a:p>
          <a:p>
            <a:endParaRPr lang="en-US" sz="2400" dirty="0">
              <a:latin typeface="Verdana" panose="020B0604030504040204" pitchFamily="34" charset="0"/>
              <a:ea typeface="Verdana" panose="020B0604030504040204" pitchFamily="34" charset="0"/>
              <a:cs typeface="Verdana" panose="020B0604030504040204" pitchFamily="34" charset="0"/>
            </a:endParaRPr>
          </a:p>
        </p:txBody>
      </p:sp>
      <p:sp>
        <p:nvSpPr>
          <p:cNvPr id="5" name="Content Placeholder 4">
            <a:extLst>
              <a:ext uri="{FF2B5EF4-FFF2-40B4-BE49-F238E27FC236}">
                <a16:creationId xmlns:a16="http://schemas.microsoft.com/office/drawing/2014/main" id="{84727819-5411-AC91-1108-6045F1172AE2}"/>
              </a:ext>
            </a:extLst>
          </p:cNvPr>
          <p:cNvSpPr>
            <a:spLocks noGrp="1"/>
          </p:cNvSpPr>
          <p:nvPr>
            <p:ph sz="half" idx="2"/>
          </p:nvPr>
        </p:nvSpPr>
        <p:spPr>
          <a:xfrm>
            <a:off x="8289696" y="354844"/>
            <a:ext cx="3679391" cy="6237027"/>
          </a:xfrm>
        </p:spPr>
        <p:txBody>
          <a:bodyPr>
            <a:normAutofit fontScale="85000" lnSpcReduction="20000"/>
          </a:bodyPr>
          <a:lstStyle/>
          <a:p>
            <a:r>
              <a:rPr lang="en-US" sz="2400" dirty="0">
                <a:latin typeface="Verdana" panose="020B0604030504040204" pitchFamily="34" charset="0"/>
                <a:ea typeface="Verdana" panose="020B0604030504040204" pitchFamily="34" charset="0"/>
                <a:cs typeface="Verdana" panose="020B0604030504040204" pitchFamily="34" charset="0"/>
              </a:rPr>
              <a:t>FLOW</a:t>
            </a:r>
          </a:p>
          <a:p>
            <a:endParaRPr lang="en-IN" sz="2400" dirty="0">
              <a:latin typeface="Verdana" panose="020B0604030504040204" pitchFamily="34" charset="0"/>
              <a:ea typeface="Verdana" panose="020B0604030504040204" pitchFamily="34" charset="0"/>
              <a:cs typeface="Verdana" panose="020B0604030504040204" pitchFamily="34" charset="0"/>
            </a:endParaRPr>
          </a:p>
          <a:p>
            <a:r>
              <a:rPr lang="en-IN" sz="2400" dirty="0">
                <a:latin typeface="Verdana" panose="020B0604030504040204" pitchFamily="34" charset="0"/>
                <a:ea typeface="Verdana" panose="020B0604030504040204" pitchFamily="34" charset="0"/>
                <a:cs typeface="Verdana" panose="020B0604030504040204" pitchFamily="34" charset="0"/>
              </a:rPr>
              <a:t>Fluorination by Halex </a:t>
            </a:r>
          </a:p>
          <a:p>
            <a:r>
              <a:rPr lang="en-US" sz="2400" dirty="0">
                <a:latin typeface="Verdana" panose="020B0604030504040204" pitchFamily="34" charset="0"/>
                <a:ea typeface="Verdana" panose="020B0604030504040204" pitchFamily="34" charset="0"/>
                <a:cs typeface="Verdana" panose="020B0604030504040204" pitchFamily="34" charset="0"/>
              </a:rPr>
              <a:t>Chlorination </a:t>
            </a:r>
          </a:p>
          <a:p>
            <a:r>
              <a:rPr lang="en-US" sz="2400" dirty="0">
                <a:latin typeface="Verdana" panose="020B0604030504040204" pitchFamily="34" charset="0"/>
                <a:ea typeface="Verdana" panose="020B0604030504040204" pitchFamily="34" charset="0"/>
                <a:cs typeface="Verdana" panose="020B0604030504040204" pitchFamily="34" charset="0"/>
              </a:rPr>
              <a:t>Hydrogenation </a:t>
            </a:r>
          </a:p>
          <a:p>
            <a:r>
              <a:rPr lang="en-US" sz="2400" dirty="0">
                <a:latin typeface="Verdana" panose="020B0604030504040204" pitchFamily="34" charset="0"/>
                <a:ea typeface="Verdana" panose="020B0604030504040204" pitchFamily="34" charset="0"/>
                <a:cs typeface="Verdana" panose="020B0604030504040204" pitchFamily="34" charset="0"/>
              </a:rPr>
              <a:t>Grignard Reaction</a:t>
            </a:r>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 (+ Reagent Formation)</a:t>
            </a:r>
          </a:p>
          <a:p>
            <a:r>
              <a:rPr lang="en-US" sz="2400" dirty="0">
                <a:latin typeface="Verdana" panose="020B0604030504040204" pitchFamily="34" charset="0"/>
                <a:ea typeface="Verdana" panose="020B0604030504040204" pitchFamily="34" charset="0"/>
                <a:cs typeface="Verdana" panose="020B0604030504040204" pitchFamily="34" charset="0"/>
              </a:rPr>
              <a:t>Lithiation </a:t>
            </a:r>
          </a:p>
          <a:p>
            <a:r>
              <a:rPr lang="en-US" sz="2400" dirty="0">
                <a:latin typeface="Verdana" panose="020B0604030504040204" pitchFamily="34" charset="0"/>
                <a:ea typeface="Verdana" panose="020B0604030504040204" pitchFamily="34" charset="0"/>
                <a:cs typeface="Verdana" panose="020B0604030504040204" pitchFamily="34" charset="0"/>
              </a:rPr>
              <a:t>Azidation </a:t>
            </a:r>
          </a:p>
          <a:p>
            <a:r>
              <a:rPr lang="fr-FR" sz="2400" dirty="0">
                <a:latin typeface="Verdana" panose="020B0604030504040204" pitchFamily="34" charset="0"/>
                <a:ea typeface="Verdana" panose="020B0604030504040204" pitchFamily="34" charset="0"/>
                <a:cs typeface="Verdana" panose="020B0604030504040204" pitchFamily="34" charset="0"/>
              </a:rPr>
              <a:t>Nitration </a:t>
            </a:r>
          </a:p>
          <a:p>
            <a:r>
              <a:rPr lang="fr-FR" sz="2400" dirty="0" err="1">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Tetrazole</a:t>
            </a:r>
            <a:r>
              <a:rPr lang="fr-FR"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 </a:t>
            </a:r>
            <a:r>
              <a:rPr lang="fr-FR" sz="2400" dirty="0" err="1">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Synthesis</a:t>
            </a:r>
            <a:endParaRPr lang="fr-FR"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endParaRPr>
          </a:p>
          <a:p>
            <a:r>
              <a:rPr lang="fr-FR"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Acyl Hydrazide </a:t>
            </a:r>
            <a:r>
              <a:rPr lang="fr-FR" sz="2400" dirty="0" err="1">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Synthesis</a:t>
            </a:r>
            <a:r>
              <a:rPr lang="fr-FR"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 </a:t>
            </a:r>
          </a:p>
          <a:p>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Cat. Oxidation of Sulfide to Sulfone</a:t>
            </a:r>
          </a:p>
          <a:p>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Enolate Alkylation</a:t>
            </a:r>
          </a:p>
          <a:p>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N-Alkylation</a:t>
            </a:r>
          </a:p>
          <a:p>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Claisen Condensation</a:t>
            </a:r>
          </a:p>
          <a:p>
            <a:r>
              <a:rPr lang="en-US" sz="24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rPr>
              <a:t>Photochlorination (initial stages)</a:t>
            </a:r>
            <a:endParaRPr lang="en-US" sz="2000" dirty="0">
              <a:solidFill>
                <a:schemeClr val="accent6">
                  <a:lumMod val="40000"/>
                  <a:lumOff val="60000"/>
                </a:schemeClr>
              </a:solidFill>
              <a:latin typeface="Verdana" panose="020B0604030504040204" pitchFamily="34" charset="0"/>
              <a:ea typeface="Verdana" panose="020B0604030504040204" pitchFamily="34" charset="0"/>
              <a:cs typeface="Verdana" panose="020B0604030504040204" pitchFamily="34" charset="0"/>
            </a:endParaRPr>
          </a:p>
          <a:p>
            <a:endParaRPr lang="en-US" sz="2400" dirty="0">
              <a:latin typeface="Verdana" panose="020B0604030504040204" pitchFamily="34" charset="0"/>
              <a:ea typeface="Verdana" panose="020B0604030504040204" pitchFamily="34" charset="0"/>
              <a:cs typeface="Verdana" panose="020B0604030504040204" pitchFamily="34" charset="0"/>
            </a:endParaRPr>
          </a:p>
        </p:txBody>
      </p:sp>
      <p:sp>
        <p:nvSpPr>
          <p:cNvPr id="7" name="Slide Number Placeholder 4">
            <a:extLst>
              <a:ext uri="{FF2B5EF4-FFF2-40B4-BE49-F238E27FC236}">
                <a16:creationId xmlns:a16="http://schemas.microsoft.com/office/drawing/2014/main" id="{3657217A-5FD0-4A63-8707-545DFE84C654}"/>
              </a:ext>
            </a:extLst>
          </p:cNvPr>
          <p:cNvSpPr>
            <a:spLocks noGrp="1"/>
          </p:cNvSpPr>
          <p:nvPr>
            <p:ph type="sldNum" sz="quarter" idx="12"/>
          </p:nvPr>
        </p:nvSpPr>
        <p:spPr>
          <a:xfrm>
            <a:off x="11072190" y="6356350"/>
            <a:ext cx="33927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7212B-DAB7-41D9-8B3C-111279E9B140}" type="slidenum">
              <a:rPr kumimoji="0" lang="en-US" sz="1050" b="0" i="0" u="none" strike="noStrike" kern="1200" cap="none" spc="0" normalizeH="0" baseline="0" noProof="0" smtClean="0">
                <a:ln>
                  <a:noFill/>
                </a:ln>
                <a:solidFill>
                  <a:prstClr val="white"/>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50" b="0" i="0" u="none" strike="noStrike" kern="1200" cap="none" spc="0" normalizeH="0" baseline="0" noProof="0" dirty="0">
              <a:ln>
                <a:noFill/>
              </a:ln>
              <a:solidFill>
                <a:prstClr val="white"/>
              </a:solidFill>
              <a:effectLst/>
              <a:uLnTx/>
              <a:uFillTx/>
              <a:latin typeface="Segoe UI"/>
              <a:ea typeface="+mn-ea"/>
              <a:cs typeface="+mn-cs"/>
            </a:endParaRPr>
          </a:p>
        </p:txBody>
      </p:sp>
      <p:sp>
        <p:nvSpPr>
          <p:cNvPr id="8" name="Footer Placeholder 3">
            <a:extLst>
              <a:ext uri="{FF2B5EF4-FFF2-40B4-BE49-F238E27FC236}">
                <a16:creationId xmlns:a16="http://schemas.microsoft.com/office/drawing/2014/main" id="{D2DD39E2-0665-449E-A166-A43FDEAA8200}"/>
              </a:ext>
            </a:extLst>
          </p:cNvPr>
          <p:cNvSpPr>
            <a:spLocks noGrp="1"/>
          </p:cNvSpPr>
          <p:nvPr>
            <p:ph type="ftr" sz="quarter" idx="11"/>
          </p:nvPr>
        </p:nvSpPr>
        <p:spPr>
          <a:xfrm>
            <a:off x="6361043" y="6356350"/>
            <a:ext cx="461507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Copyright © 2005-2024  Inventys Research Company, All Rights Reserved. </a:t>
            </a:r>
          </a:p>
        </p:txBody>
      </p:sp>
    </p:spTree>
    <p:extLst>
      <p:ext uri="{BB962C8B-B14F-4D97-AF65-F5344CB8AC3E}">
        <p14:creationId xmlns:p14="http://schemas.microsoft.com/office/powerpoint/2010/main" val="2436207025"/>
      </p:ext>
    </p:extLst>
  </p:cSld>
  <p:clrMapOvr>
    <a:overrideClrMapping bg1="dk1" tx1="lt1" bg2="dk2" tx2="lt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1C528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CC54F-C72C-4866-9FBE-3BB69157361E}"/>
              </a:ext>
            </a:extLst>
          </p:cNvPr>
          <p:cNvSpPr>
            <a:spLocks noGrp="1"/>
          </p:cNvSpPr>
          <p:nvPr>
            <p:ph type="title"/>
          </p:nvPr>
        </p:nvSpPr>
        <p:spPr/>
        <p:txBody>
          <a:bodyPr/>
          <a:lstStyle/>
          <a:p>
            <a:r>
              <a:rPr lang="en-US">
                <a:solidFill>
                  <a:schemeClr val="bg1"/>
                </a:solidFill>
              </a:rPr>
              <a:t>Wide range of Chemistry / </a:t>
            </a:r>
            <a:r>
              <a:rPr lang="en-US">
                <a:solidFill>
                  <a:srgbClr val="FBB425"/>
                </a:solidFill>
              </a:rPr>
              <a:t>Hazardous Materials</a:t>
            </a:r>
          </a:p>
        </p:txBody>
      </p:sp>
      <p:graphicFrame>
        <p:nvGraphicFramePr>
          <p:cNvPr id="6" name="Chart 5">
            <a:extLst>
              <a:ext uri="{FF2B5EF4-FFF2-40B4-BE49-F238E27FC236}">
                <a16:creationId xmlns:a16="http://schemas.microsoft.com/office/drawing/2014/main" id="{D6721E74-41BE-4E63-92DA-9F6F4B47E170}"/>
              </a:ext>
            </a:extLst>
          </p:cNvPr>
          <p:cNvGraphicFramePr>
            <a:graphicFrameLocks/>
          </p:cNvGraphicFramePr>
          <p:nvPr/>
        </p:nvGraphicFramePr>
        <p:xfrm>
          <a:off x="281354" y="1075298"/>
          <a:ext cx="6555544" cy="445043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a:extLst>
              <a:ext uri="{FF2B5EF4-FFF2-40B4-BE49-F238E27FC236}">
                <a16:creationId xmlns:a16="http://schemas.microsoft.com/office/drawing/2014/main" id="{6E41868D-D298-44D9-8733-5C2EA25A71AA}"/>
              </a:ext>
            </a:extLst>
          </p:cNvPr>
          <p:cNvGraphicFramePr>
            <a:graphicFrameLocks/>
          </p:cNvGraphicFramePr>
          <p:nvPr/>
        </p:nvGraphicFramePr>
        <p:xfrm>
          <a:off x="7088296" y="1153878"/>
          <a:ext cx="5177241" cy="4293270"/>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a:extLst>
              <a:ext uri="{FF2B5EF4-FFF2-40B4-BE49-F238E27FC236}">
                <a16:creationId xmlns:a16="http://schemas.microsoft.com/office/drawing/2014/main" id="{AD236C64-EB8A-4455-9CED-832887C37170}"/>
              </a:ext>
            </a:extLst>
          </p:cNvPr>
          <p:cNvSpPr/>
          <p:nvPr/>
        </p:nvSpPr>
        <p:spPr>
          <a:xfrm>
            <a:off x="0" y="5492565"/>
            <a:ext cx="12191998" cy="7296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0" name="Title 1">
            <a:extLst>
              <a:ext uri="{FF2B5EF4-FFF2-40B4-BE49-F238E27FC236}">
                <a16:creationId xmlns:a16="http://schemas.microsoft.com/office/drawing/2014/main" id="{E052F7D6-28F8-41BE-A367-D9846CA75F1C}"/>
              </a:ext>
            </a:extLst>
          </p:cNvPr>
          <p:cNvSpPr txBox="1">
            <a:spLocks/>
          </p:cNvSpPr>
          <p:nvPr/>
        </p:nvSpPr>
        <p:spPr>
          <a:xfrm>
            <a:off x="1124852" y="5617182"/>
            <a:ext cx="9947338" cy="4985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b="1" kern="1200">
                <a:solidFill>
                  <a:schemeClr val="tx1"/>
                </a:solidFill>
                <a:latin typeface="Microsoft JhengHei UI" panose="020B0604030504040204" pitchFamily="34" charset="-120"/>
                <a:ea typeface="Microsoft JhengHei UI" panose="020B0604030504040204" pitchFamily="34" charset="-120"/>
                <a:cs typeface="Microsoft Sans Serif"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Segoe UI"/>
                <a:ea typeface="Microsoft JhengHei UI" panose="020B0604030504040204" pitchFamily="34" charset="-120"/>
                <a:cs typeface="Microsoft Sans Serif" panose="020B0604020202020204" pitchFamily="34" charset="0"/>
              </a:rPr>
              <a:t>Wide range of plant scale implemented chemistry</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Segoe UI"/>
                <a:ea typeface="Microsoft JhengHei UI" panose="020B0604030504040204" pitchFamily="34" charset="-120"/>
                <a:cs typeface="Microsoft Sans Serif" panose="020B0604020202020204" pitchFamily="34" charset="0"/>
              </a:rPr>
              <a:t>Defragment your supply chain &amp; hence more robust</a:t>
            </a:r>
          </a:p>
        </p:txBody>
      </p:sp>
      <p:grpSp>
        <p:nvGrpSpPr>
          <p:cNvPr id="11" name="Group 10">
            <a:extLst>
              <a:ext uri="{FF2B5EF4-FFF2-40B4-BE49-F238E27FC236}">
                <a16:creationId xmlns:a16="http://schemas.microsoft.com/office/drawing/2014/main" id="{036B8554-843F-42E8-B191-BCA5ED8A4BEF}"/>
              </a:ext>
            </a:extLst>
          </p:cNvPr>
          <p:cNvGrpSpPr/>
          <p:nvPr/>
        </p:nvGrpSpPr>
        <p:grpSpPr>
          <a:xfrm>
            <a:off x="2744711" y="2504711"/>
            <a:ext cx="1558442" cy="1558442"/>
            <a:chOff x="7179392" y="2083014"/>
            <a:chExt cx="2958109" cy="2958109"/>
          </a:xfrm>
        </p:grpSpPr>
        <p:sp>
          <p:nvSpPr>
            <p:cNvPr id="12" name="Oval 11">
              <a:extLst>
                <a:ext uri="{FF2B5EF4-FFF2-40B4-BE49-F238E27FC236}">
                  <a16:creationId xmlns:a16="http://schemas.microsoft.com/office/drawing/2014/main" id="{30279834-AF3F-43D2-945C-F8DD57936EF2}"/>
                </a:ext>
              </a:extLst>
            </p:cNvPr>
            <p:cNvSpPr/>
            <p:nvPr/>
          </p:nvSpPr>
          <p:spPr>
            <a:xfrm>
              <a:off x="7179392" y="2083014"/>
              <a:ext cx="2958109" cy="2958109"/>
            </a:xfrm>
            <a:prstGeom prst="ellipse">
              <a:avLst/>
            </a:prstGeom>
            <a:solidFill>
              <a:schemeClr val="bg1"/>
            </a:solidFill>
            <a:ln w="95250">
              <a:no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00AFB9"/>
                </a:solidFill>
                <a:effectLst/>
                <a:uLnTx/>
                <a:uFillTx/>
                <a:latin typeface="Segoe UI"/>
                <a:ea typeface="+mn-ea"/>
                <a:cs typeface="+mn-cs"/>
              </a:endParaRPr>
            </a:p>
          </p:txBody>
        </p:sp>
        <p:sp>
          <p:nvSpPr>
            <p:cNvPr id="14" name="Oval 13">
              <a:extLst>
                <a:ext uri="{FF2B5EF4-FFF2-40B4-BE49-F238E27FC236}">
                  <a16:creationId xmlns:a16="http://schemas.microsoft.com/office/drawing/2014/main" id="{0B601A9F-6FEB-4DBE-803B-27E024CE91A4}"/>
                </a:ext>
              </a:extLst>
            </p:cNvPr>
            <p:cNvSpPr/>
            <p:nvPr/>
          </p:nvSpPr>
          <p:spPr>
            <a:xfrm>
              <a:off x="7313851" y="2217473"/>
              <a:ext cx="2689190" cy="2689190"/>
            </a:xfrm>
            <a:prstGeom prst="ellipse">
              <a:avLst/>
            </a:prstGeom>
            <a:noFill/>
            <a:ln w="6350">
              <a:solidFill>
                <a:schemeClr val="accent1">
                  <a:shade val="50000"/>
                  <a:alpha val="68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00AFB9"/>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E70119C1-897A-4F69-ADDB-5F97B5D8A15F}"/>
              </a:ext>
            </a:extLst>
          </p:cNvPr>
          <p:cNvGrpSpPr/>
          <p:nvPr/>
        </p:nvGrpSpPr>
        <p:grpSpPr>
          <a:xfrm>
            <a:off x="8990939" y="2626906"/>
            <a:ext cx="1287968" cy="1287968"/>
            <a:chOff x="7179392" y="2083014"/>
            <a:chExt cx="2958109" cy="2958109"/>
          </a:xfrm>
        </p:grpSpPr>
        <p:sp>
          <p:nvSpPr>
            <p:cNvPr id="19" name="Oval 18">
              <a:extLst>
                <a:ext uri="{FF2B5EF4-FFF2-40B4-BE49-F238E27FC236}">
                  <a16:creationId xmlns:a16="http://schemas.microsoft.com/office/drawing/2014/main" id="{9ADC6E21-4F87-4EBE-AED6-C5348B2617EC}"/>
                </a:ext>
              </a:extLst>
            </p:cNvPr>
            <p:cNvSpPr/>
            <p:nvPr/>
          </p:nvSpPr>
          <p:spPr>
            <a:xfrm>
              <a:off x="7179392" y="2083014"/>
              <a:ext cx="2958109" cy="2958109"/>
            </a:xfrm>
            <a:prstGeom prst="ellipse">
              <a:avLst/>
            </a:prstGeom>
            <a:solidFill>
              <a:schemeClr val="bg1"/>
            </a:solidFill>
            <a:ln w="95250">
              <a:no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00AFB9"/>
                </a:solidFill>
                <a:effectLst/>
                <a:uLnTx/>
                <a:uFillTx/>
                <a:latin typeface="Segoe UI"/>
                <a:ea typeface="+mn-ea"/>
                <a:cs typeface="+mn-cs"/>
              </a:endParaRPr>
            </a:p>
          </p:txBody>
        </p:sp>
        <p:sp>
          <p:nvSpPr>
            <p:cNvPr id="20" name="Oval 19">
              <a:extLst>
                <a:ext uri="{FF2B5EF4-FFF2-40B4-BE49-F238E27FC236}">
                  <a16:creationId xmlns:a16="http://schemas.microsoft.com/office/drawing/2014/main" id="{A0B278B1-5F17-455D-A602-2A7451A4BB57}"/>
                </a:ext>
              </a:extLst>
            </p:cNvPr>
            <p:cNvSpPr/>
            <p:nvPr/>
          </p:nvSpPr>
          <p:spPr>
            <a:xfrm>
              <a:off x="7313851" y="2217473"/>
              <a:ext cx="2689190" cy="2689190"/>
            </a:xfrm>
            <a:prstGeom prst="ellipse">
              <a:avLst/>
            </a:prstGeom>
            <a:noFill/>
            <a:ln w="6350">
              <a:solidFill>
                <a:schemeClr val="accent1">
                  <a:shade val="50000"/>
                  <a:alpha val="68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00AFB9"/>
                </a:solidFill>
                <a:effectLst/>
                <a:uLnTx/>
                <a:uFillTx/>
                <a:latin typeface="Segoe UI"/>
                <a:ea typeface="+mn-ea"/>
                <a:cs typeface="+mn-cs"/>
              </a:endParaRPr>
            </a:p>
          </p:txBody>
        </p:sp>
      </p:grpSp>
      <p:pic>
        <p:nvPicPr>
          <p:cNvPr id="7" name="Graphic 6">
            <a:extLst>
              <a:ext uri="{FF2B5EF4-FFF2-40B4-BE49-F238E27FC236}">
                <a16:creationId xmlns:a16="http://schemas.microsoft.com/office/drawing/2014/main" id="{F4E94CDC-2E5A-49FB-B99B-375F9C64451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50402" y="2866675"/>
            <a:ext cx="834513" cy="834513"/>
          </a:xfrm>
          <a:prstGeom prst="rect">
            <a:avLst/>
          </a:prstGeom>
        </p:spPr>
      </p:pic>
      <p:pic>
        <p:nvPicPr>
          <p:cNvPr id="22" name="Graphic 21">
            <a:extLst>
              <a:ext uri="{FF2B5EF4-FFF2-40B4-BE49-F238E27FC236}">
                <a16:creationId xmlns:a16="http://schemas.microsoft.com/office/drawing/2014/main" id="{80A06438-2DCF-4F8D-AA8E-F81B5EFB390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50984" y="2899993"/>
            <a:ext cx="767877" cy="767877"/>
          </a:xfrm>
          <a:prstGeom prst="rect">
            <a:avLst/>
          </a:prstGeom>
        </p:spPr>
      </p:pic>
      <p:sp>
        <p:nvSpPr>
          <p:cNvPr id="17" name="Slide Number Placeholder 4">
            <a:extLst>
              <a:ext uri="{FF2B5EF4-FFF2-40B4-BE49-F238E27FC236}">
                <a16:creationId xmlns:a16="http://schemas.microsoft.com/office/drawing/2014/main" id="{9C297A03-C944-4C09-A750-FF5FAADE471C}"/>
              </a:ext>
            </a:extLst>
          </p:cNvPr>
          <p:cNvSpPr>
            <a:spLocks noGrp="1"/>
          </p:cNvSpPr>
          <p:nvPr>
            <p:ph type="sldNum" sz="quarter" idx="12"/>
          </p:nvPr>
        </p:nvSpPr>
        <p:spPr>
          <a:xfrm>
            <a:off x="11072190" y="6356350"/>
            <a:ext cx="33927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7212B-DAB7-41D9-8B3C-111279E9B140}" type="slidenum">
              <a:rPr kumimoji="0" lang="en-US" sz="1050" b="0" i="0" u="none" strike="noStrike" kern="1200" cap="none" spc="0" normalizeH="0" baseline="0" noProof="0" smtClean="0">
                <a:ln>
                  <a:noFill/>
                </a:ln>
                <a:solidFill>
                  <a:prstClr val="white"/>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50" b="0" i="0" u="none" strike="noStrike" kern="1200" cap="none" spc="0" normalizeH="0" baseline="0" noProof="0" dirty="0">
              <a:ln>
                <a:noFill/>
              </a:ln>
              <a:solidFill>
                <a:prstClr val="white"/>
              </a:solidFill>
              <a:effectLst/>
              <a:uLnTx/>
              <a:uFillTx/>
              <a:latin typeface="Segoe UI"/>
              <a:ea typeface="+mn-ea"/>
              <a:cs typeface="+mn-cs"/>
            </a:endParaRPr>
          </a:p>
        </p:txBody>
      </p:sp>
      <p:sp>
        <p:nvSpPr>
          <p:cNvPr id="21" name="Footer Placeholder 3">
            <a:extLst>
              <a:ext uri="{FF2B5EF4-FFF2-40B4-BE49-F238E27FC236}">
                <a16:creationId xmlns:a16="http://schemas.microsoft.com/office/drawing/2014/main" id="{3FF6B5A2-11F5-47BC-80C1-5D324015348B}"/>
              </a:ext>
            </a:extLst>
          </p:cNvPr>
          <p:cNvSpPr>
            <a:spLocks noGrp="1"/>
          </p:cNvSpPr>
          <p:nvPr>
            <p:ph type="ftr" sz="quarter" idx="11"/>
          </p:nvPr>
        </p:nvSpPr>
        <p:spPr>
          <a:xfrm>
            <a:off x="6361043" y="6356350"/>
            <a:ext cx="461507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Copyright © 2005-2024  Inventys Research Company, All Rights Reserved. </a:t>
            </a:r>
          </a:p>
        </p:txBody>
      </p:sp>
    </p:spTree>
    <p:extLst>
      <p:ext uri="{BB962C8B-B14F-4D97-AF65-F5344CB8AC3E}">
        <p14:creationId xmlns:p14="http://schemas.microsoft.com/office/powerpoint/2010/main" val="31870924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A6B319F-86FE-4754-878E-06F0804D88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32385" cy="6858000"/>
          </a:xfrm>
          <a:prstGeom prst="rect">
            <a:avLst/>
          </a:prstGeom>
          <a:solidFill>
            <a:schemeClr val="accent5">
              <a:alpha val="70000"/>
            </a:schemeClr>
          </a:solidFill>
          <a:ln>
            <a:noFill/>
          </a:ln>
        </p:spPr>
        <p:style>
          <a:lnRef idx="2">
            <a:schemeClr val="accent1">
              <a:shade val="50000"/>
            </a:schemeClr>
          </a:lnRef>
          <a:fillRef idx="1003">
            <a:schemeClr val="l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7D31"/>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DCF7D1B5-3477-499F-ACC5-2C8B07F4ED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2385" y="0"/>
            <a:ext cx="3218914" cy="6858000"/>
          </a:xfrm>
          <a:prstGeom prst="rect">
            <a:avLst/>
          </a:prstGeom>
          <a:solidFill>
            <a:schemeClr val="accent5">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616D621-FE24-9D15-FD2B-7F802EA082F0}"/>
              </a:ext>
            </a:extLst>
          </p:cNvPr>
          <p:cNvSpPr>
            <a:spLocks noGrp="1"/>
          </p:cNvSpPr>
          <p:nvPr>
            <p:ph type="title"/>
          </p:nvPr>
        </p:nvSpPr>
        <p:spPr>
          <a:xfrm>
            <a:off x="992206" y="1608667"/>
            <a:ext cx="2823275" cy="4501127"/>
          </a:xfrm>
        </p:spPr>
        <p:txBody>
          <a:bodyPr anchor="t">
            <a:normAutofit/>
          </a:bodyPr>
          <a:lstStyle/>
          <a:p>
            <a:pPr algn="r"/>
            <a: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t>New Analytical Equipment</a:t>
            </a:r>
          </a:p>
        </p:txBody>
      </p:sp>
      <p:sp>
        <p:nvSpPr>
          <p:cNvPr id="3" name="Content Placeholder 2">
            <a:extLst>
              <a:ext uri="{FF2B5EF4-FFF2-40B4-BE49-F238E27FC236}">
                <a16:creationId xmlns:a16="http://schemas.microsoft.com/office/drawing/2014/main" id="{5B199AD4-BB70-A616-A2DE-10FAF91C3108}"/>
              </a:ext>
            </a:extLst>
          </p:cNvPr>
          <p:cNvSpPr>
            <a:spLocks noGrp="1"/>
          </p:cNvSpPr>
          <p:nvPr>
            <p:ph sz="half" idx="1"/>
          </p:nvPr>
        </p:nvSpPr>
        <p:spPr>
          <a:xfrm>
            <a:off x="4547698" y="354844"/>
            <a:ext cx="7145538" cy="6237027"/>
          </a:xfrm>
        </p:spPr>
        <p:txBody>
          <a:bodyPr>
            <a:normAutofit/>
          </a:bodyPr>
          <a:lstStyle/>
          <a:p>
            <a:r>
              <a:rPr lang="en-US" dirty="0"/>
              <a:t>Benchtop NMR</a:t>
            </a:r>
          </a:p>
          <a:p>
            <a:r>
              <a:rPr lang="en-US" sz="2400" dirty="0">
                <a:latin typeface="Verdana" panose="020B0604030504040204" pitchFamily="34" charset="0"/>
                <a:ea typeface="Verdana" panose="020B0604030504040204" pitchFamily="34" charset="0"/>
                <a:cs typeface="Verdana" panose="020B0604030504040204" pitchFamily="34" charset="0"/>
              </a:rPr>
              <a:t>TSU</a:t>
            </a:r>
            <a:endParaRPr lang="en-US" sz="2000" dirty="0">
              <a:latin typeface="Verdana" panose="020B0604030504040204" pitchFamily="34" charset="0"/>
              <a:ea typeface="Verdana" panose="020B0604030504040204" pitchFamily="34" charset="0"/>
              <a:cs typeface="Verdana" panose="020B0604030504040204" pitchFamily="34" charset="0"/>
            </a:endParaRPr>
          </a:p>
          <a:p>
            <a:pPr lvl="1"/>
            <a:r>
              <a:rPr lang="en-US" sz="1600" dirty="0">
                <a:latin typeface="Verdana" panose="020B0604030504040204" pitchFamily="34" charset="0"/>
                <a:ea typeface="Verdana" panose="020B0604030504040204" pitchFamily="34" charset="0"/>
                <a:cs typeface="Verdana" panose="020B0604030504040204" pitchFamily="34" charset="0"/>
              </a:rPr>
              <a:t>DSC </a:t>
            </a:r>
          </a:p>
          <a:p>
            <a:pPr lvl="1"/>
            <a:r>
              <a:rPr lang="en-US" sz="1600" dirty="0">
                <a:latin typeface="Verdana" panose="020B0604030504040204" pitchFamily="34" charset="0"/>
                <a:ea typeface="Verdana" panose="020B0604030504040204" pitchFamily="34" charset="0"/>
                <a:cs typeface="Verdana" panose="020B0604030504040204" pitchFamily="34" charset="0"/>
              </a:rPr>
              <a:t>DTA</a:t>
            </a:r>
          </a:p>
          <a:p>
            <a:r>
              <a:rPr lang="en-US" sz="2400" dirty="0">
                <a:latin typeface="Verdana" panose="020B0604030504040204" pitchFamily="34" charset="0"/>
                <a:ea typeface="Verdana" panose="020B0604030504040204" pitchFamily="34" charset="0"/>
                <a:cs typeface="Verdana" panose="020B0604030504040204" pitchFamily="34" charset="0"/>
              </a:rPr>
              <a:t>Automatic Flash Chromatography System</a:t>
            </a:r>
          </a:p>
          <a:p>
            <a:r>
              <a:rPr lang="en-US" sz="2400" dirty="0">
                <a:latin typeface="Verdana" panose="020B0604030504040204" pitchFamily="34" charset="0"/>
                <a:ea typeface="Verdana" panose="020B0604030504040204" pitchFamily="34" charset="0"/>
                <a:cs typeface="Verdana" panose="020B0604030504040204" pitchFamily="34" charset="0"/>
              </a:rPr>
              <a:t>Four additional HPLCs</a:t>
            </a:r>
          </a:p>
          <a:p>
            <a:r>
              <a:rPr lang="en-US" sz="2400" dirty="0">
                <a:latin typeface="Verdana" panose="020B0604030504040204" pitchFamily="34" charset="0"/>
                <a:ea typeface="Verdana" panose="020B0604030504040204" pitchFamily="34" charset="0"/>
                <a:cs typeface="Verdana" panose="020B0604030504040204" pitchFamily="34" charset="0"/>
              </a:rPr>
              <a:t>Two additional GCs</a:t>
            </a:r>
          </a:p>
        </p:txBody>
      </p:sp>
      <p:sp>
        <p:nvSpPr>
          <p:cNvPr id="6" name="Slide Number Placeholder 4">
            <a:extLst>
              <a:ext uri="{FF2B5EF4-FFF2-40B4-BE49-F238E27FC236}">
                <a16:creationId xmlns:a16="http://schemas.microsoft.com/office/drawing/2014/main" id="{1972AEE8-A9F2-4C86-B68E-FD8AFEAFF2E6}"/>
              </a:ext>
            </a:extLst>
          </p:cNvPr>
          <p:cNvSpPr>
            <a:spLocks noGrp="1"/>
          </p:cNvSpPr>
          <p:nvPr>
            <p:ph type="sldNum" sz="quarter" idx="12"/>
          </p:nvPr>
        </p:nvSpPr>
        <p:spPr>
          <a:xfrm>
            <a:off x="11072190" y="6356350"/>
            <a:ext cx="33927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7212B-DAB7-41D9-8B3C-111279E9B140}" type="slidenum">
              <a:rPr kumimoji="0" lang="en-US" sz="1050" b="0" i="0" u="none" strike="noStrike" kern="1200" cap="none" spc="0" normalizeH="0" baseline="0" noProof="0" smtClean="0">
                <a:ln>
                  <a:noFill/>
                </a:ln>
                <a:solidFill>
                  <a:prstClr val="white"/>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050" b="0" i="0" u="none" strike="noStrike" kern="1200" cap="none" spc="0" normalizeH="0" baseline="0" noProof="0" dirty="0">
              <a:ln>
                <a:noFill/>
              </a:ln>
              <a:solidFill>
                <a:prstClr val="white"/>
              </a:solidFill>
              <a:effectLst/>
              <a:uLnTx/>
              <a:uFillTx/>
              <a:latin typeface="Segoe UI"/>
              <a:ea typeface="+mn-ea"/>
              <a:cs typeface="+mn-cs"/>
            </a:endParaRPr>
          </a:p>
        </p:txBody>
      </p:sp>
      <p:sp>
        <p:nvSpPr>
          <p:cNvPr id="7" name="Footer Placeholder 3">
            <a:extLst>
              <a:ext uri="{FF2B5EF4-FFF2-40B4-BE49-F238E27FC236}">
                <a16:creationId xmlns:a16="http://schemas.microsoft.com/office/drawing/2014/main" id="{0EAB8255-618B-46F2-995A-AF9D225701BD}"/>
              </a:ext>
            </a:extLst>
          </p:cNvPr>
          <p:cNvSpPr>
            <a:spLocks noGrp="1"/>
          </p:cNvSpPr>
          <p:nvPr>
            <p:ph type="ftr" sz="quarter" idx="11"/>
          </p:nvPr>
        </p:nvSpPr>
        <p:spPr>
          <a:xfrm>
            <a:off x="6361043" y="6356350"/>
            <a:ext cx="461507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Copyright © 2005-2024  Inventys Research Company, All Rights Reserved. </a:t>
            </a:r>
          </a:p>
        </p:txBody>
      </p:sp>
    </p:spTree>
    <p:extLst>
      <p:ext uri="{BB962C8B-B14F-4D97-AF65-F5344CB8AC3E}">
        <p14:creationId xmlns:p14="http://schemas.microsoft.com/office/powerpoint/2010/main" val="1658154591"/>
      </p:ext>
    </p:extLst>
  </p:cSld>
  <p:clrMapOvr>
    <a:overrideClrMapping bg1="dk1" tx1="lt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5B973AB3-299B-2C4F-922D-6B305B652DE4}"/>
              </a:ext>
            </a:extLst>
          </p:cNvPr>
          <p:cNvSpPr/>
          <p:nvPr/>
        </p:nvSpPr>
        <p:spPr>
          <a:xfrm flipH="1" flipV="1">
            <a:off x="-1" y="25167"/>
            <a:ext cx="5086752" cy="4634897"/>
          </a:xfrm>
          <a:custGeom>
            <a:avLst/>
            <a:gdLst>
              <a:gd name="connsiteX0" fmla="*/ 5093361 w 7157772"/>
              <a:gd name="connsiteY0" fmla="*/ 0 h 6521949"/>
              <a:gd name="connsiteX1" fmla="*/ 7075927 w 7157772"/>
              <a:gd name="connsiteY1" fmla="*/ 400262 h 6521949"/>
              <a:gd name="connsiteX2" fmla="*/ 7157772 w 7157772"/>
              <a:gd name="connsiteY2" fmla="*/ 437263 h 6521949"/>
              <a:gd name="connsiteX3" fmla="*/ 7157772 w 7157772"/>
              <a:gd name="connsiteY3" fmla="*/ 6521949 h 6521949"/>
              <a:gd name="connsiteX4" fmla="*/ 204560 w 7157772"/>
              <a:gd name="connsiteY4" fmla="*/ 6521949 h 6521949"/>
              <a:gd name="connsiteX5" fmla="*/ 160353 w 7157772"/>
              <a:gd name="connsiteY5" fmla="*/ 6366272 h 6521949"/>
              <a:gd name="connsiteX6" fmla="*/ 0 w 7157772"/>
              <a:gd name="connsiteY6" fmla="*/ 5093361 h 6521949"/>
              <a:gd name="connsiteX7" fmla="*/ 5093361 w 7157772"/>
              <a:gd name="connsiteY7" fmla="*/ 0 h 6521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7772" h="6521949">
                <a:moveTo>
                  <a:pt x="5093361" y="0"/>
                </a:moveTo>
                <a:cubicBezTo>
                  <a:pt x="5796607" y="0"/>
                  <a:pt x="6466566" y="142524"/>
                  <a:pt x="7075927" y="400262"/>
                </a:cubicBezTo>
                <a:lnTo>
                  <a:pt x="7157772" y="437263"/>
                </a:lnTo>
                <a:lnTo>
                  <a:pt x="7157772" y="6521949"/>
                </a:lnTo>
                <a:lnTo>
                  <a:pt x="204560" y="6521949"/>
                </a:lnTo>
                <a:lnTo>
                  <a:pt x="160353" y="6366272"/>
                </a:lnTo>
                <a:cubicBezTo>
                  <a:pt x="55674" y="5959416"/>
                  <a:pt x="0" y="5532890"/>
                  <a:pt x="0" y="5093361"/>
                </a:cubicBezTo>
                <a:cubicBezTo>
                  <a:pt x="0" y="2280375"/>
                  <a:pt x="2280375" y="0"/>
                  <a:pt x="5093361" y="0"/>
                </a:cubicBezTo>
                <a:close/>
              </a:path>
            </a:pathLst>
          </a:custGeom>
          <a:solidFill>
            <a:srgbClr val="00AFB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EBC71B47-1BF7-415E-B4A7-A72B34F9812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Copyright © 2005-2024  Inventys Research Company, All Rights Reserved. </a:t>
            </a:r>
          </a:p>
        </p:txBody>
      </p:sp>
      <p:sp>
        <p:nvSpPr>
          <p:cNvPr id="5" name="Slide Number Placeholder 4">
            <a:extLst>
              <a:ext uri="{FF2B5EF4-FFF2-40B4-BE49-F238E27FC236}">
                <a16:creationId xmlns:a16="http://schemas.microsoft.com/office/drawing/2014/main" id="{75DC3651-8525-4B96-B2B8-0D021CE8F01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7212B-DAB7-41D9-8B3C-111279E9B140}" type="slidenum">
              <a:rPr kumimoji="0" lang="en-US" sz="1050" b="0" i="0" u="none" strike="noStrike" kern="1200" cap="none" spc="0" normalizeH="0" baseline="0" noProof="0" smtClean="0">
                <a:ln>
                  <a:noFill/>
                </a:ln>
                <a:solidFill>
                  <a:prstClr val="white"/>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50" b="0" i="0" u="none" strike="noStrike" kern="1200" cap="none" spc="0" normalizeH="0" baseline="0" noProof="0" dirty="0">
              <a:ln>
                <a:noFill/>
              </a:ln>
              <a:solidFill>
                <a:prstClr val="white"/>
              </a:solidFill>
              <a:effectLst/>
              <a:uLnTx/>
              <a:uFillTx/>
              <a:latin typeface="Segoe UI"/>
              <a:ea typeface="+mn-ea"/>
              <a:cs typeface="+mn-cs"/>
            </a:endParaRPr>
          </a:p>
        </p:txBody>
      </p:sp>
      <p:cxnSp>
        <p:nvCxnSpPr>
          <p:cNvPr id="9" name="Straight Connector 8">
            <a:extLst>
              <a:ext uri="{FF2B5EF4-FFF2-40B4-BE49-F238E27FC236}">
                <a16:creationId xmlns:a16="http://schemas.microsoft.com/office/drawing/2014/main" id="{D524A810-894C-4DC6-92C8-44E65513673B}"/>
              </a:ext>
            </a:extLst>
          </p:cNvPr>
          <p:cNvCxnSpPr>
            <a:cxnSpLocks/>
          </p:cNvCxnSpPr>
          <p:nvPr/>
        </p:nvCxnSpPr>
        <p:spPr>
          <a:xfrm>
            <a:off x="751009" y="761445"/>
            <a:ext cx="18645" cy="5178818"/>
          </a:xfrm>
          <a:prstGeom prst="line">
            <a:avLst/>
          </a:prstGeom>
          <a:ln>
            <a:solidFill>
              <a:schemeClr val="bg1">
                <a:alpha val="42000"/>
              </a:schemeClr>
            </a:solidFill>
          </a:ln>
        </p:spPr>
        <p:style>
          <a:lnRef idx="1">
            <a:schemeClr val="accent1"/>
          </a:lnRef>
          <a:fillRef idx="0">
            <a:schemeClr val="accent1"/>
          </a:fillRef>
          <a:effectRef idx="0">
            <a:schemeClr val="accent1"/>
          </a:effectRef>
          <a:fontRef idx="minor">
            <a:schemeClr val="tx1"/>
          </a:fontRef>
        </p:style>
      </p:cxnSp>
      <p:sp>
        <p:nvSpPr>
          <p:cNvPr id="78" name="Title 1">
            <a:extLst>
              <a:ext uri="{FF2B5EF4-FFF2-40B4-BE49-F238E27FC236}">
                <a16:creationId xmlns:a16="http://schemas.microsoft.com/office/drawing/2014/main" id="{CC944828-7666-4F77-D450-C074CA172C39}"/>
              </a:ext>
            </a:extLst>
          </p:cNvPr>
          <p:cNvSpPr txBox="1">
            <a:spLocks/>
          </p:cNvSpPr>
          <p:nvPr/>
        </p:nvSpPr>
        <p:spPr>
          <a:xfrm>
            <a:off x="681902" y="200559"/>
            <a:ext cx="7689047"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Segoe UI"/>
                <a:ea typeface="+mj-ea"/>
                <a:cs typeface="+mj-cs"/>
              </a:rPr>
              <a:t>Inventys –</a:t>
            </a:r>
            <a:r>
              <a:rPr kumimoji="0" lang="en-US" sz="2400" b="1" i="0" u="none" strike="noStrike" kern="1200" cap="none" spc="0" normalizeH="0" baseline="0" noProof="0" dirty="0">
                <a:ln>
                  <a:noFill/>
                </a:ln>
                <a:solidFill>
                  <a:srgbClr val="FBB425"/>
                </a:solidFill>
                <a:effectLst/>
                <a:uLnTx/>
                <a:uFillTx/>
                <a:latin typeface="Segoe UI"/>
                <a:ea typeface="+mj-ea"/>
                <a:cs typeface="+mj-cs"/>
              </a:rPr>
              <a:t> </a:t>
            </a:r>
            <a:r>
              <a:rPr lang="en-US" sz="2400" dirty="0">
                <a:solidFill>
                  <a:srgbClr val="FBB425"/>
                </a:solidFill>
                <a:latin typeface="Segoe UI"/>
              </a:rPr>
              <a:t>Services &amp; Products</a:t>
            </a:r>
            <a:endParaRPr kumimoji="0" lang="en-US" sz="2400" b="1" i="0" u="none" strike="noStrike" kern="1200" cap="none" spc="0" normalizeH="0" baseline="0" noProof="0" dirty="0">
              <a:ln>
                <a:noFill/>
              </a:ln>
              <a:solidFill>
                <a:srgbClr val="FF0000"/>
              </a:solidFill>
              <a:effectLst/>
              <a:uLnTx/>
              <a:uFillTx/>
              <a:latin typeface="Segoe UI"/>
              <a:ea typeface="+mj-ea"/>
              <a:cs typeface="+mj-cs"/>
            </a:endParaRPr>
          </a:p>
        </p:txBody>
      </p:sp>
      <p:cxnSp>
        <p:nvCxnSpPr>
          <p:cNvPr id="67" name="Straight Connector 66">
            <a:extLst>
              <a:ext uri="{FF2B5EF4-FFF2-40B4-BE49-F238E27FC236}">
                <a16:creationId xmlns:a16="http://schemas.microsoft.com/office/drawing/2014/main" id="{69F7D7BA-70CE-450C-ADA2-F37B5C19B666}"/>
              </a:ext>
            </a:extLst>
          </p:cNvPr>
          <p:cNvCxnSpPr>
            <a:cxnSpLocks/>
          </p:cNvCxnSpPr>
          <p:nvPr/>
        </p:nvCxnSpPr>
        <p:spPr>
          <a:xfrm flipV="1">
            <a:off x="1140152" y="4205730"/>
            <a:ext cx="10313209" cy="25546"/>
          </a:xfrm>
          <a:prstGeom prst="line">
            <a:avLst/>
          </a:prstGeom>
          <a:ln>
            <a:solidFill>
              <a:schemeClr val="bg1">
                <a:alpha val="46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6588B298-6846-4FF5-9EC7-CF53CC5F7ECA}"/>
              </a:ext>
            </a:extLst>
          </p:cNvPr>
          <p:cNvCxnSpPr>
            <a:cxnSpLocks/>
          </p:cNvCxnSpPr>
          <p:nvPr/>
        </p:nvCxnSpPr>
        <p:spPr>
          <a:xfrm>
            <a:off x="1140152" y="5695929"/>
            <a:ext cx="10231915" cy="0"/>
          </a:xfrm>
          <a:prstGeom prst="line">
            <a:avLst/>
          </a:prstGeom>
          <a:ln>
            <a:solidFill>
              <a:schemeClr val="bg1">
                <a:alpha val="46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000DD413-BBCE-46A8-9CE8-61C647DBE5BC}"/>
              </a:ext>
            </a:extLst>
          </p:cNvPr>
          <p:cNvGrpSpPr/>
          <p:nvPr/>
        </p:nvGrpSpPr>
        <p:grpSpPr>
          <a:xfrm>
            <a:off x="681902" y="854498"/>
            <a:ext cx="11115522" cy="1292662"/>
            <a:chOff x="681902" y="668060"/>
            <a:chExt cx="11115522" cy="1292662"/>
          </a:xfrm>
        </p:grpSpPr>
        <p:sp>
          <p:nvSpPr>
            <p:cNvPr id="7" name="TextBox 6">
              <a:extLst>
                <a:ext uri="{FF2B5EF4-FFF2-40B4-BE49-F238E27FC236}">
                  <a16:creationId xmlns:a16="http://schemas.microsoft.com/office/drawing/2014/main" id="{1AA23D24-D288-41AA-8A77-68B80CB5A3F6}"/>
                </a:ext>
              </a:extLst>
            </p:cNvPr>
            <p:cNvSpPr txBox="1"/>
            <p:nvPr/>
          </p:nvSpPr>
          <p:spPr>
            <a:xfrm>
              <a:off x="1031612" y="668060"/>
              <a:ext cx="10765812" cy="1292662"/>
            </a:xfrm>
            <a:prstGeom prst="rect">
              <a:avLst/>
            </a:prstGeom>
            <a:noFill/>
          </p:spPr>
          <p:txBody>
            <a:bodyPr wrap="square" lIns="0" tIns="0" rIns="0" bIns="0" rtlCol="0">
              <a:spAutoFit/>
            </a:bodyPr>
            <a:lstStyle/>
            <a:p>
              <a:pPr lvl="0">
                <a:defRPr/>
              </a:pPr>
              <a:r>
                <a:rPr lang="en-IN" sz="2000" b="1" dirty="0">
                  <a:solidFill>
                    <a:prstClr val="white"/>
                  </a:solidFill>
                </a:rPr>
                <a:t>Exclusive Synthesis Manufacturing Services for Global Innovators</a:t>
              </a:r>
              <a:endParaRPr kumimoji="0" lang="en-US" sz="2000" b="1" i="0" u="none" strike="noStrike" kern="1200" cap="none" spc="0" normalizeH="0" baseline="0" noProof="0" dirty="0">
                <a:ln>
                  <a:noFill/>
                </a:ln>
                <a:solidFill>
                  <a:prstClr val="white"/>
                </a:solidFill>
                <a:effectLst/>
                <a:uLnTx/>
                <a:uFillTx/>
                <a:latin typeface="Segoe UI"/>
                <a:ea typeface="+mn-ea"/>
                <a:cs typeface="+mn-cs"/>
              </a:endParaRPr>
            </a:p>
            <a:p>
              <a:pPr marL="628650" lvl="1" indent="-171450">
                <a:buClr>
                  <a:prstClr val="white"/>
                </a:buClr>
                <a:buFont typeface="Arial" panose="020B0604020202020204" pitchFamily="34" charset="0"/>
                <a:buChar char="•"/>
                <a:defRPr/>
              </a:pPr>
              <a:r>
                <a:rPr lang="en-IN" sz="1600" dirty="0">
                  <a:solidFill>
                    <a:prstClr val="white"/>
                  </a:solidFill>
                </a:rPr>
                <a:t>Process Development &amp; Manufacturing </a:t>
              </a:r>
            </a:p>
            <a:p>
              <a:pPr marL="1085850" lvl="2" indent="-171450">
                <a:buClr>
                  <a:prstClr val="white"/>
                </a:buClr>
                <a:buFont typeface="Arial" panose="020B0604020202020204" pitchFamily="34" charset="0"/>
                <a:buChar char="•"/>
                <a:defRPr/>
              </a:pPr>
              <a:r>
                <a:rPr lang="en-IN" sz="1600" dirty="0">
                  <a:solidFill>
                    <a:srgbClr val="FFFF00"/>
                  </a:solidFill>
                </a:rPr>
                <a:t>One</a:t>
              </a:r>
              <a:r>
                <a:rPr lang="en-IN" sz="1600" dirty="0">
                  <a:solidFill>
                    <a:prstClr val="white"/>
                  </a:solidFill>
                </a:rPr>
                <a:t> molecule – </a:t>
              </a:r>
              <a:r>
                <a:rPr lang="en-IN" sz="1600" dirty="0">
                  <a:solidFill>
                    <a:srgbClr val="FFFF00"/>
                  </a:solidFill>
                </a:rPr>
                <a:t>One</a:t>
              </a:r>
              <a:r>
                <a:rPr lang="en-IN" sz="1600" dirty="0">
                  <a:solidFill>
                    <a:prstClr val="white"/>
                  </a:solidFill>
                </a:rPr>
                <a:t> Customer </a:t>
              </a:r>
            </a:p>
            <a:p>
              <a:pPr marL="1085850" lvl="2" indent="-171450">
                <a:buClr>
                  <a:prstClr val="white"/>
                </a:buClr>
                <a:buFont typeface="Arial" panose="020B0604020202020204" pitchFamily="34" charset="0"/>
                <a:buChar char="•"/>
                <a:defRPr/>
              </a:pPr>
              <a:r>
                <a:rPr lang="en-IN" sz="1600" dirty="0">
                  <a:solidFill>
                    <a:prstClr val="white"/>
                  </a:solidFill>
                </a:rPr>
                <a:t>Actives &amp; Advances Intermediates </a:t>
              </a:r>
            </a:p>
            <a:p>
              <a:pPr marL="628650" lvl="1" indent="-171450">
                <a:buClr>
                  <a:prstClr val="white"/>
                </a:buClr>
                <a:buFont typeface="Arial" panose="020B0604020202020204" pitchFamily="34" charset="0"/>
                <a:buChar char="•"/>
                <a:defRPr/>
              </a:pPr>
              <a:r>
                <a:rPr lang="en-IN" sz="1600" dirty="0">
                  <a:solidFill>
                    <a:prstClr val="white"/>
                  </a:solidFill>
                </a:rPr>
                <a:t>COMPLETE </a:t>
              </a:r>
              <a:r>
                <a:rPr lang="en-IN" sz="1600" dirty="0">
                  <a:solidFill>
                    <a:srgbClr val="FFFF00"/>
                  </a:solidFill>
                </a:rPr>
                <a:t>IP protection </a:t>
              </a:r>
              <a:r>
                <a:rPr lang="en-IN" sz="1600" dirty="0">
                  <a:solidFill>
                    <a:prstClr val="white"/>
                  </a:solidFill>
                </a:rPr>
                <a:t>and exclusivity commitment </a:t>
              </a:r>
            </a:p>
          </p:txBody>
        </p:sp>
        <p:sp>
          <p:nvSpPr>
            <p:cNvPr id="25" name="Oval 24">
              <a:extLst>
                <a:ext uri="{FF2B5EF4-FFF2-40B4-BE49-F238E27FC236}">
                  <a16:creationId xmlns:a16="http://schemas.microsoft.com/office/drawing/2014/main" id="{204983A2-B919-4E27-B694-522D0466787A}"/>
                </a:ext>
              </a:extLst>
            </p:cNvPr>
            <p:cNvSpPr/>
            <p:nvPr/>
          </p:nvSpPr>
          <p:spPr>
            <a:xfrm>
              <a:off x="681902" y="735553"/>
              <a:ext cx="169215" cy="169215"/>
            </a:xfrm>
            <a:prstGeom prst="ellipse">
              <a:avLst/>
            </a:prstGeom>
            <a:solidFill>
              <a:schemeClr val="bg1"/>
            </a:solidFill>
            <a:ln w="53975">
              <a:solidFill>
                <a:schemeClr val="accent2"/>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grpSp>
      <p:grpSp>
        <p:nvGrpSpPr>
          <p:cNvPr id="3" name="Group 2">
            <a:extLst>
              <a:ext uri="{FF2B5EF4-FFF2-40B4-BE49-F238E27FC236}">
                <a16:creationId xmlns:a16="http://schemas.microsoft.com/office/drawing/2014/main" id="{13A99547-E048-463F-86F2-33488BB6E590}"/>
              </a:ext>
            </a:extLst>
          </p:cNvPr>
          <p:cNvGrpSpPr/>
          <p:nvPr/>
        </p:nvGrpSpPr>
        <p:grpSpPr>
          <a:xfrm>
            <a:off x="654949" y="2524687"/>
            <a:ext cx="11224500" cy="1538885"/>
            <a:chOff x="654949" y="2935296"/>
            <a:chExt cx="11224500" cy="1641762"/>
          </a:xfrm>
        </p:grpSpPr>
        <p:sp>
          <p:nvSpPr>
            <p:cNvPr id="62" name="Oval 61">
              <a:extLst>
                <a:ext uri="{FF2B5EF4-FFF2-40B4-BE49-F238E27FC236}">
                  <a16:creationId xmlns:a16="http://schemas.microsoft.com/office/drawing/2014/main" id="{8F3C5D35-114C-4749-B963-0DCF58C4195A}"/>
                </a:ext>
              </a:extLst>
            </p:cNvPr>
            <p:cNvSpPr/>
            <p:nvPr/>
          </p:nvSpPr>
          <p:spPr>
            <a:xfrm>
              <a:off x="654949" y="3026625"/>
              <a:ext cx="187239" cy="169214"/>
            </a:xfrm>
            <a:prstGeom prst="ellipse">
              <a:avLst/>
            </a:prstGeom>
            <a:solidFill>
              <a:schemeClr val="bg1"/>
            </a:solidFill>
            <a:ln w="53975">
              <a:solidFill>
                <a:srgbClr val="FBB42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07E4F2F9-8121-42EB-A1D5-B06C8D0BD089}"/>
                </a:ext>
              </a:extLst>
            </p:cNvPr>
            <p:cNvSpPr txBox="1"/>
            <p:nvPr/>
          </p:nvSpPr>
          <p:spPr>
            <a:xfrm>
              <a:off x="1113637" y="2935296"/>
              <a:ext cx="10765812" cy="1641762"/>
            </a:xfrm>
            <a:prstGeom prst="rect">
              <a:avLst/>
            </a:prstGeom>
            <a:noFill/>
          </p:spPr>
          <p:txBody>
            <a:bodyPr wrap="square" lIns="0" tIns="0" rIns="0" bIns="0" rtlCol="0">
              <a:spAutoFit/>
            </a:bodyPr>
            <a:lstStyle/>
            <a:p>
              <a:pPr lvl="0">
                <a:defRPr/>
              </a:pPr>
              <a:r>
                <a:rPr lang="en-US" sz="2000" b="1" dirty="0">
                  <a:solidFill>
                    <a:prstClr val="white"/>
                  </a:solidFill>
                </a:rPr>
                <a:t>Process Development / Improvement Services to Innovators</a:t>
              </a:r>
              <a:endParaRPr kumimoji="0" lang="en-US" sz="2000" b="1" i="0" u="none" strike="noStrike" kern="1200" cap="none" spc="0" normalizeH="0" baseline="0" noProof="0" dirty="0">
                <a:ln>
                  <a:noFill/>
                </a:ln>
                <a:solidFill>
                  <a:prstClr val="white"/>
                </a:solidFill>
                <a:effectLst/>
                <a:uLnTx/>
                <a:uFillTx/>
                <a:latin typeface="Segoe UI"/>
                <a:ea typeface="+mn-ea"/>
                <a:cs typeface="+mn-cs"/>
              </a:endParaRPr>
            </a:p>
            <a:p>
              <a:pPr marL="628650" lvl="1" indent="-171450">
                <a:buClr>
                  <a:prstClr val="white"/>
                </a:buClr>
                <a:buFont typeface="Arial" panose="020B0604020202020204" pitchFamily="34" charset="0"/>
                <a:buChar char="•"/>
                <a:defRPr/>
              </a:pPr>
              <a:r>
                <a:rPr lang="en-IN" sz="1600" dirty="0">
                  <a:solidFill>
                    <a:prstClr val="white"/>
                  </a:solidFill>
                </a:rPr>
                <a:t>Batch Process to Flow Chemistry &amp; Process Intensification </a:t>
              </a:r>
            </a:p>
            <a:p>
              <a:pPr marL="1085850" lvl="2" indent="-171450">
                <a:buClr>
                  <a:prstClr val="white"/>
                </a:buClr>
                <a:buFont typeface="Arial" panose="020B0604020202020204" pitchFamily="34" charset="0"/>
                <a:buChar char="•"/>
                <a:defRPr/>
              </a:pPr>
              <a:r>
                <a:rPr lang="en-IN" sz="1600" dirty="0">
                  <a:solidFill>
                    <a:prstClr val="white"/>
                  </a:solidFill>
                </a:rPr>
                <a:t>Higher </a:t>
              </a:r>
              <a:r>
                <a:rPr lang="en-IN" sz="1600" dirty="0">
                  <a:solidFill>
                    <a:srgbClr val="FFFF00"/>
                  </a:solidFill>
                </a:rPr>
                <a:t>selectivity</a:t>
              </a:r>
              <a:r>
                <a:rPr lang="en-IN" sz="1600" dirty="0">
                  <a:solidFill>
                    <a:prstClr val="white"/>
                  </a:solidFill>
                </a:rPr>
                <a:t> </a:t>
              </a:r>
              <a:r>
                <a:rPr lang="en-IN" sz="1600" dirty="0">
                  <a:solidFill>
                    <a:prstClr val="white"/>
                  </a:solidFill>
                  <a:sym typeface="Wingdings" panose="05000000000000000000" pitchFamily="2" charset="2"/>
                </a:rPr>
                <a:t></a:t>
              </a:r>
              <a:r>
                <a:rPr lang="en-IN" sz="1600" dirty="0">
                  <a:solidFill>
                    <a:prstClr val="white"/>
                  </a:solidFill>
                </a:rPr>
                <a:t> lower waste</a:t>
              </a:r>
            </a:p>
            <a:p>
              <a:pPr marL="1085850" lvl="2" indent="-171450">
                <a:buClr>
                  <a:prstClr val="white"/>
                </a:buClr>
                <a:buFont typeface="Arial" panose="020B0604020202020204" pitchFamily="34" charset="0"/>
                <a:buChar char="•"/>
                <a:defRPr/>
              </a:pPr>
              <a:r>
                <a:rPr lang="en-IN" sz="1600" dirty="0">
                  <a:solidFill>
                    <a:prstClr val="white"/>
                  </a:solidFill>
                </a:rPr>
                <a:t>Significantly lower </a:t>
              </a:r>
              <a:r>
                <a:rPr lang="en-IN" sz="1600" dirty="0">
                  <a:solidFill>
                    <a:srgbClr val="FFFF00"/>
                  </a:solidFill>
                </a:rPr>
                <a:t>solvent</a:t>
              </a:r>
              <a:r>
                <a:rPr lang="en-IN" sz="1600" dirty="0">
                  <a:solidFill>
                    <a:prstClr val="white"/>
                  </a:solidFill>
                </a:rPr>
                <a:t> usage &amp; </a:t>
              </a:r>
              <a:r>
                <a:rPr lang="en-IN" sz="1600" dirty="0">
                  <a:solidFill>
                    <a:srgbClr val="FFFF00"/>
                  </a:solidFill>
                </a:rPr>
                <a:t>energy</a:t>
              </a:r>
              <a:r>
                <a:rPr lang="en-IN" sz="1600" dirty="0">
                  <a:solidFill>
                    <a:prstClr val="white"/>
                  </a:solidFill>
                </a:rPr>
                <a:t> consumption </a:t>
              </a:r>
              <a:r>
                <a:rPr lang="en-IN" sz="1600" dirty="0">
                  <a:solidFill>
                    <a:prstClr val="white"/>
                  </a:solidFill>
                  <a:sym typeface="Wingdings" panose="05000000000000000000" pitchFamily="2" charset="2"/>
                </a:rPr>
                <a:t></a:t>
              </a:r>
              <a:r>
                <a:rPr lang="en-IN" sz="1600" dirty="0">
                  <a:solidFill>
                    <a:prstClr val="white"/>
                  </a:solidFill>
                </a:rPr>
                <a:t> </a:t>
              </a:r>
              <a:r>
                <a:rPr lang="en-IN" sz="1600" dirty="0">
                  <a:solidFill>
                    <a:srgbClr val="FFFF00"/>
                  </a:solidFill>
                </a:rPr>
                <a:t>Smaller</a:t>
              </a:r>
              <a:r>
                <a:rPr lang="en-IN" sz="1600" dirty="0">
                  <a:solidFill>
                    <a:prstClr val="white"/>
                  </a:solidFill>
                </a:rPr>
                <a:t> footprint </a:t>
              </a:r>
            </a:p>
            <a:p>
              <a:pPr marL="1085850" lvl="2" indent="-171450">
                <a:buClr>
                  <a:prstClr val="white"/>
                </a:buClr>
                <a:buFont typeface="Arial" panose="020B0604020202020204" pitchFamily="34" charset="0"/>
                <a:buChar char="•"/>
                <a:defRPr/>
              </a:pPr>
              <a:r>
                <a:rPr lang="en-IN" sz="1600" dirty="0">
                  <a:solidFill>
                    <a:srgbClr val="FFFF00"/>
                  </a:solidFill>
                </a:rPr>
                <a:t>Safe</a:t>
              </a:r>
              <a:r>
                <a:rPr lang="en-IN" sz="1600" dirty="0">
                  <a:solidFill>
                    <a:prstClr val="white"/>
                  </a:solidFill>
                </a:rPr>
                <a:t> operations</a:t>
              </a:r>
            </a:p>
            <a:p>
              <a:pPr marL="628650" lvl="1" indent="-171450">
                <a:buClr>
                  <a:prstClr val="white"/>
                </a:buClr>
                <a:buFont typeface="Arial" panose="020B0604020202020204" pitchFamily="34" charset="0"/>
                <a:buChar char="•"/>
                <a:defRPr/>
              </a:pPr>
              <a:r>
                <a:rPr lang="en-IN" sz="1600" dirty="0">
                  <a:solidFill>
                    <a:srgbClr val="FFFF00"/>
                  </a:solidFill>
                </a:rPr>
                <a:t>Scaleup services </a:t>
              </a:r>
              <a:r>
                <a:rPr lang="en-IN" sz="1600" dirty="0">
                  <a:solidFill>
                    <a:schemeClr val="bg1"/>
                  </a:solidFill>
                </a:rPr>
                <a:t>&amp;</a:t>
              </a:r>
              <a:r>
                <a:rPr lang="en-IN" sz="1600" dirty="0">
                  <a:solidFill>
                    <a:srgbClr val="FFFF00"/>
                  </a:solidFill>
                </a:rPr>
                <a:t> </a:t>
              </a:r>
              <a:r>
                <a:rPr lang="en-IN" sz="1600" dirty="0">
                  <a:solidFill>
                    <a:schemeClr val="bg1"/>
                  </a:solidFill>
                </a:rPr>
                <a:t>Gm / Kg </a:t>
              </a:r>
              <a:r>
                <a:rPr lang="en-IN" sz="1600" dirty="0">
                  <a:solidFill>
                    <a:srgbClr val="FFFF00"/>
                  </a:solidFill>
                </a:rPr>
                <a:t>material supply</a:t>
              </a:r>
              <a:r>
                <a:rPr lang="en-IN" sz="1600" dirty="0">
                  <a:solidFill>
                    <a:schemeClr val="bg1"/>
                  </a:solidFill>
                </a:rPr>
                <a:t> synthesis for trials &amp; development work</a:t>
              </a:r>
            </a:p>
          </p:txBody>
        </p:sp>
      </p:grpSp>
      <p:cxnSp>
        <p:nvCxnSpPr>
          <p:cNvPr id="27" name="Straight Connector 26">
            <a:extLst>
              <a:ext uri="{FF2B5EF4-FFF2-40B4-BE49-F238E27FC236}">
                <a16:creationId xmlns:a16="http://schemas.microsoft.com/office/drawing/2014/main" id="{DDF34EAE-3B4C-4615-8DD4-1E23E5413D33}"/>
              </a:ext>
            </a:extLst>
          </p:cNvPr>
          <p:cNvCxnSpPr>
            <a:cxnSpLocks/>
          </p:cNvCxnSpPr>
          <p:nvPr/>
        </p:nvCxnSpPr>
        <p:spPr>
          <a:xfrm>
            <a:off x="1098140" y="2298940"/>
            <a:ext cx="10240162" cy="73146"/>
          </a:xfrm>
          <a:prstGeom prst="line">
            <a:avLst/>
          </a:prstGeom>
          <a:ln>
            <a:solidFill>
              <a:schemeClr val="bg1">
                <a:alpha val="46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EF739658-C65F-4706-BCA1-AD751D1EF24D}"/>
              </a:ext>
            </a:extLst>
          </p:cNvPr>
          <p:cNvGrpSpPr/>
          <p:nvPr/>
        </p:nvGrpSpPr>
        <p:grpSpPr>
          <a:xfrm>
            <a:off x="675042" y="4408303"/>
            <a:ext cx="11203299" cy="1046440"/>
            <a:chOff x="675042" y="4031604"/>
            <a:chExt cx="11203299" cy="1109214"/>
          </a:xfrm>
        </p:grpSpPr>
        <p:sp>
          <p:nvSpPr>
            <p:cNvPr id="33" name="Oval 32">
              <a:extLst>
                <a:ext uri="{FF2B5EF4-FFF2-40B4-BE49-F238E27FC236}">
                  <a16:creationId xmlns:a16="http://schemas.microsoft.com/office/drawing/2014/main" id="{C81A1A3A-9D06-47B8-A7B4-A6C40C549A2C}"/>
                </a:ext>
              </a:extLst>
            </p:cNvPr>
            <p:cNvSpPr/>
            <p:nvPr/>
          </p:nvSpPr>
          <p:spPr>
            <a:xfrm>
              <a:off x="675042" y="4081779"/>
              <a:ext cx="169215" cy="169215"/>
            </a:xfrm>
            <a:prstGeom prst="ellipse">
              <a:avLst/>
            </a:prstGeom>
            <a:solidFill>
              <a:schemeClr val="bg1"/>
            </a:solidFill>
            <a:ln w="53975">
              <a:solidFill>
                <a:schemeClr val="accent5"/>
              </a:solidFill>
            </a:ln>
            <a:effectLst>
              <a:outerShdw blurRad="1524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21373723-5931-48F2-AFF5-D14B97F933FE}"/>
                </a:ext>
              </a:extLst>
            </p:cNvPr>
            <p:cNvSpPr txBox="1"/>
            <p:nvPr/>
          </p:nvSpPr>
          <p:spPr>
            <a:xfrm>
              <a:off x="1112529" y="4031604"/>
              <a:ext cx="10765812" cy="1109214"/>
            </a:xfrm>
            <a:prstGeom prst="rect">
              <a:avLst/>
            </a:prstGeom>
            <a:noFill/>
          </p:spPr>
          <p:txBody>
            <a:bodyPr wrap="square" lIns="0" tIns="0" rIns="0" bIns="0" rtlCol="0">
              <a:spAutoFit/>
            </a:bodyPr>
            <a:lstStyle/>
            <a:p>
              <a:pPr lvl="0">
                <a:defRPr/>
              </a:pPr>
              <a:r>
                <a:rPr lang="en-US" sz="2000" b="1" dirty="0">
                  <a:solidFill>
                    <a:prstClr val="white"/>
                  </a:solidFill>
                </a:rPr>
                <a:t>Raw Material &amp; Intermediates Supply to Pharmaceutical / Electronics Industry  </a:t>
              </a:r>
              <a:endParaRPr kumimoji="0" lang="en-US" sz="2000" b="1" i="0" u="none" strike="noStrike" kern="1200" cap="none" spc="0" normalizeH="0" baseline="0" noProof="0" dirty="0">
                <a:ln>
                  <a:noFill/>
                </a:ln>
                <a:solidFill>
                  <a:prstClr val="white"/>
                </a:solidFill>
                <a:effectLst/>
                <a:uLnTx/>
                <a:uFillTx/>
                <a:latin typeface="Segoe UI"/>
                <a:ea typeface="+mn-ea"/>
                <a:cs typeface="+mn-cs"/>
              </a:endParaRPr>
            </a:p>
            <a:p>
              <a:pPr marL="628650" lvl="1" indent="-171450">
                <a:buFont typeface="Arial" panose="020B0604020202020204" pitchFamily="34" charset="0"/>
                <a:buChar char="•"/>
                <a:defRPr/>
              </a:pPr>
              <a:r>
                <a:rPr lang="en-IN" sz="1600" dirty="0">
                  <a:solidFill>
                    <a:prstClr val="white"/>
                  </a:solidFill>
                </a:rPr>
                <a:t>Alternative to critical dependency on unreliable supplier base</a:t>
              </a:r>
            </a:p>
            <a:p>
              <a:pPr marL="628650" lvl="1" indent="-171450">
                <a:buFont typeface="Arial" panose="020B0604020202020204" pitchFamily="34" charset="0"/>
                <a:buChar char="•"/>
                <a:defRPr/>
              </a:pPr>
              <a:r>
                <a:rPr lang="en-IN" sz="1600" dirty="0">
                  <a:solidFill>
                    <a:prstClr val="white"/>
                  </a:solidFill>
                </a:rPr>
                <a:t>Focused on Complex Challenging Manufacturing </a:t>
              </a:r>
            </a:p>
            <a:p>
              <a:pPr marL="628650" lvl="1" indent="-171450">
                <a:buFont typeface="Arial" panose="020B0604020202020204" pitchFamily="34" charset="0"/>
                <a:buChar char="•"/>
                <a:defRPr/>
              </a:pPr>
              <a:r>
                <a:rPr lang="en-IN" sz="1600" dirty="0">
                  <a:solidFill>
                    <a:prstClr val="white"/>
                  </a:solidFill>
                </a:rPr>
                <a:t>Inventys own products with Inventys technology </a:t>
              </a:r>
              <a:endParaRPr kumimoji="0" lang="en-US" sz="1600" b="0" i="0" u="none" strike="noStrike" kern="1200" cap="none" spc="0" normalizeH="0" baseline="0" noProof="0" dirty="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42795845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F265F4F-1DE6-EBA1-658E-718145880EC9}"/>
              </a:ext>
            </a:extLst>
          </p:cNvPr>
          <p:cNvSpPr>
            <a:spLocks noGrp="1"/>
          </p:cNvSpPr>
          <p:nvPr>
            <p:ph type="title"/>
          </p:nvPr>
        </p:nvSpPr>
        <p:spPr>
          <a:xfrm>
            <a:off x="466722" y="586855"/>
            <a:ext cx="3201366" cy="5521401"/>
          </a:xfrm>
        </p:spPr>
        <p:txBody>
          <a:bodyPr anchor="b">
            <a:normAutofit/>
          </a:bodyPr>
          <a:lstStyle/>
          <a:p>
            <a:pPr algn="r"/>
            <a:r>
              <a:rPr lang="en-US" sz="4000" dirty="0">
                <a:solidFill>
                  <a:schemeClr val="bg1"/>
                </a:solidFill>
                <a:latin typeface="Verdana" panose="020B0604030504040204" pitchFamily="34" charset="0"/>
                <a:ea typeface="Verdana" panose="020B0604030504040204" pitchFamily="34" charset="0"/>
                <a:cs typeface="Verdana" panose="020B0604030504040204" pitchFamily="34" charset="0"/>
              </a:rPr>
              <a:t>New Business</a:t>
            </a:r>
          </a:p>
        </p:txBody>
      </p:sp>
      <p:graphicFrame>
        <p:nvGraphicFramePr>
          <p:cNvPr id="22" name="Content Placeholder 2">
            <a:extLst>
              <a:ext uri="{FF2B5EF4-FFF2-40B4-BE49-F238E27FC236}">
                <a16:creationId xmlns:a16="http://schemas.microsoft.com/office/drawing/2014/main" id="{88908868-341D-29BE-EB64-6DF811531379}"/>
              </a:ext>
            </a:extLst>
          </p:cNvPr>
          <p:cNvGraphicFramePr>
            <a:graphicFrameLocks noGrp="1"/>
          </p:cNvGraphicFramePr>
          <p:nvPr>
            <p:ph idx="1"/>
            <p:extLst>
              <p:ext uri="{D42A27DB-BD31-4B8C-83A1-F6EECF244321}">
                <p14:modId xmlns:p14="http://schemas.microsoft.com/office/powerpoint/2010/main" val="3720690993"/>
              </p:ext>
            </p:extLst>
          </p:nvPr>
        </p:nvGraphicFramePr>
        <p:xfrm>
          <a:off x="4810259" y="649480"/>
          <a:ext cx="6555347" cy="55460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087535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A6B319F-86FE-4754-878E-06F0804D88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32385" cy="6858000"/>
          </a:xfrm>
          <a:prstGeom prst="rect">
            <a:avLst/>
          </a:prstGeom>
          <a:solidFill>
            <a:schemeClr val="accent5">
              <a:alpha val="70000"/>
            </a:schemeClr>
          </a:solidFill>
          <a:ln>
            <a:noFill/>
          </a:ln>
        </p:spPr>
        <p:style>
          <a:lnRef idx="2">
            <a:schemeClr val="accent1">
              <a:shade val="50000"/>
            </a:schemeClr>
          </a:lnRef>
          <a:fillRef idx="1003">
            <a:schemeClr val="l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7D31"/>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DCF7D1B5-3477-499F-ACC5-2C8B07F4ED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2385" y="0"/>
            <a:ext cx="3218914" cy="6858000"/>
          </a:xfrm>
          <a:prstGeom prst="rect">
            <a:avLst/>
          </a:prstGeom>
          <a:solidFill>
            <a:schemeClr val="accent5">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616D621-FE24-9D15-FD2B-7F802EA082F0}"/>
              </a:ext>
            </a:extLst>
          </p:cNvPr>
          <p:cNvSpPr>
            <a:spLocks noGrp="1"/>
          </p:cNvSpPr>
          <p:nvPr>
            <p:ph type="title"/>
          </p:nvPr>
        </p:nvSpPr>
        <p:spPr>
          <a:xfrm>
            <a:off x="992206" y="1608668"/>
            <a:ext cx="2823275" cy="4079752"/>
          </a:xfrm>
        </p:spPr>
        <p:txBody>
          <a:bodyPr anchor="t">
            <a:normAutofit fontScale="90000"/>
          </a:bodyPr>
          <a:lstStyle/>
          <a:p>
            <a:pPr algn="r"/>
            <a: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t>New Business in last 15 months</a:t>
            </a:r>
            <a:b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br>
            <a:b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2800" dirty="0">
                <a:solidFill>
                  <a:schemeClr val="accent6"/>
                </a:solidFill>
                <a:latin typeface="Verdana" panose="020B0604030504040204" pitchFamily="34" charset="0"/>
                <a:ea typeface="Verdana" panose="020B0604030504040204" pitchFamily="34" charset="0"/>
                <a:cs typeface="Verdana" panose="020B0604030504040204" pitchFamily="34" charset="0"/>
              </a:rPr>
              <a:t>Exclusive Synthesis </a:t>
            </a:r>
            <a:b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t>+ </a:t>
            </a:r>
            <a:b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2800" dirty="0">
                <a:solidFill>
                  <a:schemeClr val="accent2"/>
                </a:solidFill>
                <a:latin typeface="Verdana" panose="020B0604030504040204" pitchFamily="34" charset="0"/>
                <a:ea typeface="Verdana" panose="020B0604030504040204" pitchFamily="34" charset="0"/>
                <a:cs typeface="Verdana" panose="020B0604030504040204" pitchFamily="34" charset="0"/>
              </a:rPr>
              <a:t>CDMO</a:t>
            </a:r>
            <a:br>
              <a:rPr lang="en-US" sz="2800" dirty="0">
                <a:solidFill>
                  <a:schemeClr val="accent2"/>
                </a:solidFill>
                <a:latin typeface="Verdana" panose="020B0604030504040204" pitchFamily="34" charset="0"/>
                <a:ea typeface="Verdana" panose="020B0604030504040204" pitchFamily="34" charset="0"/>
                <a:cs typeface="Verdana" panose="020B0604030504040204" pitchFamily="34" charset="0"/>
              </a:rPr>
            </a:br>
            <a:br>
              <a:rPr lang="en-US" sz="2800" dirty="0">
                <a:solidFill>
                  <a:schemeClr val="accent2"/>
                </a:solidFill>
                <a:latin typeface="Verdana" panose="020B0604030504040204" pitchFamily="34" charset="0"/>
                <a:ea typeface="Verdana" panose="020B0604030504040204" pitchFamily="34" charset="0"/>
                <a:cs typeface="Verdana" panose="020B0604030504040204" pitchFamily="34" charset="0"/>
              </a:rPr>
            </a:br>
            <a:r>
              <a:rPr lang="en-US" sz="2800" dirty="0">
                <a:solidFill>
                  <a:schemeClr val="bg1"/>
                </a:solidFill>
                <a:latin typeface="Verdana" panose="020B0604030504040204" pitchFamily="34" charset="0"/>
                <a:ea typeface="Verdana" panose="020B0604030504040204" pitchFamily="34" charset="0"/>
                <a:cs typeface="Verdana" panose="020B0604030504040204" pitchFamily="34" charset="0"/>
              </a:rPr>
              <a:t>(42 more molecules in pipeline)</a:t>
            </a:r>
          </a:p>
        </p:txBody>
      </p:sp>
      <p:graphicFrame>
        <p:nvGraphicFramePr>
          <p:cNvPr id="3" name="Content Placeholder 2">
            <a:extLst>
              <a:ext uri="{FF2B5EF4-FFF2-40B4-BE49-F238E27FC236}">
                <a16:creationId xmlns:a16="http://schemas.microsoft.com/office/drawing/2014/main" id="{717927A1-AC75-4013-9879-8A42FF5B0BB3}"/>
              </a:ext>
            </a:extLst>
          </p:cNvPr>
          <p:cNvGraphicFramePr>
            <a:graphicFrameLocks noGrp="1"/>
          </p:cNvGraphicFramePr>
          <p:nvPr>
            <p:ph sz="half" idx="2"/>
            <p:extLst>
              <p:ext uri="{D42A27DB-BD31-4B8C-83A1-F6EECF244321}">
                <p14:modId xmlns:p14="http://schemas.microsoft.com/office/powerpoint/2010/main" val="1496036552"/>
              </p:ext>
            </p:extLst>
          </p:nvPr>
        </p:nvGraphicFramePr>
        <p:xfrm>
          <a:off x="4222148" y="196372"/>
          <a:ext cx="7758112" cy="4297680"/>
        </p:xfrm>
        <a:graphic>
          <a:graphicData uri="http://schemas.openxmlformats.org/drawingml/2006/table">
            <a:tbl>
              <a:tblPr firstRow="1" bandRow="1">
                <a:tableStyleId>{5C22544A-7EE6-4342-B048-85BDC9FD1C3A}</a:tableStyleId>
              </a:tblPr>
              <a:tblGrid>
                <a:gridCol w="1398330">
                  <a:extLst>
                    <a:ext uri="{9D8B030D-6E8A-4147-A177-3AD203B41FA5}">
                      <a16:colId xmlns:a16="http://schemas.microsoft.com/office/drawing/2014/main" val="3348191426"/>
                    </a:ext>
                  </a:extLst>
                </a:gridCol>
                <a:gridCol w="2470899">
                  <a:extLst>
                    <a:ext uri="{9D8B030D-6E8A-4147-A177-3AD203B41FA5}">
                      <a16:colId xmlns:a16="http://schemas.microsoft.com/office/drawing/2014/main" val="808039379"/>
                    </a:ext>
                  </a:extLst>
                </a:gridCol>
                <a:gridCol w="1336828">
                  <a:extLst>
                    <a:ext uri="{9D8B030D-6E8A-4147-A177-3AD203B41FA5}">
                      <a16:colId xmlns:a16="http://schemas.microsoft.com/office/drawing/2014/main" val="1931064036"/>
                    </a:ext>
                  </a:extLst>
                </a:gridCol>
                <a:gridCol w="2552055">
                  <a:extLst>
                    <a:ext uri="{9D8B030D-6E8A-4147-A177-3AD203B41FA5}">
                      <a16:colId xmlns:a16="http://schemas.microsoft.com/office/drawing/2014/main" val="362300597"/>
                    </a:ext>
                  </a:extLst>
                </a:gridCol>
              </a:tblGrid>
              <a:tr h="122325">
                <a:tc>
                  <a:txBody>
                    <a:bodyPr/>
                    <a:lstStyle/>
                    <a:p>
                      <a:pPr algn="ctr"/>
                      <a:r>
                        <a:rPr lang="en-US" sz="1600" dirty="0"/>
                        <a:t>Customer</a:t>
                      </a:r>
                    </a:p>
                  </a:txBody>
                  <a:tcPr/>
                </a:tc>
                <a:tc>
                  <a:txBody>
                    <a:bodyPr/>
                    <a:lstStyle/>
                    <a:p>
                      <a:pPr algn="ctr"/>
                      <a:r>
                        <a:rPr lang="en-US" sz="1600" dirty="0"/>
                        <a:t>Products</a:t>
                      </a:r>
                    </a:p>
                  </a:txBody>
                  <a:tcPr/>
                </a:tc>
                <a:tc>
                  <a:txBody>
                    <a:bodyPr/>
                    <a:lstStyle/>
                    <a:p>
                      <a:pPr algn="ctr"/>
                      <a:r>
                        <a:rPr lang="en-US" sz="1600" dirty="0"/>
                        <a:t>$MM /yr</a:t>
                      </a:r>
                    </a:p>
                  </a:txBody>
                  <a:tcPr/>
                </a:tc>
                <a:tc>
                  <a:txBody>
                    <a:bodyPr/>
                    <a:lstStyle/>
                    <a:p>
                      <a:pPr algn="ctr"/>
                      <a:r>
                        <a:rPr lang="en-US" sz="1600" dirty="0"/>
                        <a:t>Status</a:t>
                      </a:r>
                    </a:p>
                  </a:txBody>
                  <a:tcPr/>
                </a:tc>
                <a:extLst>
                  <a:ext uri="{0D108BD9-81ED-4DB2-BD59-A6C34878D82A}">
                    <a16:rowId xmlns:a16="http://schemas.microsoft.com/office/drawing/2014/main" val="624124483"/>
                  </a:ext>
                </a:extLst>
              </a:tr>
              <a:tr h="166806">
                <a:tc>
                  <a:txBody>
                    <a:bodyPr/>
                    <a:lstStyle/>
                    <a:p>
                      <a:r>
                        <a:rPr lang="en-US" sz="1200" dirty="0"/>
                        <a:t>Specialty Chemicals – Large innovator</a:t>
                      </a:r>
                    </a:p>
                  </a:txBody>
                  <a:tcPr/>
                </a:tc>
                <a:tc>
                  <a:txBody>
                    <a:bodyPr/>
                    <a:lstStyle/>
                    <a:p>
                      <a:r>
                        <a:rPr lang="en-US" sz="1200" dirty="0"/>
                        <a:t>Three molecules</a:t>
                      </a:r>
                    </a:p>
                  </a:txBody>
                  <a:tcPr/>
                </a:tc>
                <a:tc>
                  <a:txBody>
                    <a:bodyPr/>
                    <a:lstStyle/>
                    <a:p>
                      <a:pPr algn="ctr"/>
                      <a:r>
                        <a:rPr lang="en-US" sz="1200" dirty="0"/>
                        <a:t>$ 23 MM/yr x 6</a:t>
                      </a:r>
                    </a:p>
                  </a:txBody>
                  <a:tcPr/>
                </a:tc>
                <a:tc>
                  <a:txBody>
                    <a:bodyPr/>
                    <a:lstStyle/>
                    <a:p>
                      <a:r>
                        <a:rPr lang="en-US" sz="1200" dirty="0"/>
                        <a:t>Commercial Supply - Six year contract (up to $97 MM total)</a:t>
                      </a:r>
                    </a:p>
                  </a:txBody>
                  <a:tcPr/>
                </a:tc>
                <a:extLst>
                  <a:ext uri="{0D108BD9-81ED-4DB2-BD59-A6C34878D82A}">
                    <a16:rowId xmlns:a16="http://schemas.microsoft.com/office/drawing/2014/main" val="3871627602"/>
                  </a:ext>
                </a:extLst>
              </a:tr>
              <a:tr h="166806">
                <a:tc>
                  <a:txBody>
                    <a:bodyPr/>
                    <a:lstStyle/>
                    <a:p>
                      <a:r>
                        <a:rPr lang="en-US" sz="1200" dirty="0"/>
                        <a:t>Pharma – Small innovator</a:t>
                      </a:r>
                    </a:p>
                  </a:txBody>
                  <a:tcPr/>
                </a:tc>
                <a:tc>
                  <a:txBody>
                    <a:bodyPr/>
                    <a:lstStyle/>
                    <a:p>
                      <a:r>
                        <a:rPr lang="en-US" sz="1200" dirty="0"/>
                        <a:t>Advanced Intermediate</a:t>
                      </a:r>
                    </a:p>
                  </a:txBody>
                  <a:tcPr/>
                </a:tc>
                <a:tc>
                  <a:txBody>
                    <a:bodyPr/>
                    <a:lstStyle/>
                    <a:p>
                      <a:pPr algn="ctr"/>
                      <a:r>
                        <a:rPr lang="en-US" sz="1200" dirty="0"/>
                        <a:t>$ 0.7 MM/yr x 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ommercial Supply started</a:t>
                      </a:r>
                    </a:p>
                  </a:txBody>
                  <a:tcPr/>
                </a:tc>
                <a:extLst>
                  <a:ext uri="{0D108BD9-81ED-4DB2-BD59-A6C34878D82A}">
                    <a16:rowId xmlns:a16="http://schemas.microsoft.com/office/drawing/2014/main" val="3104318318"/>
                  </a:ext>
                </a:extLst>
              </a:tr>
              <a:tr h="166806">
                <a:tc>
                  <a:txBody>
                    <a:bodyPr/>
                    <a:lstStyle/>
                    <a:p>
                      <a:r>
                        <a:rPr lang="en-US" sz="1200" dirty="0"/>
                        <a:t>Agro – Midsize innovator</a:t>
                      </a:r>
                    </a:p>
                  </a:txBody>
                  <a:tcPr/>
                </a:tc>
                <a:tc>
                  <a:txBody>
                    <a:bodyPr/>
                    <a:lstStyle/>
                    <a:p>
                      <a:r>
                        <a:rPr lang="en-US" sz="1200" dirty="0"/>
                        <a:t>Active + Advanced Intermediat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 3.3 MM/yr x 5</a:t>
                      </a:r>
                    </a:p>
                    <a:p>
                      <a:pPr algn="ctr"/>
                      <a:endParaRPr lang="en-US" sz="1200" dirty="0"/>
                    </a:p>
                  </a:txBody>
                  <a:tcPr/>
                </a:tc>
                <a:tc>
                  <a:txBody>
                    <a:bodyPr/>
                    <a:lstStyle/>
                    <a:p>
                      <a:r>
                        <a:rPr lang="en-US" sz="1200" dirty="0"/>
                        <a:t>Commercial Supply started</a:t>
                      </a:r>
                    </a:p>
                  </a:txBody>
                  <a:tcPr/>
                </a:tc>
                <a:extLst>
                  <a:ext uri="{0D108BD9-81ED-4DB2-BD59-A6C34878D82A}">
                    <a16:rowId xmlns:a16="http://schemas.microsoft.com/office/drawing/2014/main" val="611883479"/>
                  </a:ext>
                </a:extLst>
              </a:tr>
              <a:tr h="166806">
                <a:tc>
                  <a:txBody>
                    <a:bodyPr/>
                    <a:lstStyle/>
                    <a:p>
                      <a:r>
                        <a:rPr lang="en-US" sz="1200" dirty="0"/>
                        <a:t>Agro – Reputed innovator</a:t>
                      </a:r>
                    </a:p>
                  </a:txBody>
                  <a:tcPr/>
                </a:tc>
                <a:tc>
                  <a:txBody>
                    <a:bodyPr/>
                    <a:lstStyle/>
                    <a:p>
                      <a:r>
                        <a:rPr lang="en-US" sz="1200" dirty="0"/>
                        <a:t>Three intermediate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 2.25 MM/yr x 5</a:t>
                      </a:r>
                    </a:p>
                  </a:txBody>
                  <a:tcPr/>
                </a:tc>
                <a:tc>
                  <a:txBody>
                    <a:bodyPr/>
                    <a:lstStyle/>
                    <a:p>
                      <a:r>
                        <a:rPr lang="en-US" sz="1200" dirty="0"/>
                        <a:t>Commercial Supply started</a:t>
                      </a:r>
                    </a:p>
                  </a:txBody>
                  <a:tcPr/>
                </a:tc>
                <a:extLst>
                  <a:ext uri="{0D108BD9-81ED-4DB2-BD59-A6C34878D82A}">
                    <a16:rowId xmlns:a16="http://schemas.microsoft.com/office/drawing/2014/main" val="1466169793"/>
                  </a:ext>
                </a:extLst>
              </a:tr>
              <a:tr h="166806">
                <a:tc>
                  <a:txBody>
                    <a:bodyPr/>
                    <a:lstStyle/>
                    <a:p>
                      <a:r>
                        <a:rPr lang="en-US" sz="1200" dirty="0"/>
                        <a:t>Agro – Reputed innovator</a:t>
                      </a:r>
                    </a:p>
                  </a:txBody>
                  <a:tcPr/>
                </a:tc>
                <a:tc>
                  <a:txBody>
                    <a:bodyPr/>
                    <a:lstStyle/>
                    <a:p>
                      <a:r>
                        <a:rPr lang="en-US" sz="1200" dirty="0"/>
                        <a:t>New Active (Recently launched) + Advanced Intermediate </a:t>
                      </a:r>
                    </a:p>
                  </a:txBody>
                  <a:tcPr/>
                </a:tc>
                <a:tc>
                  <a:txBody>
                    <a:bodyPr/>
                    <a:lstStyle/>
                    <a:p>
                      <a:pPr algn="ctr"/>
                      <a:r>
                        <a:rPr lang="en-US" sz="1200" dirty="0"/>
                        <a:t>$20 MM/yr x 5</a:t>
                      </a:r>
                    </a:p>
                  </a:txBody>
                  <a:tcPr/>
                </a:tc>
                <a:tc>
                  <a:txBody>
                    <a:bodyPr/>
                    <a:lstStyle/>
                    <a:p>
                      <a:r>
                        <a:rPr lang="en-US" sz="1200" dirty="0"/>
                        <a:t>Pilot Studies &amp; Inventys as </a:t>
                      </a:r>
                      <a:r>
                        <a:rPr lang="en-US" sz="1200" dirty="0">
                          <a:highlight>
                            <a:srgbClr val="FFFF00"/>
                          </a:highlight>
                        </a:rPr>
                        <a:t>new Source Registration (currently internally produced)</a:t>
                      </a:r>
                    </a:p>
                  </a:txBody>
                  <a:tcPr/>
                </a:tc>
                <a:extLst>
                  <a:ext uri="{0D108BD9-81ED-4DB2-BD59-A6C34878D82A}">
                    <a16:rowId xmlns:a16="http://schemas.microsoft.com/office/drawing/2014/main" val="501513168"/>
                  </a:ext>
                </a:extLst>
              </a:tr>
              <a:tr h="1668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gro – Reputed innovator</a:t>
                      </a:r>
                    </a:p>
                  </a:txBody>
                  <a:tcPr/>
                </a:tc>
                <a:tc>
                  <a:txBody>
                    <a:bodyPr/>
                    <a:lstStyle/>
                    <a:p>
                      <a:r>
                        <a:rPr lang="en-US" sz="1200" dirty="0">
                          <a:highlight>
                            <a:srgbClr val="FFFF00"/>
                          </a:highlight>
                        </a:rPr>
                        <a:t>Active to be launched</a:t>
                      </a:r>
                      <a:r>
                        <a:rPr lang="en-US" sz="1200" dirty="0"/>
                        <a:t> + 2 Advanced Intermediates + 1 Intermediate</a:t>
                      </a:r>
                    </a:p>
                  </a:txBody>
                  <a:tcPr/>
                </a:tc>
                <a:tc>
                  <a:txBody>
                    <a:bodyPr/>
                    <a:lstStyle/>
                    <a:p>
                      <a:pPr algn="ctr"/>
                      <a:r>
                        <a:rPr lang="en-US" sz="1200" dirty="0"/>
                        <a:t>$10 MM/yr x 5</a:t>
                      </a:r>
                    </a:p>
                  </a:txBody>
                  <a:tcPr/>
                </a:tc>
                <a:tc>
                  <a:txBody>
                    <a:bodyPr/>
                    <a:lstStyle/>
                    <a:p>
                      <a:r>
                        <a:rPr lang="en-US" sz="1200" dirty="0"/>
                        <a:t>Scaleup &amp; </a:t>
                      </a:r>
                      <a:r>
                        <a:rPr lang="en-US" sz="1200" dirty="0">
                          <a:highlight>
                            <a:srgbClr val="FFFF00"/>
                          </a:highlight>
                        </a:rPr>
                        <a:t>New Active Registration using Inventys Material</a:t>
                      </a:r>
                    </a:p>
                  </a:txBody>
                  <a:tcPr/>
                </a:tc>
                <a:extLst>
                  <a:ext uri="{0D108BD9-81ED-4DB2-BD59-A6C34878D82A}">
                    <a16:rowId xmlns:a16="http://schemas.microsoft.com/office/drawing/2014/main" val="2391896972"/>
                  </a:ext>
                </a:extLst>
              </a:tr>
              <a:tr h="1668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gro – Reputed innovator</a:t>
                      </a:r>
                    </a:p>
                  </a:txBody>
                  <a:tcPr/>
                </a:tc>
                <a:tc>
                  <a:txBody>
                    <a:bodyPr/>
                    <a:lstStyle/>
                    <a:p>
                      <a:r>
                        <a:rPr lang="en-US" sz="1200" dirty="0"/>
                        <a:t>An old Active</a:t>
                      </a:r>
                    </a:p>
                  </a:txBody>
                  <a:tcPr/>
                </a:tc>
                <a:tc>
                  <a:txBody>
                    <a:bodyPr/>
                    <a:lstStyle/>
                    <a:p>
                      <a:pPr algn="ctr"/>
                      <a:r>
                        <a:rPr lang="en-US" sz="1200" dirty="0"/>
                        <a:t>$1.5 MM/yr x 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ilot Studies &amp; </a:t>
                      </a:r>
                      <a:r>
                        <a:rPr lang="en-US" sz="1200" dirty="0">
                          <a:highlight>
                            <a:srgbClr val="FFFF00"/>
                          </a:highlight>
                        </a:rPr>
                        <a:t>Inventys as 2nd Source Registration</a:t>
                      </a:r>
                      <a:endParaRPr lang="en-US" sz="1200" dirty="0"/>
                    </a:p>
                  </a:txBody>
                  <a:tcPr/>
                </a:tc>
                <a:extLst>
                  <a:ext uri="{0D108BD9-81ED-4DB2-BD59-A6C34878D82A}">
                    <a16:rowId xmlns:a16="http://schemas.microsoft.com/office/drawing/2014/main" val="3304327166"/>
                  </a:ext>
                </a:extLst>
              </a:tr>
              <a:tr h="122325">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accent6"/>
                          </a:solidFill>
                        </a:rPr>
                        <a:t>Revenue finalized or at an advanced stage</a:t>
                      </a:r>
                    </a:p>
                  </a:txBody>
                  <a:tcPr/>
                </a:tc>
                <a:tc hMerge="1">
                  <a:txBody>
                    <a:bodyPr/>
                    <a:lstStyle/>
                    <a:p>
                      <a:endParaRPr lang="en-US" sz="1600" dirty="0"/>
                    </a:p>
                  </a:txBody>
                  <a:tcPr/>
                </a:tc>
                <a:tc>
                  <a:txBody>
                    <a:bodyPr/>
                    <a:lstStyle/>
                    <a:p>
                      <a:pPr algn="ctr"/>
                      <a:r>
                        <a:rPr lang="en-US" sz="1600" dirty="0">
                          <a:solidFill>
                            <a:schemeClr val="accent6"/>
                          </a:solidFill>
                        </a:rPr>
                        <a:t>$65.75 MM/yr</a:t>
                      </a:r>
                    </a:p>
                  </a:txBody>
                  <a:tcPr/>
                </a:tc>
                <a:tc>
                  <a:txBody>
                    <a:bodyPr/>
                    <a:lstStyle/>
                    <a:p>
                      <a:pPr algn="ctr"/>
                      <a:r>
                        <a:rPr lang="en-US" sz="1600" dirty="0">
                          <a:solidFill>
                            <a:schemeClr val="accent6"/>
                          </a:solidFill>
                        </a:rPr>
                        <a:t>Exclusive Synthesis</a:t>
                      </a:r>
                    </a:p>
                  </a:txBody>
                  <a:tcPr/>
                </a:tc>
                <a:extLst>
                  <a:ext uri="{0D108BD9-81ED-4DB2-BD59-A6C34878D82A}">
                    <a16:rowId xmlns:a16="http://schemas.microsoft.com/office/drawing/2014/main" val="3546620870"/>
                  </a:ext>
                </a:extLst>
              </a:tr>
            </a:tbl>
          </a:graphicData>
        </a:graphic>
      </p:graphicFrame>
      <p:graphicFrame>
        <p:nvGraphicFramePr>
          <p:cNvPr id="7" name="Content Placeholder 2">
            <a:extLst>
              <a:ext uri="{FF2B5EF4-FFF2-40B4-BE49-F238E27FC236}">
                <a16:creationId xmlns:a16="http://schemas.microsoft.com/office/drawing/2014/main" id="{1A8E6CB0-7F90-4479-96EB-260198DE33D5}"/>
              </a:ext>
            </a:extLst>
          </p:cNvPr>
          <p:cNvGraphicFramePr>
            <a:graphicFrameLocks/>
          </p:cNvGraphicFramePr>
          <p:nvPr>
            <p:extLst>
              <p:ext uri="{D42A27DB-BD31-4B8C-83A1-F6EECF244321}">
                <p14:modId xmlns:p14="http://schemas.microsoft.com/office/powerpoint/2010/main" val="3162834465"/>
              </p:ext>
            </p:extLst>
          </p:nvPr>
        </p:nvGraphicFramePr>
        <p:xfrm>
          <a:off x="4222148" y="4177508"/>
          <a:ext cx="7758112" cy="1656080"/>
        </p:xfrm>
        <a:graphic>
          <a:graphicData uri="http://schemas.openxmlformats.org/drawingml/2006/table">
            <a:tbl>
              <a:tblPr firstRow="1" bandRow="1">
                <a:tableStyleId>{5C22544A-7EE6-4342-B048-85BDC9FD1C3A}</a:tableStyleId>
              </a:tblPr>
              <a:tblGrid>
                <a:gridCol w="1398330">
                  <a:extLst>
                    <a:ext uri="{9D8B030D-6E8A-4147-A177-3AD203B41FA5}">
                      <a16:colId xmlns:a16="http://schemas.microsoft.com/office/drawing/2014/main" val="3348191426"/>
                    </a:ext>
                  </a:extLst>
                </a:gridCol>
                <a:gridCol w="2514600">
                  <a:extLst>
                    <a:ext uri="{9D8B030D-6E8A-4147-A177-3AD203B41FA5}">
                      <a16:colId xmlns:a16="http://schemas.microsoft.com/office/drawing/2014/main" val="808039379"/>
                    </a:ext>
                  </a:extLst>
                </a:gridCol>
                <a:gridCol w="1299306">
                  <a:extLst>
                    <a:ext uri="{9D8B030D-6E8A-4147-A177-3AD203B41FA5}">
                      <a16:colId xmlns:a16="http://schemas.microsoft.com/office/drawing/2014/main" val="1931064036"/>
                    </a:ext>
                  </a:extLst>
                </a:gridCol>
                <a:gridCol w="2545876">
                  <a:extLst>
                    <a:ext uri="{9D8B030D-6E8A-4147-A177-3AD203B41FA5}">
                      <a16:colId xmlns:a16="http://schemas.microsoft.com/office/drawing/2014/main" val="362300597"/>
                    </a:ext>
                  </a:extLst>
                </a:gridCol>
              </a:tblGrid>
              <a:tr h="370840">
                <a:tc>
                  <a:txBody>
                    <a:bodyPr/>
                    <a:lstStyle/>
                    <a:p>
                      <a:pPr algn="ctr"/>
                      <a:r>
                        <a:rPr lang="en-US" sz="1600" dirty="0"/>
                        <a:t>Customer</a:t>
                      </a:r>
                    </a:p>
                  </a:txBody>
                  <a:tcPr/>
                </a:tc>
                <a:tc>
                  <a:txBody>
                    <a:bodyPr/>
                    <a:lstStyle/>
                    <a:p>
                      <a:pPr algn="ctr"/>
                      <a:r>
                        <a:rPr lang="en-US" sz="1600" dirty="0"/>
                        <a:t>Products</a:t>
                      </a:r>
                    </a:p>
                  </a:txBody>
                  <a:tcPr/>
                </a:tc>
                <a:tc>
                  <a:txBody>
                    <a:bodyPr/>
                    <a:lstStyle/>
                    <a:p>
                      <a:pPr algn="ctr"/>
                      <a:r>
                        <a:rPr lang="en-US" sz="1600" dirty="0"/>
                        <a:t>$MM /yr</a:t>
                      </a:r>
                    </a:p>
                  </a:txBody>
                  <a:tcPr/>
                </a:tc>
                <a:tc>
                  <a:txBody>
                    <a:bodyPr/>
                    <a:lstStyle/>
                    <a:p>
                      <a:pPr algn="ctr"/>
                      <a:r>
                        <a:rPr lang="en-US" sz="1600" dirty="0"/>
                        <a:t>Status</a:t>
                      </a:r>
                    </a:p>
                  </a:txBody>
                  <a:tcPr/>
                </a:tc>
                <a:extLst>
                  <a:ext uri="{0D108BD9-81ED-4DB2-BD59-A6C34878D82A}">
                    <a16:rowId xmlns:a16="http://schemas.microsoft.com/office/drawing/2014/main" val="624124483"/>
                  </a:ext>
                </a:extLst>
              </a:tr>
              <a:tr h="370840">
                <a:tc>
                  <a:txBody>
                    <a:bodyPr/>
                    <a:lstStyle/>
                    <a:p>
                      <a:r>
                        <a:rPr lang="en-US" sz="1200" dirty="0"/>
                        <a:t>Pharma – Large CDMOs</a:t>
                      </a:r>
                    </a:p>
                  </a:txBody>
                  <a:tcPr/>
                </a:tc>
                <a:tc>
                  <a:txBody>
                    <a:bodyPr/>
                    <a:lstStyle/>
                    <a:p>
                      <a:r>
                        <a:rPr lang="en-US" sz="1200" dirty="0"/>
                        <a:t>Five advanced intermediate</a:t>
                      </a:r>
                    </a:p>
                  </a:txBody>
                  <a:tcPr/>
                </a:tc>
                <a:tc>
                  <a:txBody>
                    <a:bodyPr/>
                    <a:lstStyle/>
                    <a:p>
                      <a:pPr algn="ctr"/>
                      <a:r>
                        <a:rPr lang="en-US" sz="1200" dirty="0"/>
                        <a:t>$ 4.5 MM/yr</a:t>
                      </a:r>
                    </a:p>
                  </a:txBody>
                  <a:tcPr/>
                </a:tc>
                <a:tc>
                  <a:txBody>
                    <a:bodyPr/>
                    <a:lstStyle/>
                    <a:p>
                      <a:r>
                        <a:rPr lang="en-US" sz="1200" dirty="0"/>
                        <a:t>Product Development</a:t>
                      </a:r>
                    </a:p>
                  </a:txBody>
                  <a:tcPr/>
                </a:tc>
                <a:extLst>
                  <a:ext uri="{0D108BD9-81ED-4DB2-BD59-A6C34878D82A}">
                    <a16:rowId xmlns:a16="http://schemas.microsoft.com/office/drawing/2014/main" val="3871627602"/>
                  </a:ext>
                </a:extLst>
              </a:tr>
              <a:tr h="370840">
                <a:tc>
                  <a:txBody>
                    <a:bodyPr/>
                    <a:lstStyle/>
                    <a:p>
                      <a:r>
                        <a:rPr lang="en-US" sz="1200" dirty="0"/>
                        <a:t>Pharma – Small Innovators / CMOs</a:t>
                      </a:r>
                    </a:p>
                  </a:txBody>
                  <a:tcPr/>
                </a:tc>
                <a:tc>
                  <a:txBody>
                    <a:bodyPr/>
                    <a:lstStyle/>
                    <a:p>
                      <a:r>
                        <a:rPr lang="en-US" sz="1200" dirty="0"/>
                        <a:t>Several molecules</a:t>
                      </a:r>
                    </a:p>
                  </a:txBody>
                  <a:tcPr/>
                </a:tc>
                <a:tc>
                  <a:txBody>
                    <a:bodyPr/>
                    <a:lstStyle/>
                    <a:p>
                      <a:pPr algn="ctr"/>
                      <a:r>
                        <a:rPr lang="en-US" sz="1200" dirty="0"/>
                        <a:t>$ 3.0 MM/yr x 5</a:t>
                      </a:r>
                    </a:p>
                  </a:txBody>
                  <a:tcPr/>
                </a:tc>
                <a:tc>
                  <a:txBody>
                    <a:bodyPr/>
                    <a:lstStyle/>
                    <a:p>
                      <a:r>
                        <a:rPr lang="en-US" sz="1200" dirty="0"/>
                        <a:t>Product Development</a:t>
                      </a:r>
                    </a:p>
                  </a:txBody>
                  <a:tcPr/>
                </a:tc>
                <a:extLst>
                  <a:ext uri="{0D108BD9-81ED-4DB2-BD59-A6C34878D82A}">
                    <a16:rowId xmlns:a16="http://schemas.microsoft.com/office/drawing/2014/main" val="3104318318"/>
                  </a:ext>
                </a:extLst>
              </a:tr>
              <a:tr h="37084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accent2"/>
                          </a:solidFill>
                        </a:rPr>
                        <a:t>Revenue Expected</a:t>
                      </a:r>
                    </a:p>
                  </a:txBody>
                  <a:tcPr/>
                </a:tc>
                <a:tc hMerge="1">
                  <a:txBody>
                    <a:bodyPr/>
                    <a:lstStyle/>
                    <a:p>
                      <a:endParaRPr lang="en-US" sz="1600" dirty="0"/>
                    </a:p>
                  </a:txBody>
                  <a:tcPr/>
                </a:tc>
                <a:tc>
                  <a:txBody>
                    <a:bodyPr/>
                    <a:lstStyle/>
                    <a:p>
                      <a:pPr algn="ctr"/>
                      <a:r>
                        <a:rPr lang="en-US" sz="1600" dirty="0">
                          <a:solidFill>
                            <a:schemeClr val="accent2"/>
                          </a:solidFill>
                        </a:rPr>
                        <a:t>$7.5 MM/yr</a:t>
                      </a:r>
                    </a:p>
                  </a:txBody>
                  <a:tcPr/>
                </a:tc>
                <a:tc>
                  <a:txBody>
                    <a:bodyPr/>
                    <a:lstStyle/>
                    <a:p>
                      <a:pPr algn="ctr"/>
                      <a:r>
                        <a:rPr lang="en-US" sz="1600" dirty="0">
                          <a:solidFill>
                            <a:schemeClr val="accent2"/>
                          </a:solidFill>
                        </a:rPr>
                        <a:t>CDMO Services</a:t>
                      </a:r>
                    </a:p>
                  </a:txBody>
                  <a:tcPr/>
                </a:tc>
                <a:extLst>
                  <a:ext uri="{0D108BD9-81ED-4DB2-BD59-A6C34878D82A}">
                    <a16:rowId xmlns:a16="http://schemas.microsoft.com/office/drawing/2014/main" val="3546620870"/>
                  </a:ext>
                </a:extLst>
              </a:tr>
            </a:tbl>
          </a:graphicData>
        </a:graphic>
      </p:graphicFrame>
      <p:graphicFrame>
        <p:nvGraphicFramePr>
          <p:cNvPr id="4" name="Content Placeholder 2">
            <a:extLst>
              <a:ext uri="{FF2B5EF4-FFF2-40B4-BE49-F238E27FC236}">
                <a16:creationId xmlns:a16="http://schemas.microsoft.com/office/drawing/2014/main" id="{A6637957-E0E1-3CBF-5026-92E463F18F65}"/>
              </a:ext>
            </a:extLst>
          </p:cNvPr>
          <p:cNvGraphicFramePr>
            <a:graphicFrameLocks/>
          </p:cNvGraphicFramePr>
          <p:nvPr>
            <p:extLst>
              <p:ext uri="{D42A27DB-BD31-4B8C-83A1-F6EECF244321}">
                <p14:modId xmlns:p14="http://schemas.microsoft.com/office/powerpoint/2010/main" val="666354565"/>
              </p:ext>
            </p:extLst>
          </p:nvPr>
        </p:nvGraphicFramePr>
        <p:xfrm>
          <a:off x="4225686" y="5924798"/>
          <a:ext cx="7758112" cy="828040"/>
        </p:xfrm>
        <a:graphic>
          <a:graphicData uri="http://schemas.openxmlformats.org/drawingml/2006/table">
            <a:tbl>
              <a:tblPr firstRow="1" bandRow="1">
                <a:tableStyleId>{5C22544A-7EE6-4342-B048-85BDC9FD1C3A}</a:tableStyleId>
              </a:tblPr>
              <a:tblGrid>
                <a:gridCol w="1398330">
                  <a:extLst>
                    <a:ext uri="{9D8B030D-6E8A-4147-A177-3AD203B41FA5}">
                      <a16:colId xmlns:a16="http://schemas.microsoft.com/office/drawing/2014/main" val="3348191426"/>
                    </a:ext>
                  </a:extLst>
                </a:gridCol>
                <a:gridCol w="2514600">
                  <a:extLst>
                    <a:ext uri="{9D8B030D-6E8A-4147-A177-3AD203B41FA5}">
                      <a16:colId xmlns:a16="http://schemas.microsoft.com/office/drawing/2014/main" val="808039379"/>
                    </a:ext>
                  </a:extLst>
                </a:gridCol>
                <a:gridCol w="1314303">
                  <a:extLst>
                    <a:ext uri="{9D8B030D-6E8A-4147-A177-3AD203B41FA5}">
                      <a16:colId xmlns:a16="http://schemas.microsoft.com/office/drawing/2014/main" val="1931064036"/>
                    </a:ext>
                  </a:extLst>
                </a:gridCol>
                <a:gridCol w="2530879">
                  <a:extLst>
                    <a:ext uri="{9D8B030D-6E8A-4147-A177-3AD203B41FA5}">
                      <a16:colId xmlns:a16="http://schemas.microsoft.com/office/drawing/2014/main" val="362300597"/>
                    </a:ext>
                  </a:extLst>
                </a:gridCol>
              </a:tblGrid>
              <a:tr h="370840">
                <a:tc>
                  <a:txBody>
                    <a:bodyPr/>
                    <a:lstStyle/>
                    <a:p>
                      <a:pPr algn="ctr"/>
                      <a:r>
                        <a:rPr lang="en-US" sz="1600" dirty="0"/>
                        <a:t>Customer</a:t>
                      </a:r>
                    </a:p>
                  </a:txBody>
                  <a:tcPr/>
                </a:tc>
                <a:tc>
                  <a:txBody>
                    <a:bodyPr/>
                    <a:lstStyle/>
                    <a:p>
                      <a:pPr algn="ctr"/>
                      <a:r>
                        <a:rPr lang="en-US" sz="1600" dirty="0"/>
                        <a:t>Products</a:t>
                      </a:r>
                    </a:p>
                  </a:txBody>
                  <a:tcPr/>
                </a:tc>
                <a:tc>
                  <a:txBody>
                    <a:bodyPr/>
                    <a:lstStyle/>
                    <a:p>
                      <a:pPr algn="ctr"/>
                      <a:r>
                        <a:rPr lang="en-US" sz="1600" dirty="0"/>
                        <a:t>$MM /yr</a:t>
                      </a:r>
                    </a:p>
                  </a:txBody>
                  <a:tcPr/>
                </a:tc>
                <a:tc>
                  <a:txBody>
                    <a:bodyPr/>
                    <a:lstStyle/>
                    <a:p>
                      <a:pPr algn="ctr"/>
                      <a:r>
                        <a:rPr lang="en-US" sz="1600" dirty="0"/>
                        <a:t>Status</a:t>
                      </a:r>
                    </a:p>
                  </a:txBody>
                  <a:tcPr/>
                </a:tc>
                <a:extLst>
                  <a:ext uri="{0D108BD9-81ED-4DB2-BD59-A6C34878D82A}">
                    <a16:rowId xmlns:a16="http://schemas.microsoft.com/office/drawing/2014/main" val="62412448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harma – Reputed Global innovator</a:t>
                      </a:r>
                    </a:p>
                  </a:txBody>
                  <a:tcPr/>
                </a:tc>
                <a:tc>
                  <a:txBody>
                    <a:bodyPr/>
                    <a:lstStyle/>
                    <a:p>
                      <a:r>
                        <a:rPr lang="en-US" sz="1200" dirty="0"/>
                        <a:t>API + 2 Advanced Intermediates</a:t>
                      </a:r>
                    </a:p>
                    <a:p>
                      <a:r>
                        <a:rPr lang="en-US" sz="1200" dirty="0"/>
                        <a:t>18 steps synthesis in total</a:t>
                      </a:r>
                    </a:p>
                  </a:txBody>
                  <a:tcPr/>
                </a:tc>
                <a:tc>
                  <a:txBody>
                    <a:bodyPr/>
                    <a:lstStyle/>
                    <a:p>
                      <a:pPr algn="ctr"/>
                      <a:r>
                        <a:rPr lang="en-US" sz="1200" dirty="0"/>
                        <a:t>$180 MM/yr x 10</a:t>
                      </a:r>
                    </a:p>
                  </a:txBody>
                  <a:tcPr/>
                </a:tc>
                <a:tc>
                  <a:txBody>
                    <a:bodyPr/>
                    <a:lstStyle/>
                    <a:p>
                      <a:r>
                        <a:rPr lang="en-US" sz="1200" dirty="0"/>
                        <a:t>New Potential Project. Laboratory Development underway. </a:t>
                      </a:r>
                      <a:endParaRPr lang="en-US" sz="1200" dirty="0">
                        <a:highlight>
                          <a:srgbClr val="FFFF00"/>
                        </a:highlight>
                      </a:endParaRPr>
                    </a:p>
                  </a:txBody>
                  <a:tcPr/>
                </a:tc>
                <a:extLst>
                  <a:ext uri="{0D108BD9-81ED-4DB2-BD59-A6C34878D82A}">
                    <a16:rowId xmlns:a16="http://schemas.microsoft.com/office/drawing/2014/main" val="1736320888"/>
                  </a:ext>
                </a:extLst>
              </a:tr>
            </a:tbl>
          </a:graphicData>
        </a:graphic>
      </p:graphicFrame>
    </p:spTree>
    <p:extLst>
      <p:ext uri="{BB962C8B-B14F-4D97-AF65-F5344CB8AC3E}">
        <p14:creationId xmlns:p14="http://schemas.microsoft.com/office/powerpoint/2010/main" val="1280757294"/>
      </p:ext>
    </p:extLst>
  </p:cSld>
  <p:clrMapOvr>
    <a:overrideClrMapping bg1="dk1" tx1="lt1" bg2="dk2" tx2="lt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5">
            <a:lumMod val="50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A6B319F-86FE-4754-878E-06F0804D88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32385" cy="6858000"/>
          </a:xfrm>
          <a:prstGeom prst="rect">
            <a:avLst/>
          </a:prstGeom>
          <a:solidFill>
            <a:schemeClr val="accent5">
              <a:alpha val="70000"/>
            </a:schemeClr>
          </a:solidFill>
          <a:ln>
            <a:noFill/>
          </a:ln>
        </p:spPr>
        <p:style>
          <a:lnRef idx="2">
            <a:schemeClr val="accent1">
              <a:shade val="50000"/>
            </a:schemeClr>
          </a:lnRef>
          <a:fillRef idx="1003">
            <a:schemeClr val="l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7D31"/>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DCF7D1B5-3477-499F-ACC5-2C8B07F4EDB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32385" y="0"/>
            <a:ext cx="3218914" cy="6858000"/>
          </a:xfrm>
          <a:prstGeom prst="rect">
            <a:avLst/>
          </a:prstGeom>
          <a:solidFill>
            <a:schemeClr val="accent5">
              <a:lumMod val="7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616D621-FE24-9D15-FD2B-7F802EA082F0}"/>
              </a:ext>
            </a:extLst>
          </p:cNvPr>
          <p:cNvSpPr>
            <a:spLocks noGrp="1"/>
          </p:cNvSpPr>
          <p:nvPr>
            <p:ph type="title"/>
          </p:nvPr>
        </p:nvSpPr>
        <p:spPr>
          <a:xfrm>
            <a:off x="992206" y="1608667"/>
            <a:ext cx="2823275" cy="4501127"/>
          </a:xfrm>
        </p:spPr>
        <p:txBody>
          <a:bodyPr anchor="t">
            <a:normAutofit/>
          </a:bodyPr>
          <a:lstStyle/>
          <a:p>
            <a:pPr algn="r"/>
            <a: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t>New Business in 2023</a:t>
            </a:r>
            <a:b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br>
            <a:b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2800" dirty="0">
                <a:solidFill>
                  <a:srgbClr val="FFFFFF"/>
                </a:solidFill>
                <a:latin typeface="Verdana" panose="020B0604030504040204" pitchFamily="34" charset="0"/>
                <a:ea typeface="Verdana" panose="020B0604030504040204" pitchFamily="34" charset="0"/>
                <a:cs typeface="Verdana" panose="020B0604030504040204" pitchFamily="34" charset="0"/>
              </a:rPr>
              <a:t>Inventys Chemicals</a:t>
            </a:r>
          </a:p>
        </p:txBody>
      </p:sp>
      <p:sp>
        <p:nvSpPr>
          <p:cNvPr id="5" name="Content Placeholder 4">
            <a:extLst>
              <a:ext uri="{FF2B5EF4-FFF2-40B4-BE49-F238E27FC236}">
                <a16:creationId xmlns:a16="http://schemas.microsoft.com/office/drawing/2014/main" id="{84727819-5411-AC91-1108-6045F1172AE2}"/>
              </a:ext>
            </a:extLst>
          </p:cNvPr>
          <p:cNvSpPr>
            <a:spLocks noGrp="1"/>
          </p:cNvSpPr>
          <p:nvPr>
            <p:ph sz="half" idx="2"/>
          </p:nvPr>
        </p:nvSpPr>
        <p:spPr>
          <a:xfrm>
            <a:off x="4211120" y="354844"/>
            <a:ext cx="7757967" cy="6237027"/>
          </a:xfrm>
        </p:spPr>
        <p:txBody>
          <a:bodyPr>
            <a:normAutofit/>
          </a:bodyPr>
          <a:lstStyle/>
          <a:p>
            <a:r>
              <a:rPr lang="en-IN" dirty="0">
                <a:latin typeface="Verdana" panose="020B0604030504040204" pitchFamily="34" charset="0"/>
                <a:ea typeface="Verdana" panose="020B0604030504040204" pitchFamily="34" charset="0"/>
                <a:cs typeface="Verdana" panose="020B0604030504040204" pitchFamily="34" charset="0"/>
              </a:rPr>
              <a:t>Six new products launched </a:t>
            </a:r>
          </a:p>
          <a:p>
            <a:pPr lvl="1"/>
            <a:r>
              <a:rPr lang="en-IN" dirty="0">
                <a:latin typeface="Verdana" panose="020B0604030504040204" pitchFamily="34" charset="0"/>
                <a:ea typeface="Verdana" panose="020B0604030504040204" pitchFamily="34" charset="0"/>
                <a:cs typeface="Verdana" panose="020B0604030504040204" pitchFamily="34" charset="0"/>
              </a:rPr>
              <a:t>Pharma Intermediates</a:t>
            </a:r>
          </a:p>
          <a:p>
            <a:pPr lvl="1"/>
            <a:r>
              <a:rPr lang="en-IN" dirty="0">
                <a:solidFill>
                  <a:schemeClr val="accent2"/>
                </a:solidFill>
                <a:latin typeface="Verdana" panose="020B0604030504040204" pitchFamily="34" charset="0"/>
                <a:ea typeface="Verdana" panose="020B0604030504040204" pitchFamily="34" charset="0"/>
                <a:cs typeface="Verdana" panose="020B0604030504040204" pitchFamily="34" charset="0"/>
              </a:rPr>
              <a:t>5 of 6 price competitive in the current market!  </a:t>
            </a:r>
          </a:p>
          <a:p>
            <a:pPr lvl="1"/>
            <a:r>
              <a:rPr lang="en-IN" dirty="0">
                <a:latin typeface="Verdana" panose="020B0604030504040204" pitchFamily="34" charset="0"/>
                <a:ea typeface="Verdana" panose="020B0604030504040204" pitchFamily="34" charset="0"/>
                <a:cs typeface="Verdana" panose="020B0604030504040204" pitchFamily="34" charset="0"/>
              </a:rPr>
              <a:t>Alternative to critical dependence on single country sourcing</a:t>
            </a:r>
          </a:p>
          <a:p>
            <a:pPr lvl="1"/>
            <a:endParaRPr lang="en-IN" dirty="0">
              <a:latin typeface="Verdana" panose="020B0604030504040204" pitchFamily="34" charset="0"/>
              <a:ea typeface="Verdana" panose="020B0604030504040204" pitchFamily="34" charset="0"/>
              <a:cs typeface="Verdana" panose="020B0604030504040204" pitchFamily="34" charset="0"/>
            </a:endParaRPr>
          </a:p>
          <a:p>
            <a:r>
              <a:rPr lang="en-IN" dirty="0">
                <a:latin typeface="Verdana" panose="020B0604030504040204" pitchFamily="34" charset="0"/>
                <a:ea typeface="Verdana" panose="020B0604030504040204" pitchFamily="34" charset="0"/>
                <a:cs typeface="Verdana" panose="020B0604030504040204" pitchFamily="34" charset="0"/>
              </a:rPr>
              <a:t>Eleven new products developed in lab</a:t>
            </a:r>
          </a:p>
          <a:p>
            <a:pPr lvl="1"/>
            <a:r>
              <a:rPr lang="en-IN" dirty="0">
                <a:latin typeface="Verdana" panose="020B0604030504040204" pitchFamily="34" charset="0"/>
                <a:ea typeface="Verdana" panose="020B0604030504040204" pitchFamily="34" charset="0"/>
                <a:cs typeface="Verdana" panose="020B0604030504040204" pitchFamily="34" charset="0"/>
              </a:rPr>
              <a:t>Pharma Intermediates &amp; Specialty Chemicals</a:t>
            </a:r>
          </a:p>
          <a:p>
            <a:pPr lvl="1"/>
            <a:r>
              <a:rPr lang="en-IN" dirty="0">
                <a:solidFill>
                  <a:schemeClr val="accent2"/>
                </a:solidFill>
                <a:latin typeface="Verdana" panose="020B0604030504040204" pitchFamily="34" charset="0"/>
                <a:ea typeface="Verdana" panose="020B0604030504040204" pitchFamily="34" charset="0"/>
                <a:cs typeface="Verdana" panose="020B0604030504040204" pitchFamily="34" charset="0"/>
              </a:rPr>
              <a:t>All are price competitive as of now </a:t>
            </a:r>
          </a:p>
          <a:p>
            <a:pPr lvl="1"/>
            <a:r>
              <a:rPr lang="en-IN" dirty="0">
                <a:latin typeface="Verdana" panose="020B0604030504040204" pitchFamily="34" charset="0"/>
                <a:ea typeface="Verdana" panose="020B0604030504040204" pitchFamily="34" charset="0"/>
                <a:cs typeface="Verdana" panose="020B0604030504040204" pitchFamily="34" charset="0"/>
              </a:rPr>
              <a:t>Advanced intermediates for under patent drugs</a:t>
            </a:r>
          </a:p>
        </p:txBody>
      </p:sp>
      <p:sp>
        <p:nvSpPr>
          <p:cNvPr id="6" name="Slide Number Placeholder 4">
            <a:extLst>
              <a:ext uri="{FF2B5EF4-FFF2-40B4-BE49-F238E27FC236}">
                <a16:creationId xmlns:a16="http://schemas.microsoft.com/office/drawing/2014/main" id="{03951D9A-2CA7-4AF6-AAED-9E34D1077407}"/>
              </a:ext>
            </a:extLst>
          </p:cNvPr>
          <p:cNvSpPr>
            <a:spLocks noGrp="1"/>
          </p:cNvSpPr>
          <p:nvPr>
            <p:ph type="sldNum" sz="quarter" idx="12"/>
          </p:nvPr>
        </p:nvSpPr>
        <p:spPr>
          <a:xfrm>
            <a:off x="11072190" y="6356350"/>
            <a:ext cx="339275"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7212B-DAB7-41D9-8B3C-111279E9B140}" type="slidenum">
              <a:rPr kumimoji="0" lang="en-US" sz="1050" b="0" i="0" u="none" strike="noStrike" kern="1200" cap="none" spc="0" normalizeH="0" baseline="0" noProof="0" smtClean="0">
                <a:ln>
                  <a:noFill/>
                </a:ln>
                <a:solidFill>
                  <a:prstClr val="white"/>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50" b="0" i="0" u="none" strike="noStrike" kern="1200" cap="none" spc="0" normalizeH="0" baseline="0" noProof="0" dirty="0">
              <a:ln>
                <a:noFill/>
              </a:ln>
              <a:solidFill>
                <a:prstClr val="white"/>
              </a:solidFill>
              <a:effectLst/>
              <a:uLnTx/>
              <a:uFillTx/>
              <a:latin typeface="Segoe UI"/>
              <a:ea typeface="+mn-ea"/>
              <a:cs typeface="+mn-cs"/>
            </a:endParaRPr>
          </a:p>
        </p:txBody>
      </p:sp>
      <p:sp>
        <p:nvSpPr>
          <p:cNvPr id="7" name="Footer Placeholder 3">
            <a:extLst>
              <a:ext uri="{FF2B5EF4-FFF2-40B4-BE49-F238E27FC236}">
                <a16:creationId xmlns:a16="http://schemas.microsoft.com/office/drawing/2014/main" id="{DD5BECE5-B17A-4A5A-8D1F-FE23C8F00F54}"/>
              </a:ext>
            </a:extLst>
          </p:cNvPr>
          <p:cNvSpPr>
            <a:spLocks noGrp="1"/>
          </p:cNvSpPr>
          <p:nvPr>
            <p:ph type="ftr" sz="quarter" idx="11"/>
          </p:nvPr>
        </p:nvSpPr>
        <p:spPr>
          <a:xfrm>
            <a:off x="6361043" y="6356350"/>
            <a:ext cx="461507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Copyright © 2005-2024  Inventys Research Company, All Rights Reserved. </a:t>
            </a:r>
          </a:p>
        </p:txBody>
      </p:sp>
    </p:spTree>
    <p:extLst>
      <p:ext uri="{BB962C8B-B14F-4D97-AF65-F5344CB8AC3E}">
        <p14:creationId xmlns:p14="http://schemas.microsoft.com/office/powerpoint/2010/main" val="336833562"/>
      </p:ext>
    </p:extLst>
  </p:cSld>
  <p:clrMapOvr>
    <a:overrideClrMapping bg1="dk1" tx1="lt1" bg2="dk2" tx2="lt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F265F4F-1DE6-EBA1-658E-718145880EC9}"/>
              </a:ext>
            </a:extLst>
          </p:cNvPr>
          <p:cNvSpPr>
            <a:spLocks noGrp="1"/>
          </p:cNvSpPr>
          <p:nvPr>
            <p:ph type="title"/>
          </p:nvPr>
        </p:nvSpPr>
        <p:spPr>
          <a:xfrm>
            <a:off x="307571" y="586855"/>
            <a:ext cx="3449781" cy="5521401"/>
          </a:xfrm>
        </p:spPr>
        <p:txBody>
          <a:bodyPr anchor="b">
            <a:normAutofit/>
          </a:bodyPr>
          <a:lstStyle/>
          <a:p>
            <a:pPr algn="r"/>
            <a:r>
              <a:rPr lang="en-US" sz="4000" dirty="0">
                <a:solidFill>
                  <a:schemeClr val="bg1"/>
                </a:solidFill>
                <a:latin typeface="Verdana" panose="020B0604030504040204" pitchFamily="34" charset="0"/>
                <a:ea typeface="Verdana" panose="020B0604030504040204" pitchFamily="34" charset="0"/>
                <a:cs typeface="Verdana" panose="020B0604030504040204" pitchFamily="34" charset="0"/>
              </a:rPr>
              <a:t>Inventys Proposition</a:t>
            </a:r>
            <a:br>
              <a:rPr lang="en-US" sz="4000" dirty="0">
                <a:solidFill>
                  <a:schemeClr val="bg1"/>
                </a:solidFill>
                <a:latin typeface="Verdana" panose="020B0604030504040204" pitchFamily="34" charset="0"/>
                <a:ea typeface="Verdana" panose="020B0604030504040204" pitchFamily="34" charset="0"/>
                <a:cs typeface="Verdana" panose="020B0604030504040204" pitchFamily="34" charset="0"/>
              </a:rPr>
            </a:br>
            <a:br>
              <a:rPr lang="en-US" sz="4000" dirty="0">
                <a:solidFill>
                  <a:schemeClr val="bg1"/>
                </a:solidFill>
                <a:latin typeface="Verdana" panose="020B0604030504040204" pitchFamily="34" charset="0"/>
                <a:ea typeface="Verdana" panose="020B0604030504040204" pitchFamily="34" charset="0"/>
                <a:cs typeface="Verdana" panose="020B0604030504040204" pitchFamily="34" charset="0"/>
              </a:rPr>
            </a:br>
            <a:r>
              <a:rPr lang="en-US" sz="3600" dirty="0">
                <a:solidFill>
                  <a:schemeClr val="bg1"/>
                </a:solidFill>
                <a:latin typeface="Verdana" panose="020B0604030504040204" pitchFamily="34" charset="0"/>
                <a:ea typeface="Verdana" panose="020B0604030504040204" pitchFamily="34" charset="0"/>
                <a:cs typeface="Verdana" panose="020B0604030504040204" pitchFamily="34" charset="0"/>
              </a:rPr>
              <a:t>Process Development &amp; Exclusive Synthesis</a:t>
            </a:r>
            <a:endParaRPr lang="en-US" sz="4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22" name="Content Placeholder 2">
            <a:extLst>
              <a:ext uri="{FF2B5EF4-FFF2-40B4-BE49-F238E27FC236}">
                <a16:creationId xmlns:a16="http://schemas.microsoft.com/office/drawing/2014/main" id="{88908868-341D-29BE-EB64-6DF811531379}"/>
              </a:ext>
            </a:extLst>
          </p:cNvPr>
          <p:cNvGraphicFramePr>
            <a:graphicFrameLocks noGrp="1"/>
          </p:cNvGraphicFramePr>
          <p:nvPr>
            <p:ph idx="1"/>
            <p:extLst>
              <p:ext uri="{D42A27DB-BD31-4B8C-83A1-F6EECF244321}">
                <p14:modId xmlns:p14="http://schemas.microsoft.com/office/powerpoint/2010/main" val="2322425390"/>
              </p:ext>
            </p:extLst>
          </p:nvPr>
        </p:nvGraphicFramePr>
        <p:xfrm>
          <a:off x="4810259" y="649480"/>
          <a:ext cx="6555347" cy="55460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835627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ADBB739-1EA3-4224-63C5-91C77C5BE6FD}"/>
              </a:ext>
            </a:extLst>
          </p:cNvPr>
          <p:cNvSpPr/>
          <p:nvPr/>
        </p:nvSpPr>
        <p:spPr>
          <a:xfrm>
            <a:off x="0" y="-8313"/>
            <a:ext cx="12192000" cy="3429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 name="Rectangle: Rounded Corners 2">
            <a:extLst>
              <a:ext uri="{FF2B5EF4-FFF2-40B4-BE49-F238E27FC236}">
                <a16:creationId xmlns:a16="http://schemas.microsoft.com/office/drawing/2014/main" id="{0FC007F5-7493-94C3-BA1B-EA4C16ADA920}"/>
              </a:ext>
            </a:extLst>
          </p:cNvPr>
          <p:cNvSpPr/>
          <p:nvPr/>
        </p:nvSpPr>
        <p:spPr>
          <a:xfrm>
            <a:off x="550863" y="2444886"/>
            <a:ext cx="3547749" cy="2066001"/>
          </a:xfrm>
          <a:prstGeom prst="roundRect">
            <a:avLst>
              <a:gd name="adj" fmla="val 4895"/>
            </a:avLst>
          </a:prstGeom>
          <a:solidFill>
            <a:schemeClr val="bg1"/>
          </a:solidFill>
          <a:ln>
            <a:noFill/>
          </a:ln>
          <a:effectLst>
            <a:outerShdw blurRad="63500" sx="102000" sy="1020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180000" rIns="288000" bIns="0" rtlCol="0" anchor="t" anchorCtr="0"/>
          <a:lstStyle/>
          <a:p>
            <a:pPr lvl="0">
              <a:spcAft>
                <a:spcPts val="300"/>
              </a:spcAft>
              <a:defRPr/>
            </a:pPr>
            <a:r>
              <a:rPr lang="en-US" sz="1600" b="1" dirty="0">
                <a:solidFill>
                  <a:prstClr val="black"/>
                </a:solidFill>
              </a:rPr>
              <a:t>Safe State of the Art manufacturing – </a:t>
            </a:r>
            <a:r>
              <a:rPr lang="en-US" sz="1600" b="1" dirty="0">
                <a:solidFill>
                  <a:srgbClr val="0070C0"/>
                </a:solidFill>
              </a:rPr>
              <a:t>3 sites</a:t>
            </a:r>
          </a:p>
          <a:p>
            <a:pPr marL="171450" lvl="0" indent="-171450">
              <a:buFont typeface="Arial" panose="020B0604020202020204" pitchFamily="34" charset="0"/>
              <a:buChar char="•"/>
              <a:defRPr/>
            </a:pPr>
            <a:r>
              <a:rPr lang="en-US" sz="1400" dirty="0">
                <a:solidFill>
                  <a:prstClr val="black"/>
                </a:solidFill>
              </a:rPr>
              <a:t>Process Hazard Analysis established part of Process Development &amp; Plant Design - Safe Manufacturing</a:t>
            </a:r>
          </a:p>
          <a:p>
            <a:pPr marL="171450" lvl="0" indent="-171450">
              <a:buFont typeface="Arial" panose="020B0604020202020204" pitchFamily="34" charset="0"/>
              <a:buChar char="•"/>
              <a:defRPr/>
            </a:pPr>
            <a:r>
              <a:rPr lang="en-US" sz="1400" dirty="0">
                <a:solidFill>
                  <a:prstClr val="black"/>
                </a:solidFill>
              </a:rPr>
              <a:t>DCS Controlled Multipurpose Plants</a:t>
            </a:r>
          </a:p>
        </p:txBody>
      </p:sp>
      <p:sp>
        <p:nvSpPr>
          <p:cNvPr id="6" name="Rectangle: Rounded Corners 5">
            <a:extLst>
              <a:ext uri="{FF2B5EF4-FFF2-40B4-BE49-F238E27FC236}">
                <a16:creationId xmlns:a16="http://schemas.microsoft.com/office/drawing/2014/main" id="{303D50DA-DB91-945C-F544-1908A9623686}"/>
              </a:ext>
            </a:extLst>
          </p:cNvPr>
          <p:cNvSpPr/>
          <p:nvPr/>
        </p:nvSpPr>
        <p:spPr>
          <a:xfrm>
            <a:off x="550863" y="4638098"/>
            <a:ext cx="3547749" cy="1656466"/>
          </a:xfrm>
          <a:prstGeom prst="roundRect">
            <a:avLst>
              <a:gd name="adj" fmla="val 4895"/>
            </a:avLst>
          </a:prstGeom>
          <a:solidFill>
            <a:schemeClr val="bg1"/>
          </a:solidFill>
          <a:ln>
            <a:noFill/>
          </a:ln>
          <a:effectLst>
            <a:outerShdw blurRad="63500" sx="102000" sy="1020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180000" rIns="288000" bIns="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600" b="1" dirty="0">
                <a:solidFill>
                  <a:prstClr val="black"/>
                </a:solidFill>
                <a:latin typeface="Verdana"/>
              </a:rPr>
              <a:t>Stable Supply Chain</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Verdana"/>
                <a:ea typeface="+mn-ea"/>
                <a:cs typeface="+mn-cs"/>
              </a:rPr>
              <a:t>Deep Backward Integration </a:t>
            </a:r>
          </a:p>
          <a:p>
            <a:pPr marL="6286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Verdana"/>
                <a:ea typeface="+mn-ea"/>
                <a:cs typeface="+mn-cs"/>
              </a:rPr>
              <a:t>Large debt free capacity </a:t>
            </a:r>
          </a:p>
          <a:p>
            <a:pPr marL="6286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Verdana"/>
                <a:ea typeface="+mn-ea"/>
                <a:cs typeface="+mn-cs"/>
              </a:rPr>
              <a:t>Wide Chemistry Expertise </a:t>
            </a:r>
          </a:p>
          <a:p>
            <a:pPr marL="628650" marR="0" lvl="2"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Verdana"/>
                <a:ea typeface="+mn-ea"/>
                <a:cs typeface="+mn-cs"/>
              </a:rPr>
              <a:t>Complex Multistep Synthesis</a:t>
            </a:r>
            <a:endParaRPr kumimoji="0" lang="en-US" sz="1300" b="0" i="0" u="none" strike="noStrike" kern="1200" cap="none" spc="0" normalizeH="0" baseline="0" noProof="0" dirty="0">
              <a:ln>
                <a:noFill/>
              </a:ln>
              <a:solidFill>
                <a:prstClr val="black"/>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70C0"/>
                </a:solidFill>
                <a:effectLst/>
                <a:uLnTx/>
                <a:uFillTx/>
                <a:latin typeface="Verdana"/>
                <a:ea typeface="+mn-ea"/>
                <a:cs typeface="+mn-cs"/>
              </a:rPr>
              <a:t>80%+ sourcing within India</a:t>
            </a:r>
          </a:p>
        </p:txBody>
      </p:sp>
      <p:sp>
        <p:nvSpPr>
          <p:cNvPr id="7" name="Rectangle: Rounded Corners 6">
            <a:extLst>
              <a:ext uri="{FF2B5EF4-FFF2-40B4-BE49-F238E27FC236}">
                <a16:creationId xmlns:a16="http://schemas.microsoft.com/office/drawing/2014/main" id="{2C042061-DD22-13CF-4C32-A7F9CDDD4B7B}"/>
              </a:ext>
            </a:extLst>
          </p:cNvPr>
          <p:cNvSpPr/>
          <p:nvPr/>
        </p:nvSpPr>
        <p:spPr>
          <a:xfrm>
            <a:off x="4332175" y="2444886"/>
            <a:ext cx="3547749" cy="1914019"/>
          </a:xfrm>
          <a:prstGeom prst="roundRect">
            <a:avLst>
              <a:gd name="adj" fmla="val 4895"/>
            </a:avLst>
          </a:prstGeom>
          <a:solidFill>
            <a:schemeClr val="bg1"/>
          </a:solidFill>
          <a:ln>
            <a:noFill/>
          </a:ln>
          <a:effectLst>
            <a:outerShdw blurRad="63500" sx="102000" sy="1020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180000" rIns="288000" bIns="0" rtlCol="0" anchor="t" anchorCtr="0"/>
          <a:lstStyle/>
          <a:p>
            <a:pPr lvl="0">
              <a:spcAft>
                <a:spcPts val="300"/>
              </a:spcAft>
              <a:defRPr/>
            </a:pPr>
            <a:r>
              <a:rPr lang="en-US" sz="1600" b="1" dirty="0">
                <a:solidFill>
                  <a:prstClr val="black"/>
                </a:solidFill>
                <a:latin typeface="Verdana"/>
              </a:rPr>
              <a:t>Product Development</a:t>
            </a:r>
          </a:p>
          <a:p>
            <a:pPr marL="171450" indent="-171450">
              <a:spcAft>
                <a:spcPts val="300"/>
              </a:spcAft>
              <a:buFont typeface="Arial" panose="020B0604020202020204" pitchFamily="34" charset="0"/>
              <a:buChar char="•"/>
              <a:defRPr/>
            </a:pPr>
            <a:r>
              <a:rPr lang="en-US" sz="1300" dirty="0">
                <a:solidFill>
                  <a:prstClr val="black"/>
                </a:solidFill>
              </a:rPr>
              <a:t>120 Product Development team</a:t>
            </a:r>
          </a:p>
          <a:p>
            <a:pPr marL="171450" lvl="0" indent="-171450">
              <a:spcAft>
                <a:spcPts val="300"/>
              </a:spcAft>
              <a:buFont typeface="Arial" panose="020B0604020202020204" pitchFamily="34" charset="0"/>
              <a:buChar char="•"/>
              <a:defRPr/>
            </a:pPr>
            <a:r>
              <a:rPr lang="en-IN" sz="1300" dirty="0">
                <a:solidFill>
                  <a:prstClr val="black"/>
                </a:solidFill>
              </a:rPr>
              <a:t>64 products developed 6 years</a:t>
            </a:r>
            <a:r>
              <a:rPr lang="en-US" sz="1300" dirty="0">
                <a:solidFill>
                  <a:prstClr val="black"/>
                </a:solidFill>
              </a:rPr>
              <a:t> </a:t>
            </a:r>
          </a:p>
          <a:p>
            <a:pPr marL="628650" lvl="2" indent="-171450">
              <a:spcAft>
                <a:spcPts val="300"/>
              </a:spcAft>
              <a:buFont typeface="Arial" panose="020B0604020202020204" pitchFamily="34" charset="0"/>
              <a:buChar char="•"/>
              <a:defRPr/>
            </a:pPr>
            <a:r>
              <a:rPr lang="en-US" sz="1100" dirty="0">
                <a:solidFill>
                  <a:prstClr val="black"/>
                </a:solidFill>
                <a:latin typeface="Verdana"/>
              </a:rPr>
              <a:t>Up to 14 steps synthesis</a:t>
            </a:r>
          </a:p>
          <a:p>
            <a:pPr marL="171450" lvl="0" indent="-171450">
              <a:spcAft>
                <a:spcPts val="300"/>
              </a:spcAft>
              <a:buFont typeface="Arial" panose="020B0604020202020204" pitchFamily="34" charset="0"/>
              <a:buChar char="•"/>
              <a:defRPr/>
            </a:pPr>
            <a:r>
              <a:rPr lang="en-IN" sz="1300" dirty="0">
                <a:solidFill>
                  <a:prstClr val="black"/>
                </a:solidFill>
              </a:rPr>
              <a:t>~290 out of 360 </a:t>
            </a:r>
          </a:p>
          <a:p>
            <a:pPr marL="628650" lvl="2" indent="-171450">
              <a:spcAft>
                <a:spcPts val="300"/>
              </a:spcAft>
              <a:buFont typeface="Arial" panose="020B0604020202020204" pitchFamily="34" charset="0"/>
              <a:buChar char="•"/>
              <a:defRPr/>
            </a:pPr>
            <a:r>
              <a:rPr lang="en-IN" sz="1100" dirty="0">
                <a:solidFill>
                  <a:prstClr val="black"/>
                </a:solidFill>
                <a:latin typeface="Verdana"/>
              </a:rPr>
              <a:t>engineers / scientists</a:t>
            </a:r>
          </a:p>
        </p:txBody>
      </p:sp>
      <p:sp>
        <p:nvSpPr>
          <p:cNvPr id="8" name="Rectangle: Rounded Corners 7">
            <a:extLst>
              <a:ext uri="{FF2B5EF4-FFF2-40B4-BE49-F238E27FC236}">
                <a16:creationId xmlns:a16="http://schemas.microsoft.com/office/drawing/2014/main" id="{B8226FEA-6A86-D0B6-5D73-3594051ACDA0}"/>
              </a:ext>
            </a:extLst>
          </p:cNvPr>
          <p:cNvSpPr/>
          <p:nvPr/>
        </p:nvSpPr>
        <p:spPr>
          <a:xfrm>
            <a:off x="4332175" y="4670544"/>
            <a:ext cx="3547749" cy="1624879"/>
          </a:xfrm>
          <a:prstGeom prst="roundRect">
            <a:avLst>
              <a:gd name="adj" fmla="val 4895"/>
            </a:avLst>
          </a:prstGeom>
          <a:solidFill>
            <a:schemeClr val="bg1"/>
          </a:solidFill>
          <a:ln>
            <a:noFill/>
          </a:ln>
          <a:effectLst>
            <a:outerShdw blurRad="63500" sx="102000" sy="1020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180000" rIns="288000" bIns="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600" b="1" dirty="0">
                <a:solidFill>
                  <a:prstClr val="black"/>
                </a:solidFill>
                <a:latin typeface="Verdana"/>
              </a:rPr>
              <a:t>Flow Chemistry Leader</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Verdana"/>
                <a:ea typeface="+mn-ea"/>
                <a:cs typeface="+mn-cs"/>
              </a:rPr>
              <a:t>5 products - Commercial scale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Verdana"/>
                <a:ea typeface="+mn-ea"/>
                <a:cs typeface="+mn-cs"/>
              </a:rPr>
              <a:t>15 products – Under Scaleup</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Verdana"/>
                <a:ea typeface="+mn-ea"/>
                <a:cs typeface="+mn-cs"/>
              </a:rPr>
              <a:t>Selective &amp; Safe Manufacturing</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300" dirty="0">
                <a:solidFill>
                  <a:prstClr val="black"/>
                </a:solidFill>
                <a:latin typeface="Verdana"/>
              </a:rPr>
              <a:t>Significant Reduction in Waste Generation &amp; Solvent Usage</a:t>
            </a:r>
            <a:endParaRPr kumimoji="0" lang="en-US" sz="13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Rectangle: Rounded Corners 10">
            <a:extLst>
              <a:ext uri="{FF2B5EF4-FFF2-40B4-BE49-F238E27FC236}">
                <a16:creationId xmlns:a16="http://schemas.microsoft.com/office/drawing/2014/main" id="{5525B635-BD22-ADD2-8F11-C4E5A322AC04}"/>
              </a:ext>
            </a:extLst>
          </p:cNvPr>
          <p:cNvSpPr/>
          <p:nvPr/>
        </p:nvSpPr>
        <p:spPr>
          <a:xfrm>
            <a:off x="8113487" y="2444886"/>
            <a:ext cx="3547749" cy="1914019"/>
          </a:xfrm>
          <a:prstGeom prst="roundRect">
            <a:avLst>
              <a:gd name="adj" fmla="val 4895"/>
            </a:avLst>
          </a:prstGeom>
          <a:solidFill>
            <a:schemeClr val="bg1"/>
          </a:solidFill>
          <a:ln>
            <a:noFill/>
          </a:ln>
          <a:effectLst>
            <a:outerShdw blurRad="63500" sx="102000" sy="1020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180000" rIns="288000" bIns="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600" b="1" dirty="0">
                <a:solidFill>
                  <a:prstClr val="black"/>
                </a:solidFill>
                <a:latin typeface="Verdana"/>
              </a:rPr>
              <a:t>Large Capacities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lt;2022 – 50 reac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2024 – 90 reactors   </a:t>
            </a:r>
            <a:r>
              <a:rPr kumimoji="0" lang="en-US" sz="1100" b="0" i="0" u="none" strike="noStrike" kern="1200" cap="none" spc="0" normalizeH="0" baseline="0" noProof="0" dirty="0">
                <a:ln>
                  <a:noFill/>
                </a:ln>
                <a:solidFill>
                  <a:prstClr val="black"/>
                </a:solidFill>
                <a:effectLst/>
                <a:uLnTx/>
                <a:uFillTx/>
                <a:latin typeface="Verdana"/>
                <a:ea typeface="+mn-ea"/>
                <a:cs typeface="+mn-cs"/>
              </a:rPr>
              <a:t>+ 22 reac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2025 – 135 reactors </a:t>
            </a:r>
            <a:r>
              <a:rPr kumimoji="0" lang="en-US" sz="1100" b="0" i="0" u="none" strike="noStrike" kern="1200" cap="none" spc="0" normalizeH="0" baseline="0" noProof="0" dirty="0">
                <a:ln>
                  <a:noFill/>
                </a:ln>
                <a:solidFill>
                  <a:prstClr val="black"/>
                </a:solidFill>
                <a:effectLst/>
                <a:uLnTx/>
                <a:uFillTx/>
                <a:latin typeface="Verdana"/>
                <a:ea typeface="+mn-ea"/>
                <a:cs typeface="+mn-cs"/>
              </a:rPr>
              <a:t>+ 22 reac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Verdana"/>
                <a:ea typeface="+mn-ea"/>
                <a:cs typeface="+mn-cs"/>
              </a:rPr>
              <a:t>&lt;2030 – 300 reactors  </a:t>
            </a:r>
            <a:r>
              <a:rPr kumimoji="0" lang="en-US" sz="1100" b="0" i="0" u="none" strike="noStrike" kern="1200" cap="none" spc="0" normalizeH="0" baseline="0" noProof="0" dirty="0">
                <a:ln>
                  <a:noFill/>
                </a:ln>
                <a:solidFill>
                  <a:prstClr val="black"/>
                </a:solidFill>
                <a:effectLst/>
                <a:uLnTx/>
                <a:uFillTx/>
                <a:latin typeface="Verdana"/>
                <a:ea typeface="+mn-ea"/>
                <a:cs typeface="+mn-cs"/>
              </a:rPr>
              <a:t>+ 45 reactors</a:t>
            </a: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B9BD5">
                    <a:lumMod val="75000"/>
                  </a:srgbClr>
                </a:solidFill>
                <a:effectLst/>
                <a:uLnTx/>
                <a:uFillTx/>
                <a:latin typeface="Verdana"/>
                <a:ea typeface="+mn-ea"/>
                <a:cs typeface="+mn-cs"/>
              </a:rPr>
              <a:t>   ~3 MM Lit of Reaction Capacity</a:t>
            </a:r>
          </a:p>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rgbClr val="5B9BD5">
                    <a:lumMod val="75000"/>
                  </a:srgbClr>
                </a:solidFill>
                <a:latin typeface="Verdana"/>
              </a:rPr>
              <a:t>Top 5 in Indian (Spec Chem)</a:t>
            </a:r>
            <a:endParaRPr kumimoji="0" lang="en-US" sz="1400" b="0" i="0" u="none" strike="noStrike" kern="1200" cap="none" spc="0" normalizeH="0" baseline="0" noProof="0" dirty="0">
              <a:ln>
                <a:noFill/>
              </a:ln>
              <a:solidFill>
                <a:srgbClr val="5B9BD5">
                  <a:lumMod val="75000"/>
                </a:srgbClr>
              </a:solidFill>
              <a:effectLst/>
              <a:uLnTx/>
              <a:uFillTx/>
              <a:latin typeface="Verdana"/>
              <a:ea typeface="+mn-ea"/>
              <a:cs typeface="+mn-cs"/>
            </a:endParaRPr>
          </a:p>
        </p:txBody>
      </p:sp>
      <p:sp>
        <p:nvSpPr>
          <p:cNvPr id="12" name="Rectangle: Rounded Corners 11">
            <a:extLst>
              <a:ext uri="{FF2B5EF4-FFF2-40B4-BE49-F238E27FC236}">
                <a16:creationId xmlns:a16="http://schemas.microsoft.com/office/drawing/2014/main" id="{74FE4906-0345-B8B6-2393-F38222430B40}"/>
              </a:ext>
            </a:extLst>
          </p:cNvPr>
          <p:cNvSpPr/>
          <p:nvPr/>
        </p:nvSpPr>
        <p:spPr>
          <a:xfrm>
            <a:off x="8113487" y="4638099"/>
            <a:ext cx="3547749" cy="1656466"/>
          </a:xfrm>
          <a:prstGeom prst="roundRect">
            <a:avLst>
              <a:gd name="adj" fmla="val 4895"/>
            </a:avLst>
          </a:prstGeom>
          <a:solidFill>
            <a:schemeClr val="bg1"/>
          </a:solidFill>
          <a:ln>
            <a:noFill/>
          </a:ln>
          <a:effectLst>
            <a:outerShdw blurRad="63500" sx="102000" sy="102000" algn="ctr" rotWithShape="0">
              <a:prstClr val="black">
                <a:alpha val="6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144000" tIns="180000" rIns="288000" bIns="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en-US" sz="1600" b="1" dirty="0">
                <a:solidFill>
                  <a:prstClr val="black"/>
                </a:solidFill>
                <a:latin typeface="Verdana"/>
              </a:rPr>
              <a:t>Privately Held</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Verdana"/>
                <a:ea typeface="+mn-ea"/>
                <a:cs typeface="+mn-cs"/>
              </a:rPr>
              <a:t>&gt;86% held in family </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Verdana"/>
                <a:ea typeface="+mn-ea"/>
                <a:cs typeface="+mn-cs"/>
              </a:rPr>
              <a:t>&lt;14% by Private Equity</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US" sz="1300" b="0" i="0" u="none" strike="noStrike" kern="1200" cap="none" spc="0" normalizeH="0" baseline="0" noProof="0" dirty="0">
              <a:ln>
                <a:noFill/>
              </a:ln>
              <a:solidFill>
                <a:srgbClr val="5B9BD5">
                  <a:lumMod val="75000"/>
                </a:srgbClr>
              </a:solidFill>
              <a:effectLst/>
              <a:uLnTx/>
              <a:uFillTx/>
              <a:latin typeface="Verdana"/>
              <a:ea typeface="+mn-ea"/>
              <a:cs typeface="+mn-cs"/>
            </a:endParaRPr>
          </a:p>
        </p:txBody>
      </p:sp>
      <p:sp>
        <p:nvSpPr>
          <p:cNvPr id="16" name="Title 15">
            <a:extLst>
              <a:ext uri="{FF2B5EF4-FFF2-40B4-BE49-F238E27FC236}">
                <a16:creationId xmlns:a16="http://schemas.microsoft.com/office/drawing/2014/main" id="{F14C6073-D62F-5B76-8D42-1180FEB94049}"/>
              </a:ext>
            </a:extLst>
          </p:cNvPr>
          <p:cNvSpPr>
            <a:spLocks noGrp="1"/>
          </p:cNvSpPr>
          <p:nvPr>
            <p:ph type="title"/>
          </p:nvPr>
        </p:nvSpPr>
        <p:spPr>
          <a:xfrm>
            <a:off x="550863" y="636729"/>
            <a:ext cx="3250937" cy="1400224"/>
          </a:xfrm>
        </p:spPr>
        <p:txBody>
          <a:bodyPr anchor="t" anchorCtr="0">
            <a:noAutofit/>
          </a:bodyPr>
          <a:lstStyle/>
          <a:p>
            <a:pPr algn="ctr">
              <a:lnSpc>
                <a:spcPct val="100000"/>
              </a:lnSpc>
            </a:pPr>
            <a:r>
              <a:rPr lang="en-US" dirty="0"/>
              <a:t>Inventys </a:t>
            </a:r>
            <a:br>
              <a:rPr lang="en-US" dirty="0"/>
            </a:br>
            <a:r>
              <a:rPr lang="en-US" dirty="0"/>
              <a:t>Strengths </a:t>
            </a:r>
          </a:p>
        </p:txBody>
      </p:sp>
      <p:sp>
        <p:nvSpPr>
          <p:cNvPr id="30" name="Slide Number Placeholder 29">
            <a:extLst>
              <a:ext uri="{FF2B5EF4-FFF2-40B4-BE49-F238E27FC236}">
                <a16:creationId xmlns:a16="http://schemas.microsoft.com/office/drawing/2014/main" id="{A6C7F283-27B7-8E41-B9C6-66FF9303E5C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3CBEFDA-8207-6641-9689-3555584BAC48}" type="slidenum">
              <a:rPr kumimoji="0" lang="en-US" sz="1100" b="0" i="0" u="none" strike="noStrike" kern="1200" cap="none" spc="0" normalizeH="0" baseline="0" noProof="0" smtClean="0">
                <a:ln>
                  <a:noFill/>
                </a:ln>
                <a:solidFill>
                  <a:prstClr val="white"/>
                </a:solidFill>
                <a:effectLst/>
                <a:uLnTx/>
                <a:uFillTx/>
                <a:latin typeface="Verdana"/>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US" sz="1100" b="0" i="0" u="none" strike="noStrike" kern="1200" cap="none" spc="0" normalizeH="0" baseline="0" noProof="0" dirty="0">
              <a:ln>
                <a:noFill/>
              </a:ln>
              <a:solidFill>
                <a:prstClr val="white"/>
              </a:solidFill>
              <a:effectLst/>
              <a:uLnTx/>
              <a:uFillTx/>
              <a:latin typeface="Verdana"/>
              <a:ea typeface="+mn-ea"/>
              <a:cs typeface="+mn-cs"/>
            </a:endParaRPr>
          </a:p>
        </p:txBody>
      </p:sp>
      <p:grpSp>
        <p:nvGrpSpPr>
          <p:cNvPr id="13" name="Group 12">
            <a:extLst>
              <a:ext uri="{FF2B5EF4-FFF2-40B4-BE49-F238E27FC236}">
                <a16:creationId xmlns:a16="http://schemas.microsoft.com/office/drawing/2014/main" id="{8DD45F1A-B8E1-3096-257A-097ED9A985C4}"/>
              </a:ext>
            </a:extLst>
          </p:cNvPr>
          <p:cNvGrpSpPr/>
          <p:nvPr/>
        </p:nvGrpSpPr>
        <p:grpSpPr>
          <a:xfrm>
            <a:off x="3566803" y="4510887"/>
            <a:ext cx="8178967" cy="616343"/>
            <a:chOff x="3566803" y="4445090"/>
            <a:chExt cx="8178967" cy="616343"/>
          </a:xfrm>
        </p:grpSpPr>
        <p:sp>
          <p:nvSpPr>
            <p:cNvPr id="24" name="Rectangle: Rounded Corners 23">
              <a:extLst>
                <a:ext uri="{FF2B5EF4-FFF2-40B4-BE49-F238E27FC236}">
                  <a16:creationId xmlns:a16="http://schemas.microsoft.com/office/drawing/2014/main" id="{90B1A419-2E11-6D47-7C3B-B33C69F6EDC6}"/>
                </a:ext>
              </a:extLst>
            </p:cNvPr>
            <p:cNvSpPr/>
            <p:nvPr/>
          </p:nvSpPr>
          <p:spPr>
            <a:xfrm>
              <a:off x="3566803" y="4445090"/>
              <a:ext cx="616343" cy="616343"/>
            </a:xfrm>
            <a:prstGeom prst="roundRect">
              <a:avLst/>
            </a:prstGeom>
            <a:solidFill>
              <a:schemeClr val="accent1"/>
            </a:solidFill>
            <a:ln w="317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5" name="Rectangle: Rounded Corners 24">
              <a:extLst>
                <a:ext uri="{FF2B5EF4-FFF2-40B4-BE49-F238E27FC236}">
                  <a16:creationId xmlns:a16="http://schemas.microsoft.com/office/drawing/2014/main" id="{FC0D2007-5EDF-3240-9BBD-8949E61A9DE0}"/>
                </a:ext>
              </a:extLst>
            </p:cNvPr>
            <p:cNvSpPr/>
            <p:nvPr/>
          </p:nvSpPr>
          <p:spPr>
            <a:xfrm>
              <a:off x="7348115" y="4445090"/>
              <a:ext cx="616343" cy="616343"/>
            </a:xfrm>
            <a:prstGeom prst="roundRect">
              <a:avLst/>
            </a:prstGeom>
            <a:solidFill>
              <a:schemeClr val="accent1"/>
            </a:solidFill>
            <a:ln w="317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6" name="Rectangle: Rounded Corners 25">
              <a:extLst>
                <a:ext uri="{FF2B5EF4-FFF2-40B4-BE49-F238E27FC236}">
                  <a16:creationId xmlns:a16="http://schemas.microsoft.com/office/drawing/2014/main" id="{56F39902-6EE7-B73A-9D0F-F64DB996C191}"/>
                </a:ext>
              </a:extLst>
            </p:cNvPr>
            <p:cNvSpPr/>
            <p:nvPr/>
          </p:nvSpPr>
          <p:spPr>
            <a:xfrm>
              <a:off x="11129427" y="4445090"/>
              <a:ext cx="616343" cy="616343"/>
            </a:xfrm>
            <a:prstGeom prst="roundRect">
              <a:avLst/>
            </a:prstGeom>
            <a:solidFill>
              <a:schemeClr val="accent1"/>
            </a:solidFill>
            <a:ln w="317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grpSp>
          <p:nvGrpSpPr>
            <p:cNvPr id="34" name="Group 33">
              <a:extLst>
                <a:ext uri="{FF2B5EF4-FFF2-40B4-BE49-F238E27FC236}">
                  <a16:creationId xmlns:a16="http://schemas.microsoft.com/office/drawing/2014/main" id="{21F31FE1-224F-90B4-E520-4C3B4EC8691B}"/>
                </a:ext>
              </a:extLst>
            </p:cNvPr>
            <p:cNvGrpSpPr/>
            <p:nvPr/>
          </p:nvGrpSpPr>
          <p:grpSpPr>
            <a:xfrm>
              <a:off x="11265355" y="4581091"/>
              <a:ext cx="344487" cy="352425"/>
              <a:chOff x="4113213" y="3622675"/>
              <a:chExt cx="344487" cy="352425"/>
            </a:xfrm>
            <a:solidFill>
              <a:schemeClr val="bg1"/>
            </a:solidFill>
          </p:grpSpPr>
          <p:sp>
            <p:nvSpPr>
              <p:cNvPr id="35" name="Freeform 42">
                <a:extLst>
                  <a:ext uri="{FF2B5EF4-FFF2-40B4-BE49-F238E27FC236}">
                    <a16:creationId xmlns:a16="http://schemas.microsoft.com/office/drawing/2014/main" id="{29C8D6CB-7354-4230-1759-A4BD7BDF4BC9}"/>
                  </a:ext>
                </a:extLst>
              </p:cNvPr>
              <p:cNvSpPr>
                <a:spLocks/>
              </p:cNvSpPr>
              <p:nvPr/>
            </p:nvSpPr>
            <p:spPr bwMode="auto">
              <a:xfrm>
                <a:off x="4187825" y="3622675"/>
                <a:ext cx="269875" cy="276225"/>
              </a:xfrm>
              <a:custGeom>
                <a:avLst/>
                <a:gdLst>
                  <a:gd name="T0" fmla="*/ 72 w 72"/>
                  <a:gd name="T1" fmla="*/ 26 h 73"/>
                  <a:gd name="T2" fmla="*/ 70 w 72"/>
                  <a:gd name="T3" fmla="*/ 25 h 73"/>
                  <a:gd name="T4" fmla="*/ 46 w 72"/>
                  <a:gd name="T5" fmla="*/ 25 h 73"/>
                  <a:gd name="T6" fmla="*/ 38 w 72"/>
                  <a:gd name="T7" fmla="*/ 1 h 73"/>
                  <a:gd name="T8" fmla="*/ 34 w 72"/>
                  <a:gd name="T9" fmla="*/ 1 h 73"/>
                  <a:gd name="T10" fmla="*/ 26 w 72"/>
                  <a:gd name="T11" fmla="*/ 25 h 73"/>
                  <a:gd name="T12" fmla="*/ 2 w 72"/>
                  <a:gd name="T13" fmla="*/ 25 h 73"/>
                  <a:gd name="T14" fmla="*/ 0 w 72"/>
                  <a:gd name="T15" fmla="*/ 26 h 73"/>
                  <a:gd name="T16" fmla="*/ 1 w 72"/>
                  <a:gd name="T17" fmla="*/ 29 h 73"/>
                  <a:gd name="T18" fmla="*/ 20 w 72"/>
                  <a:gd name="T19" fmla="*/ 45 h 73"/>
                  <a:gd name="T20" fmla="*/ 16 w 72"/>
                  <a:gd name="T21" fmla="*/ 59 h 73"/>
                  <a:gd name="T22" fmla="*/ 27 w 72"/>
                  <a:gd name="T23" fmla="*/ 64 h 73"/>
                  <a:gd name="T24" fmla="*/ 36 w 72"/>
                  <a:gd name="T25" fmla="*/ 57 h 73"/>
                  <a:gd name="T26" fmla="*/ 57 w 72"/>
                  <a:gd name="T27" fmla="*/ 72 h 73"/>
                  <a:gd name="T28" fmla="*/ 58 w 72"/>
                  <a:gd name="T29" fmla="*/ 73 h 73"/>
                  <a:gd name="T30" fmla="*/ 59 w 72"/>
                  <a:gd name="T31" fmla="*/ 72 h 73"/>
                  <a:gd name="T32" fmla="*/ 60 w 72"/>
                  <a:gd name="T33" fmla="*/ 70 h 73"/>
                  <a:gd name="T34" fmla="*/ 52 w 72"/>
                  <a:gd name="T35" fmla="*/ 45 h 73"/>
                  <a:gd name="T36" fmla="*/ 71 w 72"/>
                  <a:gd name="T37" fmla="*/ 29 h 73"/>
                  <a:gd name="T38" fmla="*/ 72 w 72"/>
                  <a:gd name="T39"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3">
                    <a:moveTo>
                      <a:pt x="72" y="26"/>
                    </a:moveTo>
                    <a:cubicBezTo>
                      <a:pt x="72" y="26"/>
                      <a:pt x="71" y="25"/>
                      <a:pt x="70" y="25"/>
                    </a:cubicBezTo>
                    <a:cubicBezTo>
                      <a:pt x="46" y="25"/>
                      <a:pt x="46" y="25"/>
                      <a:pt x="46" y="25"/>
                    </a:cubicBezTo>
                    <a:cubicBezTo>
                      <a:pt x="38" y="1"/>
                      <a:pt x="38" y="1"/>
                      <a:pt x="38" y="1"/>
                    </a:cubicBezTo>
                    <a:cubicBezTo>
                      <a:pt x="37" y="0"/>
                      <a:pt x="35" y="0"/>
                      <a:pt x="34" y="1"/>
                    </a:cubicBezTo>
                    <a:cubicBezTo>
                      <a:pt x="26" y="25"/>
                      <a:pt x="26" y="25"/>
                      <a:pt x="26" y="25"/>
                    </a:cubicBezTo>
                    <a:cubicBezTo>
                      <a:pt x="2" y="25"/>
                      <a:pt x="2" y="25"/>
                      <a:pt x="2" y="25"/>
                    </a:cubicBezTo>
                    <a:cubicBezTo>
                      <a:pt x="1" y="25"/>
                      <a:pt x="0" y="26"/>
                      <a:pt x="0" y="26"/>
                    </a:cubicBezTo>
                    <a:cubicBezTo>
                      <a:pt x="0" y="27"/>
                      <a:pt x="0" y="28"/>
                      <a:pt x="1" y="29"/>
                    </a:cubicBezTo>
                    <a:cubicBezTo>
                      <a:pt x="20" y="45"/>
                      <a:pt x="20" y="45"/>
                      <a:pt x="20" y="45"/>
                    </a:cubicBezTo>
                    <a:cubicBezTo>
                      <a:pt x="16" y="59"/>
                      <a:pt x="16" y="59"/>
                      <a:pt x="16" y="59"/>
                    </a:cubicBezTo>
                    <a:cubicBezTo>
                      <a:pt x="20" y="60"/>
                      <a:pt x="24" y="62"/>
                      <a:pt x="27" y="64"/>
                    </a:cubicBezTo>
                    <a:cubicBezTo>
                      <a:pt x="36" y="57"/>
                      <a:pt x="36" y="57"/>
                      <a:pt x="36" y="57"/>
                    </a:cubicBezTo>
                    <a:cubicBezTo>
                      <a:pt x="57" y="72"/>
                      <a:pt x="57" y="72"/>
                      <a:pt x="57" y="72"/>
                    </a:cubicBezTo>
                    <a:cubicBezTo>
                      <a:pt x="57" y="73"/>
                      <a:pt x="58" y="73"/>
                      <a:pt x="58" y="73"/>
                    </a:cubicBezTo>
                    <a:cubicBezTo>
                      <a:pt x="59" y="73"/>
                      <a:pt x="59" y="73"/>
                      <a:pt x="59" y="72"/>
                    </a:cubicBezTo>
                    <a:cubicBezTo>
                      <a:pt x="60" y="72"/>
                      <a:pt x="60" y="71"/>
                      <a:pt x="60" y="70"/>
                    </a:cubicBezTo>
                    <a:cubicBezTo>
                      <a:pt x="52" y="45"/>
                      <a:pt x="52" y="45"/>
                      <a:pt x="52" y="45"/>
                    </a:cubicBezTo>
                    <a:cubicBezTo>
                      <a:pt x="71" y="29"/>
                      <a:pt x="71" y="29"/>
                      <a:pt x="71" y="29"/>
                    </a:cubicBezTo>
                    <a:cubicBezTo>
                      <a:pt x="72" y="28"/>
                      <a:pt x="72" y="27"/>
                      <a:pt x="72"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36" name="Freeform 43">
                <a:extLst>
                  <a:ext uri="{FF2B5EF4-FFF2-40B4-BE49-F238E27FC236}">
                    <a16:creationId xmlns:a16="http://schemas.microsoft.com/office/drawing/2014/main" id="{BC8AE4C2-6DE1-3672-C00D-1CFCE7D48D9E}"/>
                  </a:ext>
                </a:extLst>
              </p:cNvPr>
              <p:cNvSpPr>
                <a:spLocks/>
              </p:cNvSpPr>
              <p:nvPr/>
            </p:nvSpPr>
            <p:spPr bwMode="auto">
              <a:xfrm>
                <a:off x="4195763" y="3860800"/>
                <a:ext cx="247650" cy="100013"/>
              </a:xfrm>
              <a:custGeom>
                <a:avLst/>
                <a:gdLst>
                  <a:gd name="T0" fmla="*/ 24 w 66"/>
                  <a:gd name="T1" fmla="*/ 8 h 26"/>
                  <a:gd name="T2" fmla="*/ 16 w 66"/>
                  <a:gd name="T3" fmla="*/ 8 h 26"/>
                  <a:gd name="T4" fmla="*/ 14 w 66"/>
                  <a:gd name="T5" fmla="*/ 10 h 26"/>
                  <a:gd name="T6" fmla="*/ 16 w 66"/>
                  <a:gd name="T7" fmla="*/ 12 h 26"/>
                  <a:gd name="T8" fmla="*/ 32 w 66"/>
                  <a:gd name="T9" fmla="*/ 12 h 26"/>
                  <a:gd name="T10" fmla="*/ 40 w 66"/>
                  <a:gd name="T11" fmla="*/ 12 h 26"/>
                  <a:gd name="T12" fmla="*/ 50 w 66"/>
                  <a:gd name="T13" fmla="*/ 12 h 26"/>
                  <a:gd name="T14" fmla="*/ 66 w 66"/>
                  <a:gd name="T15" fmla="*/ 24 h 26"/>
                  <a:gd name="T16" fmla="*/ 64 w 66"/>
                  <a:gd name="T17" fmla="*/ 26 h 26"/>
                  <a:gd name="T18" fmla="*/ 2 w 66"/>
                  <a:gd name="T19" fmla="*/ 26 h 26"/>
                  <a:gd name="T20" fmla="*/ 0 w 66"/>
                  <a:gd name="T21" fmla="*/ 24 h 26"/>
                  <a:gd name="T22" fmla="*/ 0 w 66"/>
                  <a:gd name="T23" fmla="*/ 2 h 26"/>
                  <a:gd name="T24" fmla="*/ 2 w 66"/>
                  <a:gd name="T25" fmla="*/ 0 h 26"/>
                  <a:gd name="T26" fmla="*/ 11 w 66"/>
                  <a:gd name="T27" fmla="*/ 0 h 26"/>
                  <a:gd name="T28" fmla="*/ 24 w 66"/>
                  <a:gd name="T29" fmla="*/ 5 h 26"/>
                  <a:gd name="T30" fmla="*/ 24 w 66"/>
                  <a:gd name="T3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26">
                    <a:moveTo>
                      <a:pt x="24" y="8"/>
                    </a:moveTo>
                    <a:cubicBezTo>
                      <a:pt x="16" y="8"/>
                      <a:pt x="16" y="8"/>
                      <a:pt x="16" y="8"/>
                    </a:cubicBezTo>
                    <a:cubicBezTo>
                      <a:pt x="15" y="8"/>
                      <a:pt x="14" y="9"/>
                      <a:pt x="14" y="10"/>
                    </a:cubicBezTo>
                    <a:cubicBezTo>
                      <a:pt x="14" y="11"/>
                      <a:pt x="15" y="12"/>
                      <a:pt x="16" y="12"/>
                    </a:cubicBezTo>
                    <a:cubicBezTo>
                      <a:pt x="32" y="12"/>
                      <a:pt x="32" y="12"/>
                      <a:pt x="32" y="12"/>
                    </a:cubicBezTo>
                    <a:cubicBezTo>
                      <a:pt x="40" y="12"/>
                      <a:pt x="40" y="12"/>
                      <a:pt x="40" y="12"/>
                    </a:cubicBezTo>
                    <a:cubicBezTo>
                      <a:pt x="50" y="12"/>
                      <a:pt x="50" y="12"/>
                      <a:pt x="50" y="12"/>
                    </a:cubicBezTo>
                    <a:cubicBezTo>
                      <a:pt x="59" y="14"/>
                      <a:pt x="66" y="19"/>
                      <a:pt x="66" y="24"/>
                    </a:cubicBezTo>
                    <a:cubicBezTo>
                      <a:pt x="66" y="25"/>
                      <a:pt x="65" y="26"/>
                      <a:pt x="64" y="26"/>
                    </a:cubicBezTo>
                    <a:cubicBezTo>
                      <a:pt x="2" y="26"/>
                      <a:pt x="2" y="26"/>
                      <a:pt x="2" y="26"/>
                    </a:cubicBezTo>
                    <a:cubicBezTo>
                      <a:pt x="1" y="26"/>
                      <a:pt x="0" y="25"/>
                      <a:pt x="0" y="24"/>
                    </a:cubicBezTo>
                    <a:cubicBezTo>
                      <a:pt x="0" y="2"/>
                      <a:pt x="0" y="2"/>
                      <a:pt x="0" y="2"/>
                    </a:cubicBezTo>
                    <a:cubicBezTo>
                      <a:pt x="0" y="1"/>
                      <a:pt x="1" y="0"/>
                      <a:pt x="2" y="0"/>
                    </a:cubicBezTo>
                    <a:cubicBezTo>
                      <a:pt x="11" y="0"/>
                      <a:pt x="11" y="0"/>
                      <a:pt x="11" y="0"/>
                    </a:cubicBezTo>
                    <a:cubicBezTo>
                      <a:pt x="17" y="0"/>
                      <a:pt x="23" y="5"/>
                      <a:pt x="24" y="5"/>
                    </a:cubicBezTo>
                    <a:cubicBezTo>
                      <a:pt x="25" y="6"/>
                      <a:pt x="28"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41" name="Freeform 44">
                <a:extLst>
                  <a:ext uri="{FF2B5EF4-FFF2-40B4-BE49-F238E27FC236}">
                    <a16:creationId xmlns:a16="http://schemas.microsoft.com/office/drawing/2014/main" id="{ACDECEE5-7C0B-33B3-25F9-99A6A8695BE6}"/>
                  </a:ext>
                </a:extLst>
              </p:cNvPr>
              <p:cNvSpPr>
                <a:spLocks/>
              </p:cNvSpPr>
              <p:nvPr/>
            </p:nvSpPr>
            <p:spPr bwMode="auto">
              <a:xfrm>
                <a:off x="4113213" y="3854450"/>
                <a:ext cx="66675" cy="120650"/>
              </a:xfrm>
              <a:custGeom>
                <a:avLst/>
                <a:gdLst>
                  <a:gd name="T0" fmla="*/ 16 w 18"/>
                  <a:gd name="T1" fmla="*/ 0 h 32"/>
                  <a:gd name="T2" fmla="*/ 2 w 18"/>
                  <a:gd name="T3" fmla="*/ 0 h 32"/>
                  <a:gd name="T4" fmla="*/ 0 w 18"/>
                  <a:gd name="T5" fmla="*/ 2 h 32"/>
                  <a:gd name="T6" fmla="*/ 0 w 18"/>
                  <a:gd name="T7" fmla="*/ 30 h 32"/>
                  <a:gd name="T8" fmla="*/ 2 w 18"/>
                  <a:gd name="T9" fmla="*/ 32 h 32"/>
                  <a:gd name="T10" fmla="*/ 16 w 18"/>
                  <a:gd name="T11" fmla="*/ 32 h 32"/>
                  <a:gd name="T12" fmla="*/ 18 w 18"/>
                  <a:gd name="T13" fmla="*/ 30 h 32"/>
                  <a:gd name="T14" fmla="*/ 18 w 18"/>
                  <a:gd name="T15" fmla="*/ 2 h 32"/>
                  <a:gd name="T16" fmla="*/ 16 w 18"/>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32">
                    <a:moveTo>
                      <a:pt x="16" y="0"/>
                    </a:moveTo>
                    <a:cubicBezTo>
                      <a:pt x="2" y="0"/>
                      <a:pt x="2" y="0"/>
                      <a:pt x="2" y="0"/>
                    </a:cubicBezTo>
                    <a:cubicBezTo>
                      <a:pt x="1" y="0"/>
                      <a:pt x="0" y="1"/>
                      <a:pt x="0" y="2"/>
                    </a:cubicBezTo>
                    <a:cubicBezTo>
                      <a:pt x="0" y="30"/>
                      <a:pt x="0" y="30"/>
                      <a:pt x="0" y="30"/>
                    </a:cubicBezTo>
                    <a:cubicBezTo>
                      <a:pt x="0" y="31"/>
                      <a:pt x="1" y="32"/>
                      <a:pt x="2" y="32"/>
                    </a:cubicBezTo>
                    <a:cubicBezTo>
                      <a:pt x="16" y="32"/>
                      <a:pt x="16" y="32"/>
                      <a:pt x="16" y="32"/>
                    </a:cubicBezTo>
                    <a:cubicBezTo>
                      <a:pt x="17" y="32"/>
                      <a:pt x="18" y="31"/>
                      <a:pt x="18" y="30"/>
                    </a:cubicBezTo>
                    <a:cubicBezTo>
                      <a:pt x="18" y="2"/>
                      <a:pt x="18" y="2"/>
                      <a:pt x="18" y="2"/>
                    </a:cubicBezTo>
                    <a:cubicBezTo>
                      <a:pt x="18" y="1"/>
                      <a:pt x="17"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47" name="Group 46">
              <a:extLst>
                <a:ext uri="{FF2B5EF4-FFF2-40B4-BE49-F238E27FC236}">
                  <a16:creationId xmlns:a16="http://schemas.microsoft.com/office/drawing/2014/main" id="{9F93232B-1E41-9A35-6252-4F0737BA86A2}"/>
                </a:ext>
              </a:extLst>
            </p:cNvPr>
            <p:cNvGrpSpPr/>
            <p:nvPr/>
          </p:nvGrpSpPr>
          <p:grpSpPr>
            <a:xfrm>
              <a:off x="3694793" y="4573080"/>
              <a:ext cx="360363" cy="360363"/>
              <a:chOff x="4833938" y="2887663"/>
              <a:chExt cx="360363" cy="360363"/>
            </a:xfrm>
            <a:solidFill>
              <a:schemeClr val="bg1"/>
            </a:solidFill>
          </p:grpSpPr>
          <p:sp>
            <p:nvSpPr>
              <p:cNvPr id="48" name="Freeform 199">
                <a:extLst>
                  <a:ext uri="{FF2B5EF4-FFF2-40B4-BE49-F238E27FC236}">
                    <a16:creationId xmlns:a16="http://schemas.microsoft.com/office/drawing/2014/main" id="{0BDA9E8F-BEA2-A0C2-0793-103C8C4C9456}"/>
                  </a:ext>
                </a:extLst>
              </p:cNvPr>
              <p:cNvSpPr>
                <a:spLocks/>
              </p:cNvSpPr>
              <p:nvPr/>
            </p:nvSpPr>
            <p:spPr bwMode="auto">
              <a:xfrm>
                <a:off x="4833938" y="3098801"/>
                <a:ext cx="360363" cy="149225"/>
              </a:xfrm>
              <a:custGeom>
                <a:avLst/>
                <a:gdLst>
                  <a:gd name="T0" fmla="*/ 85 w 96"/>
                  <a:gd name="T1" fmla="*/ 22 h 40"/>
                  <a:gd name="T2" fmla="*/ 90 w 96"/>
                  <a:gd name="T3" fmla="*/ 12 h 40"/>
                  <a:gd name="T4" fmla="*/ 78 w 96"/>
                  <a:gd name="T5" fmla="*/ 0 h 40"/>
                  <a:gd name="T6" fmla="*/ 66 w 96"/>
                  <a:gd name="T7" fmla="*/ 12 h 40"/>
                  <a:gd name="T8" fmla="*/ 71 w 96"/>
                  <a:gd name="T9" fmla="*/ 22 h 40"/>
                  <a:gd name="T10" fmla="*/ 63 w 96"/>
                  <a:gd name="T11" fmla="*/ 28 h 40"/>
                  <a:gd name="T12" fmla="*/ 55 w 96"/>
                  <a:gd name="T13" fmla="*/ 22 h 40"/>
                  <a:gd name="T14" fmla="*/ 60 w 96"/>
                  <a:gd name="T15" fmla="*/ 12 h 40"/>
                  <a:gd name="T16" fmla="*/ 48 w 96"/>
                  <a:gd name="T17" fmla="*/ 0 h 40"/>
                  <a:gd name="T18" fmla="*/ 36 w 96"/>
                  <a:gd name="T19" fmla="*/ 12 h 40"/>
                  <a:gd name="T20" fmla="*/ 41 w 96"/>
                  <a:gd name="T21" fmla="*/ 22 h 40"/>
                  <a:gd name="T22" fmla="*/ 33 w 96"/>
                  <a:gd name="T23" fmla="*/ 28 h 40"/>
                  <a:gd name="T24" fmla="*/ 25 w 96"/>
                  <a:gd name="T25" fmla="*/ 22 h 40"/>
                  <a:gd name="T26" fmla="*/ 30 w 96"/>
                  <a:gd name="T27" fmla="*/ 12 h 40"/>
                  <a:gd name="T28" fmla="*/ 18 w 96"/>
                  <a:gd name="T29" fmla="*/ 0 h 40"/>
                  <a:gd name="T30" fmla="*/ 6 w 96"/>
                  <a:gd name="T31" fmla="*/ 12 h 40"/>
                  <a:gd name="T32" fmla="*/ 11 w 96"/>
                  <a:gd name="T33" fmla="*/ 22 h 40"/>
                  <a:gd name="T34" fmla="*/ 0 w 96"/>
                  <a:gd name="T35" fmla="*/ 38 h 40"/>
                  <a:gd name="T36" fmla="*/ 2 w 96"/>
                  <a:gd name="T37" fmla="*/ 40 h 40"/>
                  <a:gd name="T38" fmla="*/ 94 w 96"/>
                  <a:gd name="T39" fmla="*/ 40 h 40"/>
                  <a:gd name="T40" fmla="*/ 96 w 96"/>
                  <a:gd name="T41" fmla="*/ 38 h 40"/>
                  <a:gd name="T42" fmla="*/ 85 w 96"/>
                  <a:gd name="T43"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40">
                    <a:moveTo>
                      <a:pt x="85" y="22"/>
                    </a:moveTo>
                    <a:cubicBezTo>
                      <a:pt x="88" y="19"/>
                      <a:pt x="90" y="16"/>
                      <a:pt x="90" y="12"/>
                    </a:cubicBezTo>
                    <a:cubicBezTo>
                      <a:pt x="90" y="5"/>
                      <a:pt x="85" y="0"/>
                      <a:pt x="78" y="0"/>
                    </a:cubicBezTo>
                    <a:cubicBezTo>
                      <a:pt x="71" y="0"/>
                      <a:pt x="66" y="5"/>
                      <a:pt x="66" y="12"/>
                    </a:cubicBezTo>
                    <a:cubicBezTo>
                      <a:pt x="66" y="16"/>
                      <a:pt x="68" y="19"/>
                      <a:pt x="71" y="22"/>
                    </a:cubicBezTo>
                    <a:cubicBezTo>
                      <a:pt x="68" y="23"/>
                      <a:pt x="65" y="25"/>
                      <a:pt x="63" y="28"/>
                    </a:cubicBezTo>
                    <a:cubicBezTo>
                      <a:pt x="61" y="25"/>
                      <a:pt x="58" y="23"/>
                      <a:pt x="55" y="22"/>
                    </a:cubicBezTo>
                    <a:cubicBezTo>
                      <a:pt x="58" y="19"/>
                      <a:pt x="60" y="16"/>
                      <a:pt x="60" y="12"/>
                    </a:cubicBezTo>
                    <a:cubicBezTo>
                      <a:pt x="60" y="5"/>
                      <a:pt x="55" y="0"/>
                      <a:pt x="48" y="0"/>
                    </a:cubicBezTo>
                    <a:cubicBezTo>
                      <a:pt x="41" y="0"/>
                      <a:pt x="36" y="5"/>
                      <a:pt x="36" y="12"/>
                    </a:cubicBezTo>
                    <a:cubicBezTo>
                      <a:pt x="36" y="16"/>
                      <a:pt x="38" y="19"/>
                      <a:pt x="41" y="22"/>
                    </a:cubicBezTo>
                    <a:cubicBezTo>
                      <a:pt x="38" y="23"/>
                      <a:pt x="35" y="25"/>
                      <a:pt x="33" y="28"/>
                    </a:cubicBezTo>
                    <a:cubicBezTo>
                      <a:pt x="31" y="25"/>
                      <a:pt x="28" y="23"/>
                      <a:pt x="25" y="22"/>
                    </a:cubicBezTo>
                    <a:cubicBezTo>
                      <a:pt x="28" y="19"/>
                      <a:pt x="30" y="16"/>
                      <a:pt x="30" y="12"/>
                    </a:cubicBezTo>
                    <a:cubicBezTo>
                      <a:pt x="30" y="5"/>
                      <a:pt x="25" y="0"/>
                      <a:pt x="18" y="0"/>
                    </a:cubicBezTo>
                    <a:cubicBezTo>
                      <a:pt x="11" y="0"/>
                      <a:pt x="6" y="5"/>
                      <a:pt x="6" y="12"/>
                    </a:cubicBezTo>
                    <a:cubicBezTo>
                      <a:pt x="6" y="16"/>
                      <a:pt x="8" y="19"/>
                      <a:pt x="11" y="22"/>
                    </a:cubicBezTo>
                    <a:cubicBezTo>
                      <a:pt x="5" y="25"/>
                      <a:pt x="0" y="31"/>
                      <a:pt x="0" y="38"/>
                    </a:cubicBezTo>
                    <a:cubicBezTo>
                      <a:pt x="0" y="39"/>
                      <a:pt x="1" y="40"/>
                      <a:pt x="2" y="40"/>
                    </a:cubicBezTo>
                    <a:cubicBezTo>
                      <a:pt x="94" y="40"/>
                      <a:pt x="94" y="40"/>
                      <a:pt x="94" y="40"/>
                    </a:cubicBezTo>
                    <a:cubicBezTo>
                      <a:pt x="95" y="40"/>
                      <a:pt x="96" y="39"/>
                      <a:pt x="96" y="38"/>
                    </a:cubicBezTo>
                    <a:cubicBezTo>
                      <a:pt x="96" y="31"/>
                      <a:pt x="91" y="25"/>
                      <a:pt x="8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49" name="Freeform 200">
                <a:extLst>
                  <a:ext uri="{FF2B5EF4-FFF2-40B4-BE49-F238E27FC236}">
                    <a16:creationId xmlns:a16="http://schemas.microsoft.com/office/drawing/2014/main" id="{9B1EF22D-9286-9FFB-88B1-0C2DFC5DB1A4}"/>
                  </a:ext>
                </a:extLst>
              </p:cNvPr>
              <p:cNvSpPr>
                <a:spLocks/>
              </p:cNvSpPr>
              <p:nvPr/>
            </p:nvSpPr>
            <p:spPr bwMode="auto">
              <a:xfrm>
                <a:off x="4995863" y="3052763"/>
                <a:ext cx="36513" cy="30163"/>
              </a:xfrm>
              <a:custGeom>
                <a:avLst/>
                <a:gdLst>
                  <a:gd name="T0" fmla="*/ 0 w 10"/>
                  <a:gd name="T1" fmla="*/ 0 h 8"/>
                  <a:gd name="T2" fmla="*/ 5 w 10"/>
                  <a:gd name="T3" fmla="*/ 8 h 8"/>
                  <a:gd name="T4" fmla="*/ 10 w 10"/>
                  <a:gd name="T5" fmla="*/ 0 h 8"/>
                  <a:gd name="T6" fmla="*/ 0 w 10"/>
                  <a:gd name="T7" fmla="*/ 0 h 8"/>
                </a:gdLst>
                <a:ahLst/>
                <a:cxnLst>
                  <a:cxn ang="0">
                    <a:pos x="T0" y="T1"/>
                  </a:cxn>
                  <a:cxn ang="0">
                    <a:pos x="T2" y="T3"/>
                  </a:cxn>
                  <a:cxn ang="0">
                    <a:pos x="T4" y="T5"/>
                  </a:cxn>
                  <a:cxn ang="0">
                    <a:pos x="T6" y="T7"/>
                  </a:cxn>
                </a:cxnLst>
                <a:rect l="0" t="0" r="r" b="b"/>
                <a:pathLst>
                  <a:path w="10" h="8">
                    <a:moveTo>
                      <a:pt x="0" y="0"/>
                    </a:moveTo>
                    <a:cubicBezTo>
                      <a:pt x="1" y="3"/>
                      <a:pt x="3" y="5"/>
                      <a:pt x="5" y="8"/>
                    </a:cubicBezTo>
                    <a:cubicBezTo>
                      <a:pt x="7" y="5"/>
                      <a:pt x="9" y="3"/>
                      <a:pt x="10"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50" name="Freeform 201">
                <a:extLst>
                  <a:ext uri="{FF2B5EF4-FFF2-40B4-BE49-F238E27FC236}">
                    <a16:creationId xmlns:a16="http://schemas.microsoft.com/office/drawing/2014/main" id="{12573D8A-C983-84CB-BCA7-18F708C3E684}"/>
                  </a:ext>
                </a:extLst>
              </p:cNvPr>
              <p:cNvSpPr>
                <a:spLocks/>
              </p:cNvSpPr>
              <p:nvPr/>
            </p:nvSpPr>
            <p:spPr bwMode="auto">
              <a:xfrm>
                <a:off x="4979988" y="2947988"/>
                <a:ext cx="68263" cy="38100"/>
              </a:xfrm>
              <a:custGeom>
                <a:avLst/>
                <a:gdLst>
                  <a:gd name="T0" fmla="*/ 18 w 18"/>
                  <a:gd name="T1" fmla="*/ 10 h 10"/>
                  <a:gd name="T2" fmla="*/ 16 w 18"/>
                  <a:gd name="T3" fmla="*/ 0 h 10"/>
                  <a:gd name="T4" fmla="*/ 2 w 18"/>
                  <a:gd name="T5" fmla="*/ 0 h 10"/>
                  <a:gd name="T6" fmla="*/ 0 w 18"/>
                  <a:gd name="T7" fmla="*/ 10 h 10"/>
                  <a:gd name="T8" fmla="*/ 18 w 18"/>
                  <a:gd name="T9" fmla="*/ 10 h 10"/>
                </a:gdLst>
                <a:ahLst/>
                <a:cxnLst>
                  <a:cxn ang="0">
                    <a:pos x="T0" y="T1"/>
                  </a:cxn>
                  <a:cxn ang="0">
                    <a:pos x="T2" y="T3"/>
                  </a:cxn>
                  <a:cxn ang="0">
                    <a:pos x="T4" y="T5"/>
                  </a:cxn>
                  <a:cxn ang="0">
                    <a:pos x="T6" y="T7"/>
                  </a:cxn>
                  <a:cxn ang="0">
                    <a:pos x="T8" y="T9"/>
                  </a:cxn>
                </a:cxnLst>
                <a:rect l="0" t="0" r="r" b="b"/>
                <a:pathLst>
                  <a:path w="18" h="10">
                    <a:moveTo>
                      <a:pt x="18" y="10"/>
                    </a:moveTo>
                    <a:cubicBezTo>
                      <a:pt x="18" y="7"/>
                      <a:pt x="18" y="3"/>
                      <a:pt x="16" y="0"/>
                    </a:cubicBezTo>
                    <a:cubicBezTo>
                      <a:pt x="2" y="0"/>
                      <a:pt x="2" y="0"/>
                      <a:pt x="2" y="0"/>
                    </a:cubicBezTo>
                    <a:cubicBezTo>
                      <a:pt x="0" y="3"/>
                      <a:pt x="0" y="7"/>
                      <a:pt x="0" y="10"/>
                    </a:cubicBezTo>
                    <a:lnTo>
                      <a:pt x="18"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51" name="Freeform 202">
                <a:extLst>
                  <a:ext uri="{FF2B5EF4-FFF2-40B4-BE49-F238E27FC236}">
                    <a16:creationId xmlns:a16="http://schemas.microsoft.com/office/drawing/2014/main" id="{8E821AEE-3999-1BDD-6DDF-8AC94E746DC4}"/>
                  </a:ext>
                </a:extLst>
              </p:cNvPr>
              <p:cNvSpPr>
                <a:spLocks/>
              </p:cNvSpPr>
              <p:nvPr/>
            </p:nvSpPr>
            <p:spPr bwMode="auto">
              <a:xfrm>
                <a:off x="4908550" y="2947988"/>
                <a:ext cx="60325" cy="38100"/>
              </a:xfrm>
              <a:custGeom>
                <a:avLst/>
                <a:gdLst>
                  <a:gd name="T0" fmla="*/ 0 w 16"/>
                  <a:gd name="T1" fmla="*/ 10 h 10"/>
                  <a:gd name="T2" fmla="*/ 15 w 16"/>
                  <a:gd name="T3" fmla="*/ 10 h 10"/>
                  <a:gd name="T4" fmla="*/ 16 w 16"/>
                  <a:gd name="T5" fmla="*/ 0 h 10"/>
                  <a:gd name="T6" fmla="*/ 2 w 16"/>
                  <a:gd name="T7" fmla="*/ 0 h 10"/>
                  <a:gd name="T8" fmla="*/ 0 w 16"/>
                  <a:gd name="T9" fmla="*/ 10 h 10"/>
                </a:gdLst>
                <a:ahLst/>
                <a:cxnLst>
                  <a:cxn ang="0">
                    <a:pos x="T0" y="T1"/>
                  </a:cxn>
                  <a:cxn ang="0">
                    <a:pos x="T2" y="T3"/>
                  </a:cxn>
                  <a:cxn ang="0">
                    <a:pos x="T4" y="T5"/>
                  </a:cxn>
                  <a:cxn ang="0">
                    <a:pos x="T6" y="T7"/>
                  </a:cxn>
                  <a:cxn ang="0">
                    <a:pos x="T8" y="T9"/>
                  </a:cxn>
                </a:cxnLst>
                <a:rect l="0" t="0" r="r" b="b"/>
                <a:pathLst>
                  <a:path w="16" h="10">
                    <a:moveTo>
                      <a:pt x="0" y="10"/>
                    </a:moveTo>
                    <a:cubicBezTo>
                      <a:pt x="15" y="10"/>
                      <a:pt x="15" y="10"/>
                      <a:pt x="15" y="10"/>
                    </a:cubicBezTo>
                    <a:cubicBezTo>
                      <a:pt x="15" y="7"/>
                      <a:pt x="15" y="3"/>
                      <a:pt x="16" y="0"/>
                    </a:cubicBezTo>
                    <a:cubicBezTo>
                      <a:pt x="2" y="0"/>
                      <a:pt x="2" y="0"/>
                      <a:pt x="2" y="0"/>
                    </a:cubicBezTo>
                    <a:cubicBezTo>
                      <a:pt x="1" y="3"/>
                      <a:pt x="0" y="6"/>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203">
                <a:extLst>
                  <a:ext uri="{FF2B5EF4-FFF2-40B4-BE49-F238E27FC236}">
                    <a16:creationId xmlns:a16="http://schemas.microsoft.com/office/drawing/2014/main" id="{43A301EA-5A75-214A-FB58-8253A83613A5}"/>
                  </a:ext>
                </a:extLst>
              </p:cNvPr>
              <p:cNvSpPr>
                <a:spLocks/>
              </p:cNvSpPr>
              <p:nvPr/>
            </p:nvSpPr>
            <p:spPr bwMode="auto">
              <a:xfrm>
                <a:off x="4991100" y="2901951"/>
                <a:ext cx="46038" cy="30163"/>
              </a:xfrm>
              <a:custGeom>
                <a:avLst/>
                <a:gdLst>
                  <a:gd name="T0" fmla="*/ 12 w 12"/>
                  <a:gd name="T1" fmla="*/ 8 h 8"/>
                  <a:gd name="T2" fmla="*/ 6 w 12"/>
                  <a:gd name="T3" fmla="*/ 0 h 8"/>
                  <a:gd name="T4" fmla="*/ 0 w 12"/>
                  <a:gd name="T5" fmla="*/ 8 h 8"/>
                  <a:gd name="T6" fmla="*/ 12 w 12"/>
                  <a:gd name="T7" fmla="*/ 8 h 8"/>
                </a:gdLst>
                <a:ahLst/>
                <a:cxnLst>
                  <a:cxn ang="0">
                    <a:pos x="T0" y="T1"/>
                  </a:cxn>
                  <a:cxn ang="0">
                    <a:pos x="T2" y="T3"/>
                  </a:cxn>
                  <a:cxn ang="0">
                    <a:pos x="T4" y="T5"/>
                  </a:cxn>
                  <a:cxn ang="0">
                    <a:pos x="T6" y="T7"/>
                  </a:cxn>
                </a:cxnLst>
                <a:rect l="0" t="0" r="r" b="b"/>
                <a:pathLst>
                  <a:path w="12" h="8">
                    <a:moveTo>
                      <a:pt x="12" y="8"/>
                    </a:moveTo>
                    <a:cubicBezTo>
                      <a:pt x="10" y="5"/>
                      <a:pt x="8" y="2"/>
                      <a:pt x="6" y="0"/>
                    </a:cubicBezTo>
                    <a:cubicBezTo>
                      <a:pt x="4" y="2"/>
                      <a:pt x="2" y="5"/>
                      <a:pt x="0" y="8"/>
                    </a:cubicBezTo>
                    <a:lnTo>
                      <a:pt x="1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204">
                <a:extLst>
                  <a:ext uri="{FF2B5EF4-FFF2-40B4-BE49-F238E27FC236}">
                    <a16:creationId xmlns:a16="http://schemas.microsoft.com/office/drawing/2014/main" id="{FA3D05DE-2A7A-F45E-6351-D87AC4DA489D}"/>
                  </a:ext>
                </a:extLst>
              </p:cNvPr>
              <p:cNvSpPr>
                <a:spLocks/>
              </p:cNvSpPr>
              <p:nvPr/>
            </p:nvSpPr>
            <p:spPr bwMode="auto">
              <a:xfrm>
                <a:off x="4979988" y="3000376"/>
                <a:ext cx="68263" cy="38100"/>
              </a:xfrm>
              <a:custGeom>
                <a:avLst/>
                <a:gdLst>
                  <a:gd name="T0" fmla="*/ 0 w 18"/>
                  <a:gd name="T1" fmla="*/ 0 h 10"/>
                  <a:gd name="T2" fmla="*/ 2 w 18"/>
                  <a:gd name="T3" fmla="*/ 10 h 10"/>
                  <a:gd name="T4" fmla="*/ 16 w 18"/>
                  <a:gd name="T5" fmla="*/ 10 h 10"/>
                  <a:gd name="T6" fmla="*/ 18 w 18"/>
                  <a:gd name="T7" fmla="*/ 0 h 10"/>
                  <a:gd name="T8" fmla="*/ 0 w 18"/>
                  <a:gd name="T9" fmla="*/ 0 h 10"/>
                </a:gdLst>
                <a:ahLst/>
                <a:cxnLst>
                  <a:cxn ang="0">
                    <a:pos x="T0" y="T1"/>
                  </a:cxn>
                  <a:cxn ang="0">
                    <a:pos x="T2" y="T3"/>
                  </a:cxn>
                  <a:cxn ang="0">
                    <a:pos x="T4" y="T5"/>
                  </a:cxn>
                  <a:cxn ang="0">
                    <a:pos x="T6" y="T7"/>
                  </a:cxn>
                  <a:cxn ang="0">
                    <a:pos x="T8" y="T9"/>
                  </a:cxn>
                </a:cxnLst>
                <a:rect l="0" t="0" r="r" b="b"/>
                <a:pathLst>
                  <a:path w="18" h="10">
                    <a:moveTo>
                      <a:pt x="0" y="0"/>
                    </a:moveTo>
                    <a:cubicBezTo>
                      <a:pt x="0" y="3"/>
                      <a:pt x="1" y="7"/>
                      <a:pt x="2" y="10"/>
                    </a:cubicBezTo>
                    <a:cubicBezTo>
                      <a:pt x="16" y="10"/>
                      <a:pt x="16" y="10"/>
                      <a:pt x="16" y="10"/>
                    </a:cubicBezTo>
                    <a:cubicBezTo>
                      <a:pt x="17" y="7"/>
                      <a:pt x="18" y="3"/>
                      <a:pt x="18"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54" name="Freeform 206">
                <a:extLst>
                  <a:ext uri="{FF2B5EF4-FFF2-40B4-BE49-F238E27FC236}">
                    <a16:creationId xmlns:a16="http://schemas.microsoft.com/office/drawing/2014/main" id="{49E98D8D-B587-AE9E-9006-E9905CF85BF4}"/>
                  </a:ext>
                </a:extLst>
              </p:cNvPr>
              <p:cNvSpPr>
                <a:spLocks/>
              </p:cNvSpPr>
              <p:nvPr/>
            </p:nvSpPr>
            <p:spPr bwMode="auto">
              <a:xfrm>
                <a:off x="4908550" y="3000376"/>
                <a:ext cx="65088" cy="38100"/>
              </a:xfrm>
              <a:custGeom>
                <a:avLst/>
                <a:gdLst>
                  <a:gd name="T0" fmla="*/ 15 w 17"/>
                  <a:gd name="T1" fmla="*/ 0 h 10"/>
                  <a:gd name="T2" fmla="*/ 0 w 17"/>
                  <a:gd name="T3" fmla="*/ 0 h 10"/>
                  <a:gd name="T4" fmla="*/ 3 w 17"/>
                  <a:gd name="T5" fmla="*/ 10 h 10"/>
                  <a:gd name="T6" fmla="*/ 17 w 17"/>
                  <a:gd name="T7" fmla="*/ 10 h 10"/>
                  <a:gd name="T8" fmla="*/ 15 w 17"/>
                  <a:gd name="T9" fmla="*/ 0 h 10"/>
                </a:gdLst>
                <a:ahLst/>
                <a:cxnLst>
                  <a:cxn ang="0">
                    <a:pos x="T0" y="T1"/>
                  </a:cxn>
                  <a:cxn ang="0">
                    <a:pos x="T2" y="T3"/>
                  </a:cxn>
                  <a:cxn ang="0">
                    <a:pos x="T4" y="T5"/>
                  </a:cxn>
                  <a:cxn ang="0">
                    <a:pos x="T6" y="T7"/>
                  </a:cxn>
                  <a:cxn ang="0">
                    <a:pos x="T8" y="T9"/>
                  </a:cxn>
                </a:cxnLst>
                <a:rect l="0" t="0" r="r" b="b"/>
                <a:pathLst>
                  <a:path w="17" h="10">
                    <a:moveTo>
                      <a:pt x="15" y="0"/>
                    </a:moveTo>
                    <a:cubicBezTo>
                      <a:pt x="0" y="0"/>
                      <a:pt x="0" y="0"/>
                      <a:pt x="0" y="0"/>
                    </a:cubicBezTo>
                    <a:cubicBezTo>
                      <a:pt x="0" y="4"/>
                      <a:pt x="1" y="7"/>
                      <a:pt x="3" y="10"/>
                    </a:cubicBezTo>
                    <a:cubicBezTo>
                      <a:pt x="17" y="10"/>
                      <a:pt x="17" y="10"/>
                      <a:pt x="17" y="10"/>
                    </a:cubicBezTo>
                    <a:cubicBezTo>
                      <a:pt x="16" y="7"/>
                      <a:pt x="15" y="3"/>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55" name="Freeform 207">
                <a:extLst>
                  <a:ext uri="{FF2B5EF4-FFF2-40B4-BE49-F238E27FC236}">
                    <a16:creationId xmlns:a16="http://schemas.microsoft.com/office/drawing/2014/main" id="{0197ABCB-2737-4A00-DE34-8B160C9A17EA}"/>
                  </a:ext>
                </a:extLst>
              </p:cNvPr>
              <p:cNvSpPr>
                <a:spLocks/>
              </p:cNvSpPr>
              <p:nvPr/>
            </p:nvSpPr>
            <p:spPr bwMode="auto">
              <a:xfrm>
                <a:off x="4927600" y="3052763"/>
                <a:ext cx="79375" cy="46038"/>
              </a:xfrm>
              <a:custGeom>
                <a:avLst/>
                <a:gdLst>
                  <a:gd name="T0" fmla="*/ 21 w 21"/>
                  <a:gd name="T1" fmla="*/ 12 h 12"/>
                  <a:gd name="T2" fmla="*/ 20 w 21"/>
                  <a:gd name="T3" fmla="*/ 11 h 12"/>
                  <a:gd name="T4" fmla="*/ 14 w 21"/>
                  <a:gd name="T5" fmla="*/ 0 h 12"/>
                  <a:gd name="T6" fmla="*/ 0 w 21"/>
                  <a:gd name="T7" fmla="*/ 0 h 12"/>
                  <a:gd name="T8" fmla="*/ 21 w 21"/>
                  <a:gd name="T9" fmla="*/ 12 h 12"/>
                </a:gdLst>
                <a:ahLst/>
                <a:cxnLst>
                  <a:cxn ang="0">
                    <a:pos x="T0" y="T1"/>
                  </a:cxn>
                  <a:cxn ang="0">
                    <a:pos x="T2" y="T3"/>
                  </a:cxn>
                  <a:cxn ang="0">
                    <a:pos x="T4" y="T5"/>
                  </a:cxn>
                  <a:cxn ang="0">
                    <a:pos x="T6" y="T7"/>
                  </a:cxn>
                  <a:cxn ang="0">
                    <a:pos x="T8" y="T9"/>
                  </a:cxn>
                </a:cxnLst>
                <a:rect l="0" t="0" r="r" b="b"/>
                <a:pathLst>
                  <a:path w="21" h="12">
                    <a:moveTo>
                      <a:pt x="21" y="12"/>
                    </a:moveTo>
                    <a:cubicBezTo>
                      <a:pt x="21" y="12"/>
                      <a:pt x="21" y="11"/>
                      <a:pt x="20" y="11"/>
                    </a:cubicBezTo>
                    <a:cubicBezTo>
                      <a:pt x="18" y="7"/>
                      <a:pt x="15" y="4"/>
                      <a:pt x="14" y="0"/>
                    </a:cubicBezTo>
                    <a:cubicBezTo>
                      <a:pt x="0" y="0"/>
                      <a:pt x="0" y="0"/>
                      <a:pt x="0" y="0"/>
                    </a:cubicBezTo>
                    <a:cubicBezTo>
                      <a:pt x="5" y="7"/>
                      <a:pt x="12" y="11"/>
                      <a:pt x="2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56" name="Freeform 208">
                <a:extLst>
                  <a:ext uri="{FF2B5EF4-FFF2-40B4-BE49-F238E27FC236}">
                    <a16:creationId xmlns:a16="http://schemas.microsoft.com/office/drawing/2014/main" id="{36FCD60D-C250-2C95-C105-E9AA637C81B2}"/>
                  </a:ext>
                </a:extLst>
              </p:cNvPr>
              <p:cNvSpPr>
                <a:spLocks/>
              </p:cNvSpPr>
              <p:nvPr/>
            </p:nvSpPr>
            <p:spPr bwMode="auto">
              <a:xfrm>
                <a:off x="5021263" y="3052763"/>
                <a:ext cx="79375" cy="46038"/>
              </a:xfrm>
              <a:custGeom>
                <a:avLst/>
                <a:gdLst>
                  <a:gd name="T0" fmla="*/ 7 w 21"/>
                  <a:gd name="T1" fmla="*/ 0 h 12"/>
                  <a:gd name="T2" fmla="*/ 1 w 21"/>
                  <a:gd name="T3" fmla="*/ 11 h 12"/>
                  <a:gd name="T4" fmla="*/ 0 w 21"/>
                  <a:gd name="T5" fmla="*/ 12 h 12"/>
                  <a:gd name="T6" fmla="*/ 0 w 21"/>
                  <a:gd name="T7" fmla="*/ 12 h 12"/>
                  <a:gd name="T8" fmla="*/ 21 w 21"/>
                  <a:gd name="T9" fmla="*/ 0 h 12"/>
                  <a:gd name="T10" fmla="*/ 7 w 21"/>
                  <a:gd name="T11" fmla="*/ 0 h 12"/>
                </a:gdLst>
                <a:ahLst/>
                <a:cxnLst>
                  <a:cxn ang="0">
                    <a:pos x="T0" y="T1"/>
                  </a:cxn>
                  <a:cxn ang="0">
                    <a:pos x="T2" y="T3"/>
                  </a:cxn>
                  <a:cxn ang="0">
                    <a:pos x="T4" y="T5"/>
                  </a:cxn>
                  <a:cxn ang="0">
                    <a:pos x="T6" y="T7"/>
                  </a:cxn>
                  <a:cxn ang="0">
                    <a:pos x="T8" y="T9"/>
                  </a:cxn>
                  <a:cxn ang="0">
                    <a:pos x="T10" y="T11"/>
                  </a:cxn>
                </a:cxnLst>
                <a:rect l="0" t="0" r="r" b="b"/>
                <a:pathLst>
                  <a:path w="21" h="12">
                    <a:moveTo>
                      <a:pt x="7" y="0"/>
                    </a:moveTo>
                    <a:cubicBezTo>
                      <a:pt x="6" y="4"/>
                      <a:pt x="3" y="7"/>
                      <a:pt x="1" y="11"/>
                    </a:cubicBezTo>
                    <a:cubicBezTo>
                      <a:pt x="0" y="12"/>
                      <a:pt x="0" y="12"/>
                      <a:pt x="0" y="12"/>
                    </a:cubicBezTo>
                    <a:cubicBezTo>
                      <a:pt x="0" y="12"/>
                      <a:pt x="0" y="12"/>
                      <a:pt x="0" y="12"/>
                    </a:cubicBezTo>
                    <a:cubicBezTo>
                      <a:pt x="9" y="11"/>
                      <a:pt x="16" y="7"/>
                      <a:pt x="21" y="0"/>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57" name="Freeform 209">
                <a:extLst>
                  <a:ext uri="{FF2B5EF4-FFF2-40B4-BE49-F238E27FC236}">
                    <a16:creationId xmlns:a16="http://schemas.microsoft.com/office/drawing/2014/main" id="{113A0345-F8BF-D17C-6E4D-1FCD49848E5F}"/>
                  </a:ext>
                </a:extLst>
              </p:cNvPr>
              <p:cNvSpPr>
                <a:spLocks/>
              </p:cNvSpPr>
              <p:nvPr/>
            </p:nvSpPr>
            <p:spPr bwMode="auto">
              <a:xfrm>
                <a:off x="4927600" y="2887663"/>
                <a:ext cx="79375" cy="44450"/>
              </a:xfrm>
              <a:custGeom>
                <a:avLst/>
                <a:gdLst>
                  <a:gd name="T0" fmla="*/ 13 w 21"/>
                  <a:gd name="T1" fmla="*/ 12 h 12"/>
                  <a:gd name="T2" fmla="*/ 20 w 21"/>
                  <a:gd name="T3" fmla="*/ 1 h 12"/>
                  <a:gd name="T4" fmla="*/ 21 w 21"/>
                  <a:gd name="T5" fmla="*/ 0 h 12"/>
                  <a:gd name="T6" fmla="*/ 21 w 21"/>
                  <a:gd name="T7" fmla="*/ 0 h 12"/>
                  <a:gd name="T8" fmla="*/ 0 w 21"/>
                  <a:gd name="T9" fmla="*/ 12 h 12"/>
                  <a:gd name="T10" fmla="*/ 13 w 21"/>
                  <a:gd name="T11" fmla="*/ 12 h 12"/>
                </a:gdLst>
                <a:ahLst/>
                <a:cxnLst>
                  <a:cxn ang="0">
                    <a:pos x="T0" y="T1"/>
                  </a:cxn>
                  <a:cxn ang="0">
                    <a:pos x="T2" y="T3"/>
                  </a:cxn>
                  <a:cxn ang="0">
                    <a:pos x="T4" y="T5"/>
                  </a:cxn>
                  <a:cxn ang="0">
                    <a:pos x="T6" y="T7"/>
                  </a:cxn>
                  <a:cxn ang="0">
                    <a:pos x="T8" y="T9"/>
                  </a:cxn>
                  <a:cxn ang="0">
                    <a:pos x="T10" y="T11"/>
                  </a:cxn>
                </a:cxnLst>
                <a:rect l="0" t="0" r="r" b="b"/>
                <a:pathLst>
                  <a:path w="21" h="12">
                    <a:moveTo>
                      <a:pt x="13" y="12"/>
                    </a:moveTo>
                    <a:cubicBezTo>
                      <a:pt x="15" y="8"/>
                      <a:pt x="17" y="4"/>
                      <a:pt x="20" y="1"/>
                    </a:cubicBezTo>
                    <a:cubicBezTo>
                      <a:pt x="21" y="0"/>
                      <a:pt x="21" y="0"/>
                      <a:pt x="21" y="0"/>
                    </a:cubicBezTo>
                    <a:cubicBezTo>
                      <a:pt x="21" y="0"/>
                      <a:pt x="21" y="0"/>
                      <a:pt x="21" y="0"/>
                    </a:cubicBezTo>
                    <a:cubicBezTo>
                      <a:pt x="12" y="1"/>
                      <a:pt x="4" y="5"/>
                      <a:pt x="0" y="12"/>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58" name="Freeform 210">
                <a:extLst>
                  <a:ext uri="{FF2B5EF4-FFF2-40B4-BE49-F238E27FC236}">
                    <a16:creationId xmlns:a16="http://schemas.microsoft.com/office/drawing/2014/main" id="{3B40312C-83EC-E772-4799-C44997CCE07A}"/>
                  </a:ext>
                </a:extLst>
              </p:cNvPr>
              <p:cNvSpPr>
                <a:spLocks/>
              </p:cNvSpPr>
              <p:nvPr/>
            </p:nvSpPr>
            <p:spPr bwMode="auto">
              <a:xfrm>
                <a:off x="5021263" y="2887663"/>
                <a:ext cx="79375" cy="44450"/>
              </a:xfrm>
              <a:custGeom>
                <a:avLst/>
                <a:gdLst>
                  <a:gd name="T0" fmla="*/ 0 w 21"/>
                  <a:gd name="T1" fmla="*/ 0 h 12"/>
                  <a:gd name="T2" fmla="*/ 1 w 21"/>
                  <a:gd name="T3" fmla="*/ 1 h 12"/>
                  <a:gd name="T4" fmla="*/ 8 w 21"/>
                  <a:gd name="T5" fmla="*/ 12 h 12"/>
                  <a:gd name="T6" fmla="*/ 21 w 21"/>
                  <a:gd name="T7" fmla="*/ 12 h 12"/>
                  <a:gd name="T8" fmla="*/ 0 w 21"/>
                  <a:gd name="T9" fmla="*/ 0 h 12"/>
                </a:gdLst>
                <a:ahLst/>
                <a:cxnLst>
                  <a:cxn ang="0">
                    <a:pos x="T0" y="T1"/>
                  </a:cxn>
                  <a:cxn ang="0">
                    <a:pos x="T2" y="T3"/>
                  </a:cxn>
                  <a:cxn ang="0">
                    <a:pos x="T4" y="T5"/>
                  </a:cxn>
                  <a:cxn ang="0">
                    <a:pos x="T6" y="T7"/>
                  </a:cxn>
                  <a:cxn ang="0">
                    <a:pos x="T8" y="T9"/>
                  </a:cxn>
                </a:cxnLst>
                <a:rect l="0" t="0" r="r" b="b"/>
                <a:pathLst>
                  <a:path w="21" h="12">
                    <a:moveTo>
                      <a:pt x="0" y="0"/>
                    </a:moveTo>
                    <a:cubicBezTo>
                      <a:pt x="0" y="0"/>
                      <a:pt x="0" y="0"/>
                      <a:pt x="1" y="1"/>
                    </a:cubicBezTo>
                    <a:cubicBezTo>
                      <a:pt x="4" y="4"/>
                      <a:pt x="6" y="8"/>
                      <a:pt x="8" y="12"/>
                    </a:cubicBezTo>
                    <a:cubicBezTo>
                      <a:pt x="21" y="12"/>
                      <a:pt x="21" y="12"/>
                      <a:pt x="21" y="12"/>
                    </a:cubicBezTo>
                    <a:cubicBezTo>
                      <a:pt x="16" y="5"/>
                      <a:pt x="9"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59" name="Freeform 211">
                <a:extLst>
                  <a:ext uri="{FF2B5EF4-FFF2-40B4-BE49-F238E27FC236}">
                    <a16:creationId xmlns:a16="http://schemas.microsoft.com/office/drawing/2014/main" id="{759A26EB-0267-5A97-ACB1-789408AD8F04}"/>
                  </a:ext>
                </a:extLst>
              </p:cNvPr>
              <p:cNvSpPr>
                <a:spLocks/>
              </p:cNvSpPr>
              <p:nvPr/>
            </p:nvSpPr>
            <p:spPr bwMode="auto">
              <a:xfrm>
                <a:off x="5059363" y="2947988"/>
                <a:ext cx="60325" cy="38100"/>
              </a:xfrm>
              <a:custGeom>
                <a:avLst/>
                <a:gdLst>
                  <a:gd name="T0" fmla="*/ 0 w 16"/>
                  <a:gd name="T1" fmla="*/ 0 h 10"/>
                  <a:gd name="T2" fmla="*/ 1 w 16"/>
                  <a:gd name="T3" fmla="*/ 10 h 10"/>
                  <a:gd name="T4" fmla="*/ 16 w 16"/>
                  <a:gd name="T5" fmla="*/ 10 h 10"/>
                  <a:gd name="T6" fmla="*/ 13 w 16"/>
                  <a:gd name="T7" fmla="*/ 0 h 10"/>
                  <a:gd name="T8" fmla="*/ 0 w 16"/>
                  <a:gd name="T9" fmla="*/ 0 h 10"/>
                </a:gdLst>
                <a:ahLst/>
                <a:cxnLst>
                  <a:cxn ang="0">
                    <a:pos x="T0" y="T1"/>
                  </a:cxn>
                  <a:cxn ang="0">
                    <a:pos x="T2" y="T3"/>
                  </a:cxn>
                  <a:cxn ang="0">
                    <a:pos x="T4" y="T5"/>
                  </a:cxn>
                  <a:cxn ang="0">
                    <a:pos x="T6" y="T7"/>
                  </a:cxn>
                  <a:cxn ang="0">
                    <a:pos x="T8" y="T9"/>
                  </a:cxn>
                </a:cxnLst>
                <a:rect l="0" t="0" r="r" b="b"/>
                <a:pathLst>
                  <a:path w="16" h="10">
                    <a:moveTo>
                      <a:pt x="0" y="0"/>
                    </a:moveTo>
                    <a:cubicBezTo>
                      <a:pt x="1" y="3"/>
                      <a:pt x="1" y="7"/>
                      <a:pt x="1" y="10"/>
                    </a:cubicBezTo>
                    <a:cubicBezTo>
                      <a:pt x="16" y="10"/>
                      <a:pt x="16" y="10"/>
                      <a:pt x="16" y="10"/>
                    </a:cubicBezTo>
                    <a:cubicBezTo>
                      <a:pt x="16" y="6"/>
                      <a:pt x="15" y="3"/>
                      <a:pt x="1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60" name="Freeform 212">
                <a:extLst>
                  <a:ext uri="{FF2B5EF4-FFF2-40B4-BE49-F238E27FC236}">
                    <a16:creationId xmlns:a16="http://schemas.microsoft.com/office/drawing/2014/main" id="{E2D340C1-3DED-648E-4F60-8083C2086964}"/>
                  </a:ext>
                </a:extLst>
              </p:cNvPr>
              <p:cNvSpPr>
                <a:spLocks/>
              </p:cNvSpPr>
              <p:nvPr/>
            </p:nvSpPr>
            <p:spPr bwMode="auto">
              <a:xfrm>
                <a:off x="5056188" y="3000376"/>
                <a:ext cx="63500" cy="38100"/>
              </a:xfrm>
              <a:custGeom>
                <a:avLst/>
                <a:gdLst>
                  <a:gd name="T0" fmla="*/ 17 w 17"/>
                  <a:gd name="T1" fmla="*/ 0 h 10"/>
                  <a:gd name="T2" fmla="*/ 2 w 17"/>
                  <a:gd name="T3" fmla="*/ 0 h 10"/>
                  <a:gd name="T4" fmla="*/ 0 w 17"/>
                  <a:gd name="T5" fmla="*/ 10 h 10"/>
                  <a:gd name="T6" fmla="*/ 14 w 17"/>
                  <a:gd name="T7" fmla="*/ 10 h 10"/>
                  <a:gd name="T8" fmla="*/ 17 w 17"/>
                  <a:gd name="T9" fmla="*/ 0 h 10"/>
                </a:gdLst>
                <a:ahLst/>
                <a:cxnLst>
                  <a:cxn ang="0">
                    <a:pos x="T0" y="T1"/>
                  </a:cxn>
                  <a:cxn ang="0">
                    <a:pos x="T2" y="T3"/>
                  </a:cxn>
                  <a:cxn ang="0">
                    <a:pos x="T4" y="T5"/>
                  </a:cxn>
                  <a:cxn ang="0">
                    <a:pos x="T6" y="T7"/>
                  </a:cxn>
                  <a:cxn ang="0">
                    <a:pos x="T8" y="T9"/>
                  </a:cxn>
                </a:cxnLst>
                <a:rect l="0" t="0" r="r" b="b"/>
                <a:pathLst>
                  <a:path w="17" h="10">
                    <a:moveTo>
                      <a:pt x="17" y="0"/>
                    </a:moveTo>
                    <a:cubicBezTo>
                      <a:pt x="2" y="0"/>
                      <a:pt x="2" y="0"/>
                      <a:pt x="2" y="0"/>
                    </a:cubicBezTo>
                    <a:cubicBezTo>
                      <a:pt x="2" y="3"/>
                      <a:pt x="1" y="7"/>
                      <a:pt x="0" y="10"/>
                    </a:cubicBezTo>
                    <a:cubicBezTo>
                      <a:pt x="14" y="10"/>
                      <a:pt x="14" y="10"/>
                      <a:pt x="14" y="10"/>
                    </a:cubicBezTo>
                    <a:cubicBezTo>
                      <a:pt x="16" y="7"/>
                      <a:pt x="17" y="4"/>
                      <a:pt x="1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61" name="Group 60">
              <a:extLst>
                <a:ext uri="{FF2B5EF4-FFF2-40B4-BE49-F238E27FC236}">
                  <a16:creationId xmlns:a16="http://schemas.microsoft.com/office/drawing/2014/main" id="{F9522891-E5A6-1A6E-DC8E-3287E75B91BC}"/>
                </a:ext>
              </a:extLst>
            </p:cNvPr>
            <p:cNvGrpSpPr/>
            <p:nvPr/>
          </p:nvGrpSpPr>
          <p:grpSpPr>
            <a:xfrm>
              <a:off x="7475311" y="4572286"/>
              <a:ext cx="361950" cy="361951"/>
              <a:chOff x="3390900" y="1803400"/>
              <a:chExt cx="361950" cy="361951"/>
            </a:xfrm>
            <a:solidFill>
              <a:schemeClr val="bg1"/>
            </a:solidFill>
          </p:grpSpPr>
          <p:sp>
            <p:nvSpPr>
              <p:cNvPr id="62" name="Freeform 79">
                <a:extLst>
                  <a:ext uri="{FF2B5EF4-FFF2-40B4-BE49-F238E27FC236}">
                    <a16:creationId xmlns:a16="http://schemas.microsoft.com/office/drawing/2014/main" id="{61BF45F8-4D75-4AF5-5F9E-FF6FA941F71D}"/>
                  </a:ext>
                </a:extLst>
              </p:cNvPr>
              <p:cNvSpPr>
                <a:spLocks/>
              </p:cNvSpPr>
              <p:nvPr/>
            </p:nvSpPr>
            <p:spPr bwMode="auto">
              <a:xfrm>
                <a:off x="3511550" y="1992313"/>
                <a:ext cx="120650" cy="74613"/>
              </a:xfrm>
              <a:custGeom>
                <a:avLst/>
                <a:gdLst>
                  <a:gd name="T0" fmla="*/ 28 w 32"/>
                  <a:gd name="T1" fmla="*/ 20 h 20"/>
                  <a:gd name="T2" fmla="*/ 32 w 32"/>
                  <a:gd name="T3" fmla="*/ 0 h 20"/>
                  <a:gd name="T4" fmla="*/ 0 w 32"/>
                  <a:gd name="T5" fmla="*/ 0 h 20"/>
                  <a:gd name="T6" fmla="*/ 4 w 32"/>
                  <a:gd name="T7" fmla="*/ 20 h 20"/>
                  <a:gd name="T8" fmla="*/ 28 w 32"/>
                  <a:gd name="T9" fmla="*/ 20 h 20"/>
                </a:gdLst>
                <a:ahLst/>
                <a:cxnLst>
                  <a:cxn ang="0">
                    <a:pos x="T0" y="T1"/>
                  </a:cxn>
                  <a:cxn ang="0">
                    <a:pos x="T2" y="T3"/>
                  </a:cxn>
                  <a:cxn ang="0">
                    <a:pos x="T4" y="T5"/>
                  </a:cxn>
                  <a:cxn ang="0">
                    <a:pos x="T6" y="T7"/>
                  </a:cxn>
                  <a:cxn ang="0">
                    <a:pos x="T8" y="T9"/>
                  </a:cxn>
                </a:cxnLst>
                <a:rect l="0" t="0" r="r" b="b"/>
                <a:pathLst>
                  <a:path w="32" h="20">
                    <a:moveTo>
                      <a:pt x="28" y="20"/>
                    </a:moveTo>
                    <a:cubicBezTo>
                      <a:pt x="30" y="13"/>
                      <a:pt x="31" y="7"/>
                      <a:pt x="32" y="0"/>
                    </a:cubicBezTo>
                    <a:cubicBezTo>
                      <a:pt x="0" y="0"/>
                      <a:pt x="0" y="0"/>
                      <a:pt x="0" y="0"/>
                    </a:cubicBezTo>
                    <a:cubicBezTo>
                      <a:pt x="1" y="7"/>
                      <a:pt x="2" y="13"/>
                      <a:pt x="4" y="20"/>
                    </a:cubicBezTo>
                    <a:lnTo>
                      <a:pt x="28"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64" name="Freeform 80">
                <a:extLst>
                  <a:ext uri="{FF2B5EF4-FFF2-40B4-BE49-F238E27FC236}">
                    <a16:creationId xmlns:a16="http://schemas.microsoft.com/office/drawing/2014/main" id="{FCCD233B-798C-33C0-8812-C48DEE1C5938}"/>
                  </a:ext>
                </a:extLst>
              </p:cNvPr>
              <p:cNvSpPr>
                <a:spLocks/>
              </p:cNvSpPr>
              <p:nvPr/>
            </p:nvSpPr>
            <p:spPr bwMode="auto">
              <a:xfrm>
                <a:off x="3511550" y="1901825"/>
                <a:ext cx="120650" cy="74613"/>
              </a:xfrm>
              <a:custGeom>
                <a:avLst/>
                <a:gdLst>
                  <a:gd name="T0" fmla="*/ 29 w 32"/>
                  <a:gd name="T1" fmla="*/ 0 h 20"/>
                  <a:gd name="T2" fmla="*/ 3 w 32"/>
                  <a:gd name="T3" fmla="*/ 0 h 20"/>
                  <a:gd name="T4" fmla="*/ 0 w 32"/>
                  <a:gd name="T5" fmla="*/ 20 h 20"/>
                  <a:gd name="T6" fmla="*/ 32 w 32"/>
                  <a:gd name="T7" fmla="*/ 20 h 20"/>
                  <a:gd name="T8" fmla="*/ 29 w 32"/>
                  <a:gd name="T9" fmla="*/ 0 h 20"/>
                </a:gdLst>
                <a:ahLst/>
                <a:cxnLst>
                  <a:cxn ang="0">
                    <a:pos x="T0" y="T1"/>
                  </a:cxn>
                  <a:cxn ang="0">
                    <a:pos x="T2" y="T3"/>
                  </a:cxn>
                  <a:cxn ang="0">
                    <a:pos x="T4" y="T5"/>
                  </a:cxn>
                  <a:cxn ang="0">
                    <a:pos x="T6" y="T7"/>
                  </a:cxn>
                  <a:cxn ang="0">
                    <a:pos x="T8" y="T9"/>
                  </a:cxn>
                </a:cxnLst>
                <a:rect l="0" t="0" r="r" b="b"/>
                <a:pathLst>
                  <a:path w="32" h="20">
                    <a:moveTo>
                      <a:pt x="29" y="0"/>
                    </a:moveTo>
                    <a:cubicBezTo>
                      <a:pt x="3" y="0"/>
                      <a:pt x="3" y="0"/>
                      <a:pt x="3" y="0"/>
                    </a:cubicBezTo>
                    <a:cubicBezTo>
                      <a:pt x="1" y="6"/>
                      <a:pt x="0" y="13"/>
                      <a:pt x="0" y="20"/>
                    </a:cubicBezTo>
                    <a:cubicBezTo>
                      <a:pt x="32" y="20"/>
                      <a:pt x="32" y="20"/>
                      <a:pt x="32" y="20"/>
                    </a:cubicBezTo>
                    <a:cubicBezTo>
                      <a:pt x="32" y="13"/>
                      <a:pt x="31" y="6"/>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66" name="Freeform 81">
                <a:extLst>
                  <a:ext uri="{FF2B5EF4-FFF2-40B4-BE49-F238E27FC236}">
                    <a16:creationId xmlns:a16="http://schemas.microsoft.com/office/drawing/2014/main" id="{B2164D77-E654-5945-8D5A-8BA377794D77}"/>
                  </a:ext>
                </a:extLst>
              </p:cNvPr>
              <p:cNvSpPr>
                <a:spLocks/>
              </p:cNvSpPr>
              <p:nvPr/>
            </p:nvSpPr>
            <p:spPr bwMode="auto">
              <a:xfrm>
                <a:off x="3530600" y="2081213"/>
                <a:ext cx="82550" cy="79375"/>
              </a:xfrm>
              <a:custGeom>
                <a:avLst/>
                <a:gdLst>
                  <a:gd name="T0" fmla="*/ 0 w 22"/>
                  <a:gd name="T1" fmla="*/ 0 h 21"/>
                  <a:gd name="T2" fmla="*/ 11 w 22"/>
                  <a:gd name="T3" fmla="*/ 21 h 21"/>
                  <a:gd name="T4" fmla="*/ 22 w 22"/>
                  <a:gd name="T5" fmla="*/ 0 h 21"/>
                  <a:gd name="T6" fmla="*/ 0 w 22"/>
                  <a:gd name="T7" fmla="*/ 0 h 21"/>
                </a:gdLst>
                <a:ahLst/>
                <a:cxnLst>
                  <a:cxn ang="0">
                    <a:pos x="T0" y="T1"/>
                  </a:cxn>
                  <a:cxn ang="0">
                    <a:pos x="T2" y="T3"/>
                  </a:cxn>
                  <a:cxn ang="0">
                    <a:pos x="T4" y="T5"/>
                  </a:cxn>
                  <a:cxn ang="0">
                    <a:pos x="T6" y="T7"/>
                  </a:cxn>
                </a:cxnLst>
                <a:rect l="0" t="0" r="r" b="b"/>
                <a:pathLst>
                  <a:path w="22" h="21">
                    <a:moveTo>
                      <a:pt x="0" y="0"/>
                    </a:moveTo>
                    <a:cubicBezTo>
                      <a:pt x="3" y="7"/>
                      <a:pt x="6" y="14"/>
                      <a:pt x="11" y="21"/>
                    </a:cubicBezTo>
                    <a:cubicBezTo>
                      <a:pt x="16" y="14"/>
                      <a:pt x="19" y="7"/>
                      <a:pt x="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67" name="Freeform 82">
                <a:extLst>
                  <a:ext uri="{FF2B5EF4-FFF2-40B4-BE49-F238E27FC236}">
                    <a16:creationId xmlns:a16="http://schemas.microsoft.com/office/drawing/2014/main" id="{D7AFCD26-EB56-C349-E45E-C27BD3384916}"/>
                  </a:ext>
                </a:extLst>
              </p:cNvPr>
              <p:cNvSpPr>
                <a:spLocks/>
              </p:cNvSpPr>
              <p:nvPr/>
            </p:nvSpPr>
            <p:spPr bwMode="auto">
              <a:xfrm>
                <a:off x="3527425" y="1806575"/>
                <a:ext cx="88900" cy="79375"/>
              </a:xfrm>
              <a:custGeom>
                <a:avLst/>
                <a:gdLst>
                  <a:gd name="T0" fmla="*/ 24 w 24"/>
                  <a:gd name="T1" fmla="*/ 21 h 21"/>
                  <a:gd name="T2" fmla="*/ 12 w 24"/>
                  <a:gd name="T3" fmla="*/ 0 h 21"/>
                  <a:gd name="T4" fmla="*/ 0 w 24"/>
                  <a:gd name="T5" fmla="*/ 21 h 21"/>
                  <a:gd name="T6" fmla="*/ 24 w 24"/>
                  <a:gd name="T7" fmla="*/ 21 h 21"/>
                </a:gdLst>
                <a:ahLst/>
                <a:cxnLst>
                  <a:cxn ang="0">
                    <a:pos x="T0" y="T1"/>
                  </a:cxn>
                  <a:cxn ang="0">
                    <a:pos x="T2" y="T3"/>
                  </a:cxn>
                  <a:cxn ang="0">
                    <a:pos x="T4" y="T5"/>
                  </a:cxn>
                  <a:cxn ang="0">
                    <a:pos x="T6" y="T7"/>
                  </a:cxn>
                </a:cxnLst>
                <a:rect l="0" t="0" r="r" b="b"/>
                <a:pathLst>
                  <a:path w="24" h="21">
                    <a:moveTo>
                      <a:pt x="24" y="21"/>
                    </a:moveTo>
                    <a:cubicBezTo>
                      <a:pt x="21" y="13"/>
                      <a:pt x="17" y="6"/>
                      <a:pt x="12" y="0"/>
                    </a:cubicBezTo>
                    <a:cubicBezTo>
                      <a:pt x="7" y="6"/>
                      <a:pt x="3" y="13"/>
                      <a:pt x="0" y="21"/>
                    </a:cubicBezTo>
                    <a:lnTo>
                      <a:pt x="24"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68" name="Freeform 83">
                <a:extLst>
                  <a:ext uri="{FF2B5EF4-FFF2-40B4-BE49-F238E27FC236}">
                    <a16:creationId xmlns:a16="http://schemas.microsoft.com/office/drawing/2014/main" id="{7F61D2AF-ADB4-7100-C056-C18FF96034AC}"/>
                  </a:ext>
                </a:extLst>
              </p:cNvPr>
              <p:cNvSpPr>
                <a:spLocks/>
              </p:cNvSpPr>
              <p:nvPr/>
            </p:nvSpPr>
            <p:spPr bwMode="auto">
              <a:xfrm>
                <a:off x="3590925" y="1803400"/>
                <a:ext cx="131763" cy="82550"/>
              </a:xfrm>
              <a:custGeom>
                <a:avLst/>
                <a:gdLst>
                  <a:gd name="T0" fmla="*/ 35 w 35"/>
                  <a:gd name="T1" fmla="*/ 22 h 22"/>
                  <a:gd name="T2" fmla="*/ 0 w 35"/>
                  <a:gd name="T3" fmla="*/ 0 h 22"/>
                  <a:gd name="T4" fmla="*/ 11 w 35"/>
                  <a:gd name="T5" fmla="*/ 22 h 22"/>
                  <a:gd name="T6" fmla="*/ 35 w 35"/>
                  <a:gd name="T7" fmla="*/ 22 h 22"/>
                </a:gdLst>
                <a:ahLst/>
                <a:cxnLst>
                  <a:cxn ang="0">
                    <a:pos x="T0" y="T1"/>
                  </a:cxn>
                  <a:cxn ang="0">
                    <a:pos x="T2" y="T3"/>
                  </a:cxn>
                  <a:cxn ang="0">
                    <a:pos x="T4" y="T5"/>
                  </a:cxn>
                  <a:cxn ang="0">
                    <a:pos x="T6" y="T7"/>
                  </a:cxn>
                </a:cxnLst>
                <a:rect l="0" t="0" r="r" b="b"/>
                <a:pathLst>
                  <a:path w="35" h="22">
                    <a:moveTo>
                      <a:pt x="35" y="22"/>
                    </a:moveTo>
                    <a:cubicBezTo>
                      <a:pt x="27" y="10"/>
                      <a:pt x="15" y="2"/>
                      <a:pt x="0" y="0"/>
                    </a:cubicBezTo>
                    <a:cubicBezTo>
                      <a:pt x="5" y="7"/>
                      <a:pt x="9" y="14"/>
                      <a:pt x="11" y="22"/>
                    </a:cubicBezTo>
                    <a:lnTo>
                      <a:pt x="35"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69" name="Freeform 84">
                <a:extLst>
                  <a:ext uri="{FF2B5EF4-FFF2-40B4-BE49-F238E27FC236}">
                    <a16:creationId xmlns:a16="http://schemas.microsoft.com/office/drawing/2014/main" id="{BF41B37B-92A2-B546-963F-B3EFBACEBF4C}"/>
                  </a:ext>
                </a:extLst>
              </p:cNvPr>
              <p:cNvSpPr>
                <a:spLocks/>
              </p:cNvSpPr>
              <p:nvPr/>
            </p:nvSpPr>
            <p:spPr bwMode="auto">
              <a:xfrm>
                <a:off x="3390900" y="1901825"/>
                <a:ext cx="117475" cy="74613"/>
              </a:xfrm>
              <a:custGeom>
                <a:avLst/>
                <a:gdLst>
                  <a:gd name="T0" fmla="*/ 31 w 31"/>
                  <a:gd name="T1" fmla="*/ 0 h 20"/>
                  <a:gd name="T2" fmla="*/ 5 w 31"/>
                  <a:gd name="T3" fmla="*/ 0 h 20"/>
                  <a:gd name="T4" fmla="*/ 0 w 31"/>
                  <a:gd name="T5" fmla="*/ 20 h 20"/>
                  <a:gd name="T6" fmla="*/ 28 w 31"/>
                  <a:gd name="T7" fmla="*/ 20 h 20"/>
                  <a:gd name="T8" fmla="*/ 31 w 31"/>
                  <a:gd name="T9" fmla="*/ 0 h 20"/>
                </a:gdLst>
                <a:ahLst/>
                <a:cxnLst>
                  <a:cxn ang="0">
                    <a:pos x="T0" y="T1"/>
                  </a:cxn>
                  <a:cxn ang="0">
                    <a:pos x="T2" y="T3"/>
                  </a:cxn>
                  <a:cxn ang="0">
                    <a:pos x="T4" y="T5"/>
                  </a:cxn>
                  <a:cxn ang="0">
                    <a:pos x="T6" y="T7"/>
                  </a:cxn>
                  <a:cxn ang="0">
                    <a:pos x="T8" y="T9"/>
                  </a:cxn>
                </a:cxnLst>
                <a:rect l="0" t="0" r="r" b="b"/>
                <a:pathLst>
                  <a:path w="31" h="20">
                    <a:moveTo>
                      <a:pt x="31" y="0"/>
                    </a:moveTo>
                    <a:cubicBezTo>
                      <a:pt x="5" y="0"/>
                      <a:pt x="5" y="0"/>
                      <a:pt x="5" y="0"/>
                    </a:cubicBezTo>
                    <a:cubicBezTo>
                      <a:pt x="2" y="6"/>
                      <a:pt x="0" y="13"/>
                      <a:pt x="0" y="20"/>
                    </a:cubicBezTo>
                    <a:cubicBezTo>
                      <a:pt x="28" y="20"/>
                      <a:pt x="28" y="20"/>
                      <a:pt x="28" y="20"/>
                    </a:cubicBezTo>
                    <a:cubicBezTo>
                      <a:pt x="28" y="13"/>
                      <a:pt x="29" y="6"/>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70" name="Freeform 85">
                <a:extLst>
                  <a:ext uri="{FF2B5EF4-FFF2-40B4-BE49-F238E27FC236}">
                    <a16:creationId xmlns:a16="http://schemas.microsoft.com/office/drawing/2014/main" id="{630E3530-6026-600B-035F-E4338D6AD3AA}"/>
                  </a:ext>
                </a:extLst>
              </p:cNvPr>
              <p:cNvSpPr>
                <a:spLocks/>
              </p:cNvSpPr>
              <p:nvPr/>
            </p:nvSpPr>
            <p:spPr bwMode="auto">
              <a:xfrm>
                <a:off x="3417888" y="1803400"/>
                <a:ext cx="134938" cy="82550"/>
              </a:xfrm>
              <a:custGeom>
                <a:avLst/>
                <a:gdLst>
                  <a:gd name="T0" fmla="*/ 36 w 36"/>
                  <a:gd name="T1" fmla="*/ 0 h 22"/>
                  <a:gd name="T2" fmla="*/ 0 w 36"/>
                  <a:gd name="T3" fmla="*/ 22 h 22"/>
                  <a:gd name="T4" fmla="*/ 25 w 36"/>
                  <a:gd name="T5" fmla="*/ 22 h 22"/>
                  <a:gd name="T6" fmla="*/ 36 w 36"/>
                  <a:gd name="T7" fmla="*/ 0 h 22"/>
                </a:gdLst>
                <a:ahLst/>
                <a:cxnLst>
                  <a:cxn ang="0">
                    <a:pos x="T0" y="T1"/>
                  </a:cxn>
                  <a:cxn ang="0">
                    <a:pos x="T2" y="T3"/>
                  </a:cxn>
                  <a:cxn ang="0">
                    <a:pos x="T4" y="T5"/>
                  </a:cxn>
                  <a:cxn ang="0">
                    <a:pos x="T6" y="T7"/>
                  </a:cxn>
                </a:cxnLst>
                <a:rect l="0" t="0" r="r" b="b"/>
                <a:pathLst>
                  <a:path w="36" h="22">
                    <a:moveTo>
                      <a:pt x="36" y="0"/>
                    </a:moveTo>
                    <a:cubicBezTo>
                      <a:pt x="21" y="2"/>
                      <a:pt x="8" y="10"/>
                      <a:pt x="0" y="22"/>
                    </a:cubicBezTo>
                    <a:cubicBezTo>
                      <a:pt x="25" y="22"/>
                      <a:pt x="25" y="22"/>
                      <a:pt x="25" y="22"/>
                    </a:cubicBezTo>
                    <a:cubicBezTo>
                      <a:pt x="27" y="14"/>
                      <a:pt x="31" y="7"/>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71" name="Freeform 86">
                <a:extLst>
                  <a:ext uri="{FF2B5EF4-FFF2-40B4-BE49-F238E27FC236}">
                    <a16:creationId xmlns:a16="http://schemas.microsoft.com/office/drawing/2014/main" id="{AE6B873D-39D4-0D3F-4B97-1BB466493ABE}"/>
                  </a:ext>
                </a:extLst>
              </p:cNvPr>
              <p:cNvSpPr>
                <a:spLocks/>
              </p:cNvSpPr>
              <p:nvPr/>
            </p:nvSpPr>
            <p:spPr bwMode="auto">
              <a:xfrm>
                <a:off x="3632200" y="1992313"/>
                <a:ext cx="120650" cy="74613"/>
              </a:xfrm>
              <a:custGeom>
                <a:avLst/>
                <a:gdLst>
                  <a:gd name="T0" fmla="*/ 0 w 32"/>
                  <a:gd name="T1" fmla="*/ 20 h 20"/>
                  <a:gd name="T2" fmla="*/ 27 w 32"/>
                  <a:gd name="T3" fmla="*/ 20 h 20"/>
                  <a:gd name="T4" fmla="*/ 32 w 32"/>
                  <a:gd name="T5" fmla="*/ 0 h 20"/>
                  <a:gd name="T6" fmla="*/ 4 w 32"/>
                  <a:gd name="T7" fmla="*/ 0 h 20"/>
                  <a:gd name="T8" fmla="*/ 0 w 32"/>
                  <a:gd name="T9" fmla="*/ 20 h 20"/>
                </a:gdLst>
                <a:ahLst/>
                <a:cxnLst>
                  <a:cxn ang="0">
                    <a:pos x="T0" y="T1"/>
                  </a:cxn>
                  <a:cxn ang="0">
                    <a:pos x="T2" y="T3"/>
                  </a:cxn>
                  <a:cxn ang="0">
                    <a:pos x="T4" y="T5"/>
                  </a:cxn>
                  <a:cxn ang="0">
                    <a:pos x="T6" y="T7"/>
                  </a:cxn>
                  <a:cxn ang="0">
                    <a:pos x="T8" y="T9"/>
                  </a:cxn>
                </a:cxnLst>
                <a:rect l="0" t="0" r="r" b="b"/>
                <a:pathLst>
                  <a:path w="32" h="20">
                    <a:moveTo>
                      <a:pt x="0" y="20"/>
                    </a:moveTo>
                    <a:cubicBezTo>
                      <a:pt x="27" y="20"/>
                      <a:pt x="27" y="20"/>
                      <a:pt x="27" y="20"/>
                    </a:cubicBezTo>
                    <a:cubicBezTo>
                      <a:pt x="30" y="14"/>
                      <a:pt x="32" y="7"/>
                      <a:pt x="32" y="0"/>
                    </a:cubicBezTo>
                    <a:cubicBezTo>
                      <a:pt x="4" y="0"/>
                      <a:pt x="4" y="0"/>
                      <a:pt x="4" y="0"/>
                    </a:cubicBezTo>
                    <a:cubicBezTo>
                      <a:pt x="4" y="7"/>
                      <a:pt x="2" y="13"/>
                      <a:pt x="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72" name="Freeform 87">
                <a:extLst>
                  <a:ext uri="{FF2B5EF4-FFF2-40B4-BE49-F238E27FC236}">
                    <a16:creationId xmlns:a16="http://schemas.microsoft.com/office/drawing/2014/main" id="{1F8AC750-390C-D1FD-AD03-2443018582C6}"/>
                  </a:ext>
                </a:extLst>
              </p:cNvPr>
              <p:cNvSpPr>
                <a:spLocks/>
              </p:cNvSpPr>
              <p:nvPr/>
            </p:nvSpPr>
            <p:spPr bwMode="auto">
              <a:xfrm>
                <a:off x="3635375" y="1901825"/>
                <a:ext cx="117475" cy="74613"/>
              </a:xfrm>
              <a:custGeom>
                <a:avLst/>
                <a:gdLst>
                  <a:gd name="T0" fmla="*/ 3 w 31"/>
                  <a:gd name="T1" fmla="*/ 20 h 20"/>
                  <a:gd name="T2" fmla="*/ 31 w 31"/>
                  <a:gd name="T3" fmla="*/ 20 h 20"/>
                  <a:gd name="T4" fmla="*/ 26 w 31"/>
                  <a:gd name="T5" fmla="*/ 0 h 20"/>
                  <a:gd name="T6" fmla="*/ 0 w 31"/>
                  <a:gd name="T7" fmla="*/ 0 h 20"/>
                  <a:gd name="T8" fmla="*/ 3 w 31"/>
                  <a:gd name="T9" fmla="*/ 20 h 20"/>
                </a:gdLst>
                <a:ahLst/>
                <a:cxnLst>
                  <a:cxn ang="0">
                    <a:pos x="T0" y="T1"/>
                  </a:cxn>
                  <a:cxn ang="0">
                    <a:pos x="T2" y="T3"/>
                  </a:cxn>
                  <a:cxn ang="0">
                    <a:pos x="T4" y="T5"/>
                  </a:cxn>
                  <a:cxn ang="0">
                    <a:pos x="T6" y="T7"/>
                  </a:cxn>
                  <a:cxn ang="0">
                    <a:pos x="T8" y="T9"/>
                  </a:cxn>
                </a:cxnLst>
                <a:rect l="0" t="0" r="r" b="b"/>
                <a:pathLst>
                  <a:path w="31" h="20">
                    <a:moveTo>
                      <a:pt x="3" y="20"/>
                    </a:moveTo>
                    <a:cubicBezTo>
                      <a:pt x="31" y="20"/>
                      <a:pt x="31" y="20"/>
                      <a:pt x="31" y="20"/>
                    </a:cubicBezTo>
                    <a:cubicBezTo>
                      <a:pt x="31" y="13"/>
                      <a:pt x="29" y="6"/>
                      <a:pt x="26" y="0"/>
                    </a:cubicBezTo>
                    <a:cubicBezTo>
                      <a:pt x="0" y="0"/>
                      <a:pt x="0" y="0"/>
                      <a:pt x="0" y="0"/>
                    </a:cubicBezTo>
                    <a:cubicBezTo>
                      <a:pt x="2" y="6"/>
                      <a:pt x="3" y="13"/>
                      <a:pt x="3"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73" name="Freeform 88">
                <a:extLst>
                  <a:ext uri="{FF2B5EF4-FFF2-40B4-BE49-F238E27FC236}">
                    <a16:creationId xmlns:a16="http://schemas.microsoft.com/office/drawing/2014/main" id="{7FF9BFAB-8FEB-CB36-4D9D-1343CA9D1721}"/>
                  </a:ext>
                </a:extLst>
              </p:cNvPr>
              <p:cNvSpPr>
                <a:spLocks/>
              </p:cNvSpPr>
              <p:nvPr/>
            </p:nvSpPr>
            <p:spPr bwMode="auto">
              <a:xfrm>
                <a:off x="3390900" y="1992313"/>
                <a:ext cx="120650" cy="74613"/>
              </a:xfrm>
              <a:custGeom>
                <a:avLst/>
                <a:gdLst>
                  <a:gd name="T0" fmla="*/ 28 w 32"/>
                  <a:gd name="T1" fmla="*/ 0 h 20"/>
                  <a:gd name="T2" fmla="*/ 0 w 32"/>
                  <a:gd name="T3" fmla="*/ 0 h 20"/>
                  <a:gd name="T4" fmla="*/ 6 w 32"/>
                  <a:gd name="T5" fmla="*/ 20 h 20"/>
                  <a:gd name="T6" fmla="*/ 32 w 32"/>
                  <a:gd name="T7" fmla="*/ 20 h 20"/>
                  <a:gd name="T8" fmla="*/ 28 w 32"/>
                  <a:gd name="T9" fmla="*/ 0 h 20"/>
                </a:gdLst>
                <a:ahLst/>
                <a:cxnLst>
                  <a:cxn ang="0">
                    <a:pos x="T0" y="T1"/>
                  </a:cxn>
                  <a:cxn ang="0">
                    <a:pos x="T2" y="T3"/>
                  </a:cxn>
                  <a:cxn ang="0">
                    <a:pos x="T4" y="T5"/>
                  </a:cxn>
                  <a:cxn ang="0">
                    <a:pos x="T6" y="T7"/>
                  </a:cxn>
                  <a:cxn ang="0">
                    <a:pos x="T8" y="T9"/>
                  </a:cxn>
                </a:cxnLst>
                <a:rect l="0" t="0" r="r" b="b"/>
                <a:pathLst>
                  <a:path w="32" h="20">
                    <a:moveTo>
                      <a:pt x="28" y="0"/>
                    </a:moveTo>
                    <a:cubicBezTo>
                      <a:pt x="0" y="0"/>
                      <a:pt x="0" y="0"/>
                      <a:pt x="0" y="0"/>
                    </a:cubicBezTo>
                    <a:cubicBezTo>
                      <a:pt x="0" y="7"/>
                      <a:pt x="2" y="14"/>
                      <a:pt x="6" y="20"/>
                    </a:cubicBezTo>
                    <a:cubicBezTo>
                      <a:pt x="32" y="20"/>
                      <a:pt x="32" y="20"/>
                      <a:pt x="32" y="20"/>
                    </a:cubicBezTo>
                    <a:cubicBezTo>
                      <a:pt x="30" y="13"/>
                      <a:pt x="28" y="7"/>
                      <a:pt x="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74" name="Freeform 89">
                <a:extLst>
                  <a:ext uri="{FF2B5EF4-FFF2-40B4-BE49-F238E27FC236}">
                    <a16:creationId xmlns:a16="http://schemas.microsoft.com/office/drawing/2014/main" id="{363F0259-E246-0A30-A57B-BA113A5FE80D}"/>
                  </a:ext>
                </a:extLst>
              </p:cNvPr>
              <p:cNvSpPr>
                <a:spLocks/>
              </p:cNvSpPr>
              <p:nvPr/>
            </p:nvSpPr>
            <p:spPr bwMode="auto">
              <a:xfrm>
                <a:off x="3421063" y="2081213"/>
                <a:ext cx="136525" cy="84138"/>
              </a:xfrm>
              <a:custGeom>
                <a:avLst/>
                <a:gdLst>
                  <a:gd name="T0" fmla="*/ 0 w 36"/>
                  <a:gd name="T1" fmla="*/ 0 h 22"/>
                  <a:gd name="T2" fmla="*/ 36 w 36"/>
                  <a:gd name="T3" fmla="*/ 22 h 22"/>
                  <a:gd name="T4" fmla="*/ 25 w 36"/>
                  <a:gd name="T5" fmla="*/ 0 h 22"/>
                  <a:gd name="T6" fmla="*/ 0 w 36"/>
                  <a:gd name="T7" fmla="*/ 0 h 22"/>
                </a:gdLst>
                <a:ahLst/>
                <a:cxnLst>
                  <a:cxn ang="0">
                    <a:pos x="T0" y="T1"/>
                  </a:cxn>
                  <a:cxn ang="0">
                    <a:pos x="T2" y="T3"/>
                  </a:cxn>
                  <a:cxn ang="0">
                    <a:pos x="T4" y="T5"/>
                  </a:cxn>
                  <a:cxn ang="0">
                    <a:pos x="T6" y="T7"/>
                  </a:cxn>
                </a:cxnLst>
                <a:rect l="0" t="0" r="r" b="b"/>
                <a:pathLst>
                  <a:path w="36" h="22">
                    <a:moveTo>
                      <a:pt x="0" y="0"/>
                    </a:moveTo>
                    <a:cubicBezTo>
                      <a:pt x="8" y="12"/>
                      <a:pt x="21" y="21"/>
                      <a:pt x="36" y="22"/>
                    </a:cubicBezTo>
                    <a:cubicBezTo>
                      <a:pt x="31" y="15"/>
                      <a:pt x="28" y="8"/>
                      <a:pt x="25"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76" name="Freeform 90">
                <a:extLst>
                  <a:ext uri="{FF2B5EF4-FFF2-40B4-BE49-F238E27FC236}">
                    <a16:creationId xmlns:a16="http://schemas.microsoft.com/office/drawing/2014/main" id="{CCE0A166-FEB8-BA35-E8FC-0738F8499393}"/>
                  </a:ext>
                </a:extLst>
              </p:cNvPr>
              <p:cNvSpPr>
                <a:spLocks/>
              </p:cNvSpPr>
              <p:nvPr/>
            </p:nvSpPr>
            <p:spPr bwMode="auto">
              <a:xfrm>
                <a:off x="3586163" y="2081213"/>
                <a:ext cx="136525" cy="84138"/>
              </a:xfrm>
              <a:custGeom>
                <a:avLst/>
                <a:gdLst>
                  <a:gd name="T0" fmla="*/ 0 w 36"/>
                  <a:gd name="T1" fmla="*/ 22 h 22"/>
                  <a:gd name="T2" fmla="*/ 36 w 36"/>
                  <a:gd name="T3" fmla="*/ 0 h 22"/>
                  <a:gd name="T4" fmla="*/ 11 w 36"/>
                  <a:gd name="T5" fmla="*/ 0 h 22"/>
                  <a:gd name="T6" fmla="*/ 0 w 36"/>
                  <a:gd name="T7" fmla="*/ 22 h 22"/>
                </a:gdLst>
                <a:ahLst/>
                <a:cxnLst>
                  <a:cxn ang="0">
                    <a:pos x="T0" y="T1"/>
                  </a:cxn>
                  <a:cxn ang="0">
                    <a:pos x="T2" y="T3"/>
                  </a:cxn>
                  <a:cxn ang="0">
                    <a:pos x="T4" y="T5"/>
                  </a:cxn>
                  <a:cxn ang="0">
                    <a:pos x="T6" y="T7"/>
                  </a:cxn>
                </a:cxnLst>
                <a:rect l="0" t="0" r="r" b="b"/>
                <a:pathLst>
                  <a:path w="36" h="22">
                    <a:moveTo>
                      <a:pt x="0" y="22"/>
                    </a:moveTo>
                    <a:cubicBezTo>
                      <a:pt x="15" y="21"/>
                      <a:pt x="28" y="12"/>
                      <a:pt x="36" y="0"/>
                    </a:cubicBezTo>
                    <a:cubicBezTo>
                      <a:pt x="11" y="0"/>
                      <a:pt x="11" y="0"/>
                      <a:pt x="11" y="0"/>
                    </a:cubicBezTo>
                    <a:cubicBezTo>
                      <a:pt x="8" y="8"/>
                      <a:pt x="5" y="15"/>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10" name="Group 9">
            <a:extLst>
              <a:ext uri="{FF2B5EF4-FFF2-40B4-BE49-F238E27FC236}">
                <a16:creationId xmlns:a16="http://schemas.microsoft.com/office/drawing/2014/main" id="{31111C83-DFBC-9B95-FBC0-E24A5F0FB672}"/>
              </a:ext>
            </a:extLst>
          </p:cNvPr>
          <p:cNvGrpSpPr/>
          <p:nvPr/>
        </p:nvGrpSpPr>
        <p:grpSpPr>
          <a:xfrm>
            <a:off x="3566803" y="2246035"/>
            <a:ext cx="8178967" cy="616343"/>
            <a:chOff x="3566803" y="2376322"/>
            <a:chExt cx="8178967" cy="616343"/>
          </a:xfrm>
        </p:grpSpPr>
        <p:sp>
          <p:nvSpPr>
            <p:cNvPr id="19" name="Rectangle: Rounded Corners 18">
              <a:extLst>
                <a:ext uri="{FF2B5EF4-FFF2-40B4-BE49-F238E27FC236}">
                  <a16:creationId xmlns:a16="http://schemas.microsoft.com/office/drawing/2014/main" id="{07C53B45-B999-CAFB-7D74-54DE73C2C439}"/>
                </a:ext>
              </a:extLst>
            </p:cNvPr>
            <p:cNvSpPr/>
            <p:nvPr/>
          </p:nvSpPr>
          <p:spPr>
            <a:xfrm>
              <a:off x="3566803" y="2376322"/>
              <a:ext cx="616343" cy="616343"/>
            </a:xfrm>
            <a:prstGeom prst="roundRect">
              <a:avLst/>
            </a:prstGeom>
            <a:solidFill>
              <a:schemeClr val="accent1"/>
            </a:solidFill>
            <a:ln w="317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0" name="Rectangle: Rounded Corners 19">
              <a:extLst>
                <a:ext uri="{FF2B5EF4-FFF2-40B4-BE49-F238E27FC236}">
                  <a16:creationId xmlns:a16="http://schemas.microsoft.com/office/drawing/2014/main" id="{17A0EE5F-6C00-D2D0-7361-282A30D20010}"/>
                </a:ext>
              </a:extLst>
            </p:cNvPr>
            <p:cNvSpPr/>
            <p:nvPr/>
          </p:nvSpPr>
          <p:spPr>
            <a:xfrm>
              <a:off x="7348115" y="2376322"/>
              <a:ext cx="616343" cy="616343"/>
            </a:xfrm>
            <a:prstGeom prst="roundRect">
              <a:avLst/>
            </a:prstGeom>
            <a:solidFill>
              <a:schemeClr val="accent1"/>
            </a:solidFill>
            <a:ln w="317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1" name="Rectangle: Rounded Corners 20">
              <a:extLst>
                <a:ext uri="{FF2B5EF4-FFF2-40B4-BE49-F238E27FC236}">
                  <a16:creationId xmlns:a16="http://schemas.microsoft.com/office/drawing/2014/main" id="{E5BBA304-BB4D-1751-0AEA-0E8FF2974282}"/>
                </a:ext>
              </a:extLst>
            </p:cNvPr>
            <p:cNvSpPr/>
            <p:nvPr/>
          </p:nvSpPr>
          <p:spPr>
            <a:xfrm>
              <a:off x="11129427" y="2376322"/>
              <a:ext cx="616343" cy="616343"/>
            </a:xfrm>
            <a:prstGeom prst="roundRect">
              <a:avLst/>
            </a:prstGeom>
            <a:solidFill>
              <a:schemeClr val="accent1"/>
            </a:solidFill>
            <a:ln w="317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33" name="Graphic 32" descr="DNA with solid fill">
              <a:extLst>
                <a:ext uri="{FF2B5EF4-FFF2-40B4-BE49-F238E27FC236}">
                  <a16:creationId xmlns:a16="http://schemas.microsoft.com/office/drawing/2014/main" id="{9F0C8521-33AC-B79C-6196-7359729EC4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46375" y="2455894"/>
              <a:ext cx="457199" cy="457199"/>
            </a:xfrm>
            <a:prstGeom prst="rect">
              <a:avLst/>
            </a:prstGeom>
          </p:spPr>
        </p:pic>
        <p:grpSp>
          <p:nvGrpSpPr>
            <p:cNvPr id="42" name="Group 41">
              <a:extLst>
                <a:ext uri="{FF2B5EF4-FFF2-40B4-BE49-F238E27FC236}">
                  <a16:creationId xmlns:a16="http://schemas.microsoft.com/office/drawing/2014/main" id="{275EC4A7-2E8E-54DE-254E-364936EA5661}"/>
                </a:ext>
              </a:extLst>
            </p:cNvPr>
            <p:cNvGrpSpPr/>
            <p:nvPr/>
          </p:nvGrpSpPr>
          <p:grpSpPr>
            <a:xfrm>
              <a:off x="7476105" y="2503518"/>
              <a:ext cx="360363" cy="361951"/>
              <a:chOff x="7718425" y="3248025"/>
              <a:chExt cx="360363" cy="361951"/>
            </a:xfrm>
            <a:solidFill>
              <a:schemeClr val="bg1"/>
            </a:solidFill>
          </p:grpSpPr>
          <p:sp>
            <p:nvSpPr>
              <p:cNvPr id="43" name="Freeform 63">
                <a:extLst>
                  <a:ext uri="{FF2B5EF4-FFF2-40B4-BE49-F238E27FC236}">
                    <a16:creationId xmlns:a16="http://schemas.microsoft.com/office/drawing/2014/main" id="{8F7F8320-B49E-24C3-4B59-D663A5C2CD54}"/>
                  </a:ext>
                </a:extLst>
              </p:cNvPr>
              <p:cNvSpPr>
                <a:spLocks/>
              </p:cNvSpPr>
              <p:nvPr/>
            </p:nvSpPr>
            <p:spPr bwMode="auto">
              <a:xfrm>
                <a:off x="7718425" y="3248025"/>
                <a:ext cx="360363" cy="331788"/>
              </a:xfrm>
              <a:custGeom>
                <a:avLst/>
                <a:gdLst>
                  <a:gd name="T0" fmla="*/ 20 w 96"/>
                  <a:gd name="T1" fmla="*/ 88 h 88"/>
                  <a:gd name="T2" fmla="*/ 8 w 96"/>
                  <a:gd name="T3" fmla="*/ 75 h 88"/>
                  <a:gd name="T4" fmla="*/ 17 w 96"/>
                  <a:gd name="T5" fmla="*/ 65 h 88"/>
                  <a:gd name="T6" fmla="*/ 2 w 96"/>
                  <a:gd name="T7" fmla="*/ 56 h 88"/>
                  <a:gd name="T8" fmla="*/ 0 w 96"/>
                  <a:gd name="T9" fmla="*/ 42 h 88"/>
                  <a:gd name="T10" fmla="*/ 13 w 96"/>
                  <a:gd name="T11" fmla="*/ 40 h 88"/>
                  <a:gd name="T12" fmla="*/ 8 w 96"/>
                  <a:gd name="T13" fmla="*/ 23 h 88"/>
                  <a:gd name="T14" fmla="*/ 8 w 96"/>
                  <a:gd name="T15" fmla="*/ 20 h 88"/>
                  <a:gd name="T16" fmla="*/ 23 w 96"/>
                  <a:gd name="T17" fmla="*/ 8 h 88"/>
                  <a:gd name="T18" fmla="*/ 40 w 96"/>
                  <a:gd name="T19" fmla="*/ 13 h 88"/>
                  <a:gd name="T20" fmla="*/ 42 w 96"/>
                  <a:gd name="T21" fmla="*/ 0 h 88"/>
                  <a:gd name="T22" fmla="*/ 56 w 96"/>
                  <a:gd name="T23" fmla="*/ 2 h 88"/>
                  <a:gd name="T24" fmla="*/ 65 w 96"/>
                  <a:gd name="T25" fmla="*/ 17 h 88"/>
                  <a:gd name="T26" fmla="*/ 76 w 96"/>
                  <a:gd name="T27" fmla="*/ 8 h 88"/>
                  <a:gd name="T28" fmla="*/ 88 w 96"/>
                  <a:gd name="T29" fmla="*/ 21 h 88"/>
                  <a:gd name="T30" fmla="*/ 79 w 96"/>
                  <a:gd name="T31" fmla="*/ 31 h 88"/>
                  <a:gd name="T32" fmla="*/ 94 w 96"/>
                  <a:gd name="T33" fmla="*/ 40 h 88"/>
                  <a:gd name="T34" fmla="*/ 96 w 96"/>
                  <a:gd name="T35" fmla="*/ 54 h 88"/>
                  <a:gd name="T36" fmla="*/ 83 w 96"/>
                  <a:gd name="T37" fmla="*/ 56 h 88"/>
                  <a:gd name="T38" fmla="*/ 88 w 96"/>
                  <a:gd name="T39" fmla="*/ 73 h 88"/>
                  <a:gd name="T40" fmla="*/ 76 w 96"/>
                  <a:gd name="T41" fmla="*/ 88 h 88"/>
                  <a:gd name="T42" fmla="*/ 64 w 96"/>
                  <a:gd name="T43" fmla="*/ 78 h 88"/>
                  <a:gd name="T44" fmla="*/ 67 w 96"/>
                  <a:gd name="T45" fmla="*/ 76 h 88"/>
                  <a:gd name="T46" fmla="*/ 83 w 96"/>
                  <a:gd name="T47" fmla="*/ 75 h 88"/>
                  <a:gd name="T48" fmla="*/ 75 w 96"/>
                  <a:gd name="T49" fmla="*/ 65 h 88"/>
                  <a:gd name="T50" fmla="*/ 81 w 96"/>
                  <a:gd name="T51" fmla="*/ 52 h 88"/>
                  <a:gd name="T52" fmla="*/ 92 w 96"/>
                  <a:gd name="T53" fmla="*/ 44 h 88"/>
                  <a:gd name="T54" fmla="*/ 79 w 96"/>
                  <a:gd name="T55" fmla="*/ 42 h 88"/>
                  <a:gd name="T56" fmla="*/ 76 w 96"/>
                  <a:gd name="T57" fmla="*/ 29 h 88"/>
                  <a:gd name="T58" fmla="*/ 75 w 96"/>
                  <a:gd name="T59" fmla="*/ 13 h 88"/>
                  <a:gd name="T60" fmla="*/ 65 w 96"/>
                  <a:gd name="T61" fmla="*/ 21 h 88"/>
                  <a:gd name="T62" fmla="*/ 52 w 96"/>
                  <a:gd name="T63" fmla="*/ 15 h 88"/>
                  <a:gd name="T64" fmla="*/ 44 w 96"/>
                  <a:gd name="T65" fmla="*/ 4 h 88"/>
                  <a:gd name="T66" fmla="*/ 42 w 96"/>
                  <a:gd name="T67" fmla="*/ 17 h 88"/>
                  <a:gd name="T68" fmla="*/ 29 w 96"/>
                  <a:gd name="T69" fmla="*/ 20 h 88"/>
                  <a:gd name="T70" fmla="*/ 13 w 96"/>
                  <a:gd name="T71" fmla="*/ 21 h 88"/>
                  <a:gd name="T72" fmla="*/ 21 w 96"/>
                  <a:gd name="T73" fmla="*/ 31 h 88"/>
                  <a:gd name="T74" fmla="*/ 15 w 96"/>
                  <a:gd name="T75" fmla="*/ 44 h 88"/>
                  <a:gd name="T76" fmla="*/ 4 w 96"/>
                  <a:gd name="T77" fmla="*/ 52 h 88"/>
                  <a:gd name="T78" fmla="*/ 17 w 96"/>
                  <a:gd name="T79" fmla="*/ 54 h 88"/>
                  <a:gd name="T80" fmla="*/ 20 w 96"/>
                  <a:gd name="T81" fmla="*/ 67 h 88"/>
                  <a:gd name="T82" fmla="*/ 21 w 96"/>
                  <a:gd name="T83" fmla="*/ 83 h 88"/>
                  <a:gd name="T84" fmla="*/ 32 w 96"/>
                  <a:gd name="T85" fmla="*/ 76 h 88"/>
                  <a:gd name="T86" fmla="*/ 23 w 96"/>
                  <a:gd name="T8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88">
                    <a:moveTo>
                      <a:pt x="21" y="88"/>
                    </a:moveTo>
                    <a:cubicBezTo>
                      <a:pt x="21" y="88"/>
                      <a:pt x="20" y="88"/>
                      <a:pt x="20" y="88"/>
                    </a:cubicBezTo>
                    <a:cubicBezTo>
                      <a:pt x="8" y="76"/>
                      <a:pt x="8" y="76"/>
                      <a:pt x="8" y="76"/>
                    </a:cubicBezTo>
                    <a:cubicBezTo>
                      <a:pt x="8" y="76"/>
                      <a:pt x="8" y="75"/>
                      <a:pt x="8" y="75"/>
                    </a:cubicBezTo>
                    <a:cubicBezTo>
                      <a:pt x="8" y="74"/>
                      <a:pt x="8" y="74"/>
                      <a:pt x="8" y="73"/>
                    </a:cubicBezTo>
                    <a:cubicBezTo>
                      <a:pt x="17" y="65"/>
                      <a:pt x="17" y="65"/>
                      <a:pt x="17" y="65"/>
                    </a:cubicBezTo>
                    <a:cubicBezTo>
                      <a:pt x="15" y="63"/>
                      <a:pt x="14" y="59"/>
                      <a:pt x="13" y="56"/>
                    </a:cubicBezTo>
                    <a:cubicBezTo>
                      <a:pt x="2" y="56"/>
                      <a:pt x="2" y="56"/>
                      <a:pt x="2" y="56"/>
                    </a:cubicBezTo>
                    <a:cubicBezTo>
                      <a:pt x="1" y="56"/>
                      <a:pt x="0" y="55"/>
                      <a:pt x="0" y="54"/>
                    </a:cubicBezTo>
                    <a:cubicBezTo>
                      <a:pt x="0" y="42"/>
                      <a:pt x="0" y="42"/>
                      <a:pt x="0" y="42"/>
                    </a:cubicBezTo>
                    <a:cubicBezTo>
                      <a:pt x="0" y="41"/>
                      <a:pt x="1" y="40"/>
                      <a:pt x="2" y="40"/>
                    </a:cubicBezTo>
                    <a:cubicBezTo>
                      <a:pt x="13" y="40"/>
                      <a:pt x="13" y="40"/>
                      <a:pt x="13" y="40"/>
                    </a:cubicBezTo>
                    <a:cubicBezTo>
                      <a:pt x="14" y="37"/>
                      <a:pt x="15" y="33"/>
                      <a:pt x="17" y="31"/>
                    </a:cubicBezTo>
                    <a:cubicBezTo>
                      <a:pt x="8" y="23"/>
                      <a:pt x="8" y="23"/>
                      <a:pt x="8" y="23"/>
                    </a:cubicBezTo>
                    <a:cubicBezTo>
                      <a:pt x="8" y="22"/>
                      <a:pt x="8" y="22"/>
                      <a:pt x="8" y="21"/>
                    </a:cubicBezTo>
                    <a:cubicBezTo>
                      <a:pt x="8" y="21"/>
                      <a:pt x="8" y="20"/>
                      <a:pt x="8" y="20"/>
                    </a:cubicBezTo>
                    <a:cubicBezTo>
                      <a:pt x="20" y="8"/>
                      <a:pt x="20" y="8"/>
                      <a:pt x="20" y="8"/>
                    </a:cubicBezTo>
                    <a:cubicBezTo>
                      <a:pt x="20" y="8"/>
                      <a:pt x="22" y="8"/>
                      <a:pt x="23" y="8"/>
                    </a:cubicBezTo>
                    <a:cubicBezTo>
                      <a:pt x="31" y="17"/>
                      <a:pt x="31" y="17"/>
                      <a:pt x="31" y="17"/>
                    </a:cubicBezTo>
                    <a:cubicBezTo>
                      <a:pt x="33" y="15"/>
                      <a:pt x="37" y="14"/>
                      <a:pt x="40" y="13"/>
                    </a:cubicBezTo>
                    <a:cubicBezTo>
                      <a:pt x="40" y="2"/>
                      <a:pt x="40" y="2"/>
                      <a:pt x="40" y="2"/>
                    </a:cubicBezTo>
                    <a:cubicBezTo>
                      <a:pt x="40" y="1"/>
                      <a:pt x="41" y="0"/>
                      <a:pt x="42" y="0"/>
                    </a:cubicBezTo>
                    <a:cubicBezTo>
                      <a:pt x="54" y="0"/>
                      <a:pt x="54" y="0"/>
                      <a:pt x="54" y="0"/>
                    </a:cubicBezTo>
                    <a:cubicBezTo>
                      <a:pt x="55" y="0"/>
                      <a:pt x="56" y="1"/>
                      <a:pt x="56" y="2"/>
                    </a:cubicBezTo>
                    <a:cubicBezTo>
                      <a:pt x="56" y="13"/>
                      <a:pt x="56" y="13"/>
                      <a:pt x="56" y="13"/>
                    </a:cubicBezTo>
                    <a:cubicBezTo>
                      <a:pt x="59" y="14"/>
                      <a:pt x="63" y="15"/>
                      <a:pt x="65" y="17"/>
                    </a:cubicBezTo>
                    <a:cubicBezTo>
                      <a:pt x="73" y="8"/>
                      <a:pt x="73" y="8"/>
                      <a:pt x="73" y="8"/>
                    </a:cubicBezTo>
                    <a:cubicBezTo>
                      <a:pt x="74" y="8"/>
                      <a:pt x="75" y="8"/>
                      <a:pt x="76" y="8"/>
                    </a:cubicBezTo>
                    <a:cubicBezTo>
                      <a:pt x="88" y="20"/>
                      <a:pt x="88" y="20"/>
                      <a:pt x="88" y="20"/>
                    </a:cubicBezTo>
                    <a:cubicBezTo>
                      <a:pt x="88" y="20"/>
                      <a:pt x="88" y="21"/>
                      <a:pt x="88" y="21"/>
                    </a:cubicBezTo>
                    <a:cubicBezTo>
                      <a:pt x="88" y="22"/>
                      <a:pt x="88" y="22"/>
                      <a:pt x="88" y="23"/>
                    </a:cubicBezTo>
                    <a:cubicBezTo>
                      <a:pt x="79" y="31"/>
                      <a:pt x="79" y="31"/>
                      <a:pt x="79" y="31"/>
                    </a:cubicBezTo>
                    <a:cubicBezTo>
                      <a:pt x="81" y="33"/>
                      <a:pt x="82" y="37"/>
                      <a:pt x="83" y="40"/>
                    </a:cubicBezTo>
                    <a:cubicBezTo>
                      <a:pt x="94" y="40"/>
                      <a:pt x="94" y="40"/>
                      <a:pt x="94" y="40"/>
                    </a:cubicBezTo>
                    <a:cubicBezTo>
                      <a:pt x="95" y="40"/>
                      <a:pt x="96" y="41"/>
                      <a:pt x="96" y="42"/>
                    </a:cubicBezTo>
                    <a:cubicBezTo>
                      <a:pt x="96" y="54"/>
                      <a:pt x="96" y="54"/>
                      <a:pt x="96" y="54"/>
                    </a:cubicBezTo>
                    <a:cubicBezTo>
                      <a:pt x="96" y="55"/>
                      <a:pt x="95" y="56"/>
                      <a:pt x="94" y="56"/>
                    </a:cubicBezTo>
                    <a:cubicBezTo>
                      <a:pt x="83" y="56"/>
                      <a:pt x="83" y="56"/>
                      <a:pt x="83" y="56"/>
                    </a:cubicBezTo>
                    <a:cubicBezTo>
                      <a:pt x="82" y="59"/>
                      <a:pt x="81" y="63"/>
                      <a:pt x="79" y="65"/>
                    </a:cubicBezTo>
                    <a:cubicBezTo>
                      <a:pt x="88" y="73"/>
                      <a:pt x="88" y="73"/>
                      <a:pt x="88" y="73"/>
                    </a:cubicBezTo>
                    <a:cubicBezTo>
                      <a:pt x="88" y="74"/>
                      <a:pt x="88" y="76"/>
                      <a:pt x="88" y="76"/>
                    </a:cubicBezTo>
                    <a:cubicBezTo>
                      <a:pt x="76" y="88"/>
                      <a:pt x="76" y="88"/>
                      <a:pt x="76" y="88"/>
                    </a:cubicBezTo>
                    <a:cubicBezTo>
                      <a:pt x="76" y="88"/>
                      <a:pt x="74" y="88"/>
                      <a:pt x="73" y="88"/>
                    </a:cubicBezTo>
                    <a:cubicBezTo>
                      <a:pt x="64" y="78"/>
                      <a:pt x="64" y="78"/>
                      <a:pt x="64" y="78"/>
                    </a:cubicBezTo>
                    <a:cubicBezTo>
                      <a:pt x="63" y="78"/>
                      <a:pt x="63" y="76"/>
                      <a:pt x="64" y="76"/>
                    </a:cubicBezTo>
                    <a:cubicBezTo>
                      <a:pt x="65" y="75"/>
                      <a:pt x="66" y="75"/>
                      <a:pt x="67" y="76"/>
                    </a:cubicBezTo>
                    <a:cubicBezTo>
                      <a:pt x="75" y="83"/>
                      <a:pt x="75" y="83"/>
                      <a:pt x="75" y="83"/>
                    </a:cubicBezTo>
                    <a:cubicBezTo>
                      <a:pt x="83" y="75"/>
                      <a:pt x="83" y="75"/>
                      <a:pt x="83" y="75"/>
                    </a:cubicBezTo>
                    <a:cubicBezTo>
                      <a:pt x="76" y="67"/>
                      <a:pt x="76" y="67"/>
                      <a:pt x="76" y="67"/>
                    </a:cubicBezTo>
                    <a:cubicBezTo>
                      <a:pt x="75" y="66"/>
                      <a:pt x="75" y="65"/>
                      <a:pt x="75" y="65"/>
                    </a:cubicBezTo>
                    <a:cubicBezTo>
                      <a:pt x="77" y="62"/>
                      <a:pt x="79" y="56"/>
                      <a:pt x="79" y="54"/>
                    </a:cubicBezTo>
                    <a:cubicBezTo>
                      <a:pt x="79" y="53"/>
                      <a:pt x="80" y="52"/>
                      <a:pt x="81" y="52"/>
                    </a:cubicBezTo>
                    <a:cubicBezTo>
                      <a:pt x="92" y="52"/>
                      <a:pt x="92" y="52"/>
                      <a:pt x="92" y="52"/>
                    </a:cubicBezTo>
                    <a:cubicBezTo>
                      <a:pt x="92" y="44"/>
                      <a:pt x="92" y="44"/>
                      <a:pt x="92" y="44"/>
                    </a:cubicBezTo>
                    <a:cubicBezTo>
                      <a:pt x="81" y="44"/>
                      <a:pt x="81" y="44"/>
                      <a:pt x="81" y="44"/>
                    </a:cubicBezTo>
                    <a:cubicBezTo>
                      <a:pt x="80" y="44"/>
                      <a:pt x="79" y="43"/>
                      <a:pt x="79" y="42"/>
                    </a:cubicBezTo>
                    <a:cubicBezTo>
                      <a:pt x="79" y="40"/>
                      <a:pt x="77" y="34"/>
                      <a:pt x="75" y="31"/>
                    </a:cubicBezTo>
                    <a:cubicBezTo>
                      <a:pt x="75" y="31"/>
                      <a:pt x="75" y="30"/>
                      <a:pt x="76" y="29"/>
                    </a:cubicBezTo>
                    <a:cubicBezTo>
                      <a:pt x="83" y="21"/>
                      <a:pt x="83" y="21"/>
                      <a:pt x="83" y="21"/>
                    </a:cubicBezTo>
                    <a:cubicBezTo>
                      <a:pt x="75" y="13"/>
                      <a:pt x="75" y="13"/>
                      <a:pt x="75" y="13"/>
                    </a:cubicBezTo>
                    <a:cubicBezTo>
                      <a:pt x="67" y="20"/>
                      <a:pt x="67" y="20"/>
                      <a:pt x="67" y="20"/>
                    </a:cubicBezTo>
                    <a:cubicBezTo>
                      <a:pt x="66" y="21"/>
                      <a:pt x="65" y="21"/>
                      <a:pt x="65" y="21"/>
                    </a:cubicBezTo>
                    <a:cubicBezTo>
                      <a:pt x="62" y="19"/>
                      <a:pt x="57" y="18"/>
                      <a:pt x="54" y="17"/>
                    </a:cubicBezTo>
                    <a:cubicBezTo>
                      <a:pt x="53" y="17"/>
                      <a:pt x="52" y="16"/>
                      <a:pt x="52" y="15"/>
                    </a:cubicBezTo>
                    <a:cubicBezTo>
                      <a:pt x="52" y="4"/>
                      <a:pt x="52" y="4"/>
                      <a:pt x="52" y="4"/>
                    </a:cubicBezTo>
                    <a:cubicBezTo>
                      <a:pt x="44" y="4"/>
                      <a:pt x="44" y="4"/>
                      <a:pt x="44" y="4"/>
                    </a:cubicBezTo>
                    <a:cubicBezTo>
                      <a:pt x="44" y="15"/>
                      <a:pt x="44" y="15"/>
                      <a:pt x="44" y="15"/>
                    </a:cubicBezTo>
                    <a:cubicBezTo>
                      <a:pt x="44" y="16"/>
                      <a:pt x="43" y="17"/>
                      <a:pt x="42" y="17"/>
                    </a:cubicBezTo>
                    <a:cubicBezTo>
                      <a:pt x="39" y="18"/>
                      <a:pt x="34" y="19"/>
                      <a:pt x="31" y="21"/>
                    </a:cubicBezTo>
                    <a:cubicBezTo>
                      <a:pt x="31" y="21"/>
                      <a:pt x="30" y="21"/>
                      <a:pt x="29" y="20"/>
                    </a:cubicBezTo>
                    <a:cubicBezTo>
                      <a:pt x="21" y="13"/>
                      <a:pt x="21" y="13"/>
                      <a:pt x="21" y="13"/>
                    </a:cubicBezTo>
                    <a:cubicBezTo>
                      <a:pt x="13" y="21"/>
                      <a:pt x="13" y="21"/>
                      <a:pt x="13" y="21"/>
                    </a:cubicBezTo>
                    <a:cubicBezTo>
                      <a:pt x="20" y="29"/>
                      <a:pt x="20" y="29"/>
                      <a:pt x="20" y="29"/>
                    </a:cubicBezTo>
                    <a:cubicBezTo>
                      <a:pt x="21" y="30"/>
                      <a:pt x="21" y="31"/>
                      <a:pt x="21" y="31"/>
                    </a:cubicBezTo>
                    <a:cubicBezTo>
                      <a:pt x="19" y="34"/>
                      <a:pt x="17" y="40"/>
                      <a:pt x="17" y="42"/>
                    </a:cubicBezTo>
                    <a:cubicBezTo>
                      <a:pt x="17" y="43"/>
                      <a:pt x="16" y="44"/>
                      <a:pt x="15" y="44"/>
                    </a:cubicBezTo>
                    <a:cubicBezTo>
                      <a:pt x="4" y="44"/>
                      <a:pt x="4" y="44"/>
                      <a:pt x="4" y="44"/>
                    </a:cubicBezTo>
                    <a:cubicBezTo>
                      <a:pt x="4" y="52"/>
                      <a:pt x="4" y="52"/>
                      <a:pt x="4" y="52"/>
                    </a:cubicBezTo>
                    <a:cubicBezTo>
                      <a:pt x="15" y="52"/>
                      <a:pt x="15" y="52"/>
                      <a:pt x="15" y="52"/>
                    </a:cubicBezTo>
                    <a:cubicBezTo>
                      <a:pt x="16" y="52"/>
                      <a:pt x="17" y="53"/>
                      <a:pt x="17" y="54"/>
                    </a:cubicBezTo>
                    <a:cubicBezTo>
                      <a:pt x="17" y="56"/>
                      <a:pt x="19" y="62"/>
                      <a:pt x="21" y="65"/>
                    </a:cubicBezTo>
                    <a:cubicBezTo>
                      <a:pt x="21" y="65"/>
                      <a:pt x="21" y="66"/>
                      <a:pt x="20" y="67"/>
                    </a:cubicBezTo>
                    <a:cubicBezTo>
                      <a:pt x="13" y="75"/>
                      <a:pt x="13" y="75"/>
                      <a:pt x="13" y="75"/>
                    </a:cubicBezTo>
                    <a:cubicBezTo>
                      <a:pt x="21" y="83"/>
                      <a:pt x="21" y="83"/>
                      <a:pt x="21" y="83"/>
                    </a:cubicBezTo>
                    <a:cubicBezTo>
                      <a:pt x="29" y="76"/>
                      <a:pt x="29" y="76"/>
                      <a:pt x="29" y="76"/>
                    </a:cubicBezTo>
                    <a:cubicBezTo>
                      <a:pt x="30" y="75"/>
                      <a:pt x="31" y="75"/>
                      <a:pt x="32" y="76"/>
                    </a:cubicBezTo>
                    <a:cubicBezTo>
                      <a:pt x="33" y="76"/>
                      <a:pt x="33" y="78"/>
                      <a:pt x="32" y="78"/>
                    </a:cubicBezTo>
                    <a:cubicBezTo>
                      <a:pt x="23" y="88"/>
                      <a:pt x="23" y="88"/>
                      <a:pt x="23" y="88"/>
                    </a:cubicBezTo>
                    <a:cubicBezTo>
                      <a:pt x="22" y="88"/>
                      <a:pt x="22" y="88"/>
                      <a:pt x="2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44" name="Freeform 64">
                <a:extLst>
                  <a:ext uri="{FF2B5EF4-FFF2-40B4-BE49-F238E27FC236}">
                    <a16:creationId xmlns:a16="http://schemas.microsoft.com/office/drawing/2014/main" id="{9DEEE192-3749-C87D-E2F4-ADEBC4FEBDA0}"/>
                  </a:ext>
                </a:extLst>
              </p:cNvPr>
              <p:cNvSpPr>
                <a:spLocks/>
              </p:cNvSpPr>
              <p:nvPr/>
            </p:nvSpPr>
            <p:spPr bwMode="auto">
              <a:xfrm>
                <a:off x="7869238" y="3549650"/>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45" name="Freeform 65">
                <a:extLst>
                  <a:ext uri="{FF2B5EF4-FFF2-40B4-BE49-F238E27FC236}">
                    <a16:creationId xmlns:a16="http://schemas.microsoft.com/office/drawing/2014/main" id="{2613F4FA-43E1-F001-318C-EDF7C69D90A4}"/>
                  </a:ext>
                </a:extLst>
              </p:cNvPr>
              <p:cNvSpPr>
                <a:spLocks/>
              </p:cNvSpPr>
              <p:nvPr/>
            </p:nvSpPr>
            <p:spPr bwMode="auto">
              <a:xfrm>
                <a:off x="7869238" y="3579813"/>
                <a:ext cx="60325" cy="30163"/>
              </a:xfrm>
              <a:custGeom>
                <a:avLst/>
                <a:gdLst>
                  <a:gd name="T0" fmla="*/ 14 w 16"/>
                  <a:gd name="T1" fmla="*/ 0 h 8"/>
                  <a:gd name="T2" fmla="*/ 2 w 16"/>
                  <a:gd name="T3" fmla="*/ 0 h 8"/>
                  <a:gd name="T4" fmla="*/ 0 w 16"/>
                  <a:gd name="T5" fmla="*/ 2 h 8"/>
                  <a:gd name="T6" fmla="*/ 2 w 16"/>
                  <a:gd name="T7" fmla="*/ 4 h 8"/>
                  <a:gd name="T8" fmla="*/ 6 w 16"/>
                  <a:gd name="T9" fmla="*/ 4 h 8"/>
                  <a:gd name="T10" fmla="*/ 6 w 16"/>
                  <a:gd name="T11" fmla="*/ 6 h 8"/>
                  <a:gd name="T12" fmla="*/ 8 w 16"/>
                  <a:gd name="T13" fmla="*/ 8 h 8"/>
                  <a:gd name="T14" fmla="*/ 10 w 16"/>
                  <a:gd name="T15" fmla="*/ 6 h 8"/>
                  <a:gd name="T16" fmla="*/ 10 w 16"/>
                  <a:gd name="T17" fmla="*/ 4 h 8"/>
                  <a:gd name="T18" fmla="*/ 14 w 16"/>
                  <a:gd name="T19" fmla="*/ 4 h 8"/>
                  <a:gd name="T20" fmla="*/ 16 w 16"/>
                  <a:gd name="T21" fmla="*/ 2 h 8"/>
                  <a:gd name="T22" fmla="*/ 14 w 16"/>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8">
                    <a:moveTo>
                      <a:pt x="14" y="0"/>
                    </a:moveTo>
                    <a:cubicBezTo>
                      <a:pt x="2" y="0"/>
                      <a:pt x="2" y="0"/>
                      <a:pt x="2" y="0"/>
                    </a:cubicBezTo>
                    <a:cubicBezTo>
                      <a:pt x="1" y="0"/>
                      <a:pt x="0" y="1"/>
                      <a:pt x="0" y="2"/>
                    </a:cubicBezTo>
                    <a:cubicBezTo>
                      <a:pt x="0" y="3"/>
                      <a:pt x="1" y="4"/>
                      <a:pt x="2" y="4"/>
                    </a:cubicBezTo>
                    <a:cubicBezTo>
                      <a:pt x="6" y="4"/>
                      <a:pt x="6" y="4"/>
                      <a:pt x="6" y="4"/>
                    </a:cubicBezTo>
                    <a:cubicBezTo>
                      <a:pt x="6" y="6"/>
                      <a:pt x="6" y="6"/>
                      <a:pt x="6" y="6"/>
                    </a:cubicBezTo>
                    <a:cubicBezTo>
                      <a:pt x="6" y="7"/>
                      <a:pt x="7" y="8"/>
                      <a:pt x="8" y="8"/>
                    </a:cubicBezTo>
                    <a:cubicBezTo>
                      <a:pt x="9" y="8"/>
                      <a:pt x="10" y="7"/>
                      <a:pt x="10" y="6"/>
                    </a:cubicBezTo>
                    <a:cubicBezTo>
                      <a:pt x="10" y="4"/>
                      <a:pt x="10" y="4"/>
                      <a:pt x="10"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46" name="Freeform 66">
                <a:extLst>
                  <a:ext uri="{FF2B5EF4-FFF2-40B4-BE49-F238E27FC236}">
                    <a16:creationId xmlns:a16="http://schemas.microsoft.com/office/drawing/2014/main" id="{B304D583-5373-D150-0518-ADEC753FE6EC}"/>
                  </a:ext>
                </a:extLst>
              </p:cNvPr>
              <p:cNvSpPr>
                <a:spLocks/>
              </p:cNvSpPr>
              <p:nvPr/>
            </p:nvSpPr>
            <p:spPr bwMode="auto">
              <a:xfrm>
                <a:off x="7805738" y="3338513"/>
                <a:ext cx="187325" cy="196850"/>
              </a:xfrm>
              <a:custGeom>
                <a:avLst/>
                <a:gdLst>
                  <a:gd name="T0" fmla="*/ 25 w 50"/>
                  <a:gd name="T1" fmla="*/ 0 h 52"/>
                  <a:gd name="T2" fmla="*/ 0 w 50"/>
                  <a:gd name="T3" fmla="*/ 24 h 52"/>
                  <a:gd name="T4" fmla="*/ 17 w 50"/>
                  <a:gd name="T5" fmla="*/ 47 h 52"/>
                  <a:gd name="T6" fmla="*/ 17 w 50"/>
                  <a:gd name="T7" fmla="*/ 50 h 52"/>
                  <a:gd name="T8" fmla="*/ 19 w 50"/>
                  <a:gd name="T9" fmla="*/ 52 h 52"/>
                  <a:gd name="T10" fmla="*/ 31 w 50"/>
                  <a:gd name="T11" fmla="*/ 52 h 52"/>
                  <a:gd name="T12" fmla="*/ 33 w 50"/>
                  <a:gd name="T13" fmla="*/ 50 h 52"/>
                  <a:gd name="T14" fmla="*/ 33 w 50"/>
                  <a:gd name="T15" fmla="*/ 47 h 52"/>
                  <a:gd name="T16" fmla="*/ 50 w 50"/>
                  <a:gd name="T17" fmla="*/ 24 h 52"/>
                  <a:gd name="T18" fmla="*/ 25 w 50"/>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2">
                    <a:moveTo>
                      <a:pt x="25" y="0"/>
                    </a:moveTo>
                    <a:cubicBezTo>
                      <a:pt x="11" y="0"/>
                      <a:pt x="0" y="11"/>
                      <a:pt x="0" y="24"/>
                    </a:cubicBezTo>
                    <a:cubicBezTo>
                      <a:pt x="0" y="34"/>
                      <a:pt x="7" y="43"/>
                      <a:pt x="17" y="47"/>
                    </a:cubicBezTo>
                    <a:cubicBezTo>
                      <a:pt x="17" y="50"/>
                      <a:pt x="17" y="50"/>
                      <a:pt x="17" y="50"/>
                    </a:cubicBezTo>
                    <a:cubicBezTo>
                      <a:pt x="17" y="51"/>
                      <a:pt x="18" y="52"/>
                      <a:pt x="19" y="52"/>
                    </a:cubicBezTo>
                    <a:cubicBezTo>
                      <a:pt x="31" y="52"/>
                      <a:pt x="31" y="52"/>
                      <a:pt x="31" y="52"/>
                    </a:cubicBezTo>
                    <a:cubicBezTo>
                      <a:pt x="32" y="52"/>
                      <a:pt x="33" y="51"/>
                      <a:pt x="33" y="50"/>
                    </a:cubicBezTo>
                    <a:cubicBezTo>
                      <a:pt x="33" y="47"/>
                      <a:pt x="33" y="47"/>
                      <a:pt x="33" y="47"/>
                    </a:cubicBezTo>
                    <a:cubicBezTo>
                      <a:pt x="43" y="43"/>
                      <a:pt x="50" y="34"/>
                      <a:pt x="50" y="24"/>
                    </a:cubicBezTo>
                    <a:cubicBezTo>
                      <a:pt x="50" y="11"/>
                      <a:pt x="39"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77" name="Group 76">
              <a:extLst>
                <a:ext uri="{FF2B5EF4-FFF2-40B4-BE49-F238E27FC236}">
                  <a16:creationId xmlns:a16="http://schemas.microsoft.com/office/drawing/2014/main" id="{F87463E8-BAD7-2D00-6469-E83B3D2D6FE8}"/>
                </a:ext>
              </a:extLst>
            </p:cNvPr>
            <p:cNvGrpSpPr/>
            <p:nvPr/>
          </p:nvGrpSpPr>
          <p:grpSpPr>
            <a:xfrm>
              <a:off x="11257417" y="2504312"/>
              <a:ext cx="360363" cy="360362"/>
              <a:chOff x="8440738" y="1804988"/>
              <a:chExt cx="360363" cy="360362"/>
            </a:xfrm>
            <a:solidFill>
              <a:schemeClr val="bg1"/>
            </a:solidFill>
          </p:grpSpPr>
          <p:sp>
            <p:nvSpPr>
              <p:cNvPr id="78" name="Freeform 66">
                <a:extLst>
                  <a:ext uri="{FF2B5EF4-FFF2-40B4-BE49-F238E27FC236}">
                    <a16:creationId xmlns:a16="http://schemas.microsoft.com/office/drawing/2014/main" id="{0346A783-95BF-3152-F7CC-3AE30B3A6DD1}"/>
                  </a:ext>
                </a:extLst>
              </p:cNvPr>
              <p:cNvSpPr>
                <a:spLocks/>
              </p:cNvSpPr>
              <p:nvPr/>
            </p:nvSpPr>
            <p:spPr bwMode="auto">
              <a:xfrm>
                <a:off x="8440738" y="1879600"/>
                <a:ext cx="231775" cy="255588"/>
              </a:xfrm>
              <a:custGeom>
                <a:avLst/>
                <a:gdLst>
                  <a:gd name="T0" fmla="*/ 59 w 62"/>
                  <a:gd name="T1" fmla="*/ 39 h 68"/>
                  <a:gd name="T2" fmla="*/ 52 w 62"/>
                  <a:gd name="T3" fmla="*/ 37 h 68"/>
                  <a:gd name="T4" fmla="*/ 52 w 62"/>
                  <a:gd name="T5" fmla="*/ 28 h 68"/>
                  <a:gd name="T6" fmla="*/ 62 w 62"/>
                  <a:gd name="T7" fmla="*/ 6 h 68"/>
                  <a:gd name="T8" fmla="*/ 62 w 62"/>
                  <a:gd name="T9" fmla="*/ 5 h 68"/>
                  <a:gd name="T10" fmla="*/ 58 w 62"/>
                  <a:gd name="T11" fmla="*/ 6 h 68"/>
                  <a:gd name="T12" fmla="*/ 43 w 62"/>
                  <a:gd name="T13" fmla="*/ 0 h 68"/>
                  <a:gd name="T14" fmla="*/ 28 w 62"/>
                  <a:gd name="T15" fmla="*/ 6 h 68"/>
                  <a:gd name="T16" fmla="*/ 18 w 62"/>
                  <a:gd name="T17" fmla="*/ 2 h 68"/>
                  <a:gd name="T18" fmla="*/ 18 w 62"/>
                  <a:gd name="T19" fmla="*/ 6 h 68"/>
                  <a:gd name="T20" fmla="*/ 28 w 62"/>
                  <a:gd name="T21" fmla="*/ 28 h 68"/>
                  <a:gd name="T22" fmla="*/ 28 w 62"/>
                  <a:gd name="T23" fmla="*/ 37 h 68"/>
                  <a:gd name="T24" fmla="*/ 9 w 62"/>
                  <a:gd name="T25" fmla="*/ 43 h 68"/>
                  <a:gd name="T26" fmla="*/ 0 w 62"/>
                  <a:gd name="T27" fmla="*/ 56 h 68"/>
                  <a:gd name="T28" fmla="*/ 0 w 62"/>
                  <a:gd name="T29" fmla="*/ 68 h 68"/>
                  <a:gd name="T30" fmla="*/ 52 w 62"/>
                  <a:gd name="T31" fmla="*/ 68 h 68"/>
                  <a:gd name="T32" fmla="*/ 52 w 62"/>
                  <a:gd name="T33" fmla="*/ 44 h 68"/>
                  <a:gd name="T34" fmla="*/ 56 w 62"/>
                  <a:gd name="T35" fmla="*/ 41 h 68"/>
                  <a:gd name="T36" fmla="*/ 59 w 62"/>
                  <a:gd name="T37" fmla="*/ 41 h 68"/>
                  <a:gd name="T38" fmla="*/ 59 w 62"/>
                  <a:gd name="T39" fmla="*/ 3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2" h="68">
                    <a:moveTo>
                      <a:pt x="59" y="39"/>
                    </a:moveTo>
                    <a:cubicBezTo>
                      <a:pt x="52" y="37"/>
                      <a:pt x="52" y="37"/>
                      <a:pt x="52" y="37"/>
                    </a:cubicBezTo>
                    <a:cubicBezTo>
                      <a:pt x="52" y="28"/>
                      <a:pt x="52" y="28"/>
                      <a:pt x="52" y="28"/>
                    </a:cubicBezTo>
                    <a:cubicBezTo>
                      <a:pt x="58" y="23"/>
                      <a:pt x="62" y="15"/>
                      <a:pt x="62" y="6"/>
                    </a:cubicBezTo>
                    <a:cubicBezTo>
                      <a:pt x="62" y="6"/>
                      <a:pt x="62" y="6"/>
                      <a:pt x="62" y="5"/>
                    </a:cubicBezTo>
                    <a:cubicBezTo>
                      <a:pt x="60" y="6"/>
                      <a:pt x="59" y="6"/>
                      <a:pt x="58" y="6"/>
                    </a:cubicBezTo>
                    <a:cubicBezTo>
                      <a:pt x="51" y="6"/>
                      <a:pt x="47" y="5"/>
                      <a:pt x="43" y="0"/>
                    </a:cubicBezTo>
                    <a:cubicBezTo>
                      <a:pt x="39" y="3"/>
                      <a:pt x="33" y="6"/>
                      <a:pt x="28" y="6"/>
                    </a:cubicBezTo>
                    <a:cubicBezTo>
                      <a:pt x="25" y="6"/>
                      <a:pt x="21" y="4"/>
                      <a:pt x="18" y="2"/>
                    </a:cubicBezTo>
                    <a:cubicBezTo>
                      <a:pt x="18" y="3"/>
                      <a:pt x="18" y="5"/>
                      <a:pt x="18" y="6"/>
                    </a:cubicBezTo>
                    <a:cubicBezTo>
                      <a:pt x="18" y="15"/>
                      <a:pt x="22" y="23"/>
                      <a:pt x="28" y="28"/>
                    </a:cubicBezTo>
                    <a:cubicBezTo>
                      <a:pt x="28" y="37"/>
                      <a:pt x="28" y="37"/>
                      <a:pt x="28" y="37"/>
                    </a:cubicBezTo>
                    <a:cubicBezTo>
                      <a:pt x="9" y="43"/>
                      <a:pt x="9" y="43"/>
                      <a:pt x="9" y="43"/>
                    </a:cubicBezTo>
                    <a:cubicBezTo>
                      <a:pt x="4" y="45"/>
                      <a:pt x="0" y="51"/>
                      <a:pt x="0" y="56"/>
                    </a:cubicBezTo>
                    <a:cubicBezTo>
                      <a:pt x="0" y="68"/>
                      <a:pt x="0" y="68"/>
                      <a:pt x="0" y="68"/>
                    </a:cubicBezTo>
                    <a:cubicBezTo>
                      <a:pt x="52" y="68"/>
                      <a:pt x="52" y="68"/>
                      <a:pt x="52" y="68"/>
                    </a:cubicBezTo>
                    <a:cubicBezTo>
                      <a:pt x="52" y="44"/>
                      <a:pt x="52" y="44"/>
                      <a:pt x="52" y="44"/>
                    </a:cubicBezTo>
                    <a:cubicBezTo>
                      <a:pt x="52" y="42"/>
                      <a:pt x="54" y="41"/>
                      <a:pt x="56" y="41"/>
                    </a:cubicBezTo>
                    <a:cubicBezTo>
                      <a:pt x="59" y="41"/>
                      <a:pt x="59" y="41"/>
                      <a:pt x="59" y="41"/>
                    </a:cubicBezTo>
                    <a:cubicBezTo>
                      <a:pt x="59" y="40"/>
                      <a:pt x="59" y="40"/>
                      <a:pt x="59"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79" name="Freeform 67">
                <a:extLst>
                  <a:ext uri="{FF2B5EF4-FFF2-40B4-BE49-F238E27FC236}">
                    <a16:creationId xmlns:a16="http://schemas.microsoft.com/office/drawing/2014/main" id="{01AB9074-2813-32A4-A4D2-D40B0E28F287}"/>
                  </a:ext>
                </a:extLst>
              </p:cNvPr>
              <p:cNvSpPr>
                <a:spLocks/>
              </p:cNvSpPr>
              <p:nvPr/>
            </p:nvSpPr>
            <p:spPr bwMode="auto">
              <a:xfrm>
                <a:off x="8512175" y="1804988"/>
                <a:ext cx="160338" cy="82550"/>
              </a:xfrm>
              <a:custGeom>
                <a:avLst/>
                <a:gdLst>
                  <a:gd name="T0" fmla="*/ 22 w 43"/>
                  <a:gd name="T1" fmla="*/ 15 h 22"/>
                  <a:gd name="T2" fmla="*/ 24 w 43"/>
                  <a:gd name="T3" fmla="*/ 12 h 22"/>
                  <a:gd name="T4" fmla="*/ 26 w 43"/>
                  <a:gd name="T5" fmla="*/ 15 h 22"/>
                  <a:gd name="T6" fmla="*/ 39 w 43"/>
                  <a:gd name="T7" fmla="*/ 22 h 22"/>
                  <a:gd name="T8" fmla="*/ 43 w 43"/>
                  <a:gd name="T9" fmla="*/ 21 h 22"/>
                  <a:gd name="T10" fmla="*/ 21 w 43"/>
                  <a:gd name="T11" fmla="*/ 0 h 22"/>
                  <a:gd name="T12" fmla="*/ 0 w 43"/>
                  <a:gd name="T13" fmla="*/ 18 h 22"/>
                  <a:gd name="T14" fmla="*/ 9 w 43"/>
                  <a:gd name="T15" fmla="*/ 22 h 22"/>
                  <a:gd name="T16" fmla="*/ 22 w 43"/>
                  <a:gd name="T17"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22">
                    <a:moveTo>
                      <a:pt x="22" y="15"/>
                    </a:moveTo>
                    <a:cubicBezTo>
                      <a:pt x="24" y="12"/>
                      <a:pt x="24" y="12"/>
                      <a:pt x="24" y="12"/>
                    </a:cubicBezTo>
                    <a:cubicBezTo>
                      <a:pt x="26" y="15"/>
                      <a:pt x="26" y="15"/>
                      <a:pt x="26" y="15"/>
                    </a:cubicBezTo>
                    <a:cubicBezTo>
                      <a:pt x="29" y="21"/>
                      <a:pt x="32" y="22"/>
                      <a:pt x="39" y="22"/>
                    </a:cubicBezTo>
                    <a:cubicBezTo>
                      <a:pt x="40" y="22"/>
                      <a:pt x="41" y="22"/>
                      <a:pt x="43" y="21"/>
                    </a:cubicBezTo>
                    <a:cubicBezTo>
                      <a:pt x="41" y="9"/>
                      <a:pt x="32" y="0"/>
                      <a:pt x="21" y="0"/>
                    </a:cubicBezTo>
                    <a:cubicBezTo>
                      <a:pt x="11" y="0"/>
                      <a:pt x="3" y="8"/>
                      <a:pt x="0" y="18"/>
                    </a:cubicBezTo>
                    <a:cubicBezTo>
                      <a:pt x="3" y="20"/>
                      <a:pt x="6" y="22"/>
                      <a:pt x="9" y="22"/>
                    </a:cubicBezTo>
                    <a:cubicBezTo>
                      <a:pt x="14" y="22"/>
                      <a:pt x="20" y="19"/>
                      <a:pt x="22"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sp>
            <p:nvSpPr>
              <p:cNvPr id="80" name="Freeform 68">
                <a:extLst>
                  <a:ext uri="{FF2B5EF4-FFF2-40B4-BE49-F238E27FC236}">
                    <a16:creationId xmlns:a16="http://schemas.microsoft.com/office/drawing/2014/main" id="{95546783-F6C0-7D66-752A-AED71B15DE02}"/>
                  </a:ext>
                </a:extLst>
              </p:cNvPr>
              <p:cNvSpPr>
                <a:spLocks noEditPoints="1"/>
              </p:cNvSpPr>
              <p:nvPr/>
            </p:nvSpPr>
            <p:spPr bwMode="auto">
              <a:xfrm>
                <a:off x="8650288" y="1981200"/>
                <a:ext cx="150813" cy="184150"/>
              </a:xfrm>
              <a:custGeom>
                <a:avLst/>
                <a:gdLst>
                  <a:gd name="T0" fmla="*/ 38 w 40"/>
                  <a:gd name="T1" fmla="*/ 17 h 49"/>
                  <a:gd name="T2" fmla="*/ 35 w 40"/>
                  <a:gd name="T3" fmla="*/ 17 h 49"/>
                  <a:gd name="T4" fmla="*/ 35 w 40"/>
                  <a:gd name="T5" fmla="*/ 15 h 49"/>
                  <a:gd name="T6" fmla="*/ 20 w 40"/>
                  <a:gd name="T7" fmla="*/ 0 h 49"/>
                  <a:gd name="T8" fmla="*/ 5 w 40"/>
                  <a:gd name="T9" fmla="*/ 15 h 49"/>
                  <a:gd name="T10" fmla="*/ 5 w 40"/>
                  <a:gd name="T11" fmla="*/ 17 h 49"/>
                  <a:gd name="T12" fmla="*/ 2 w 40"/>
                  <a:gd name="T13" fmla="*/ 17 h 49"/>
                  <a:gd name="T14" fmla="*/ 0 w 40"/>
                  <a:gd name="T15" fmla="*/ 19 h 49"/>
                  <a:gd name="T16" fmla="*/ 0 w 40"/>
                  <a:gd name="T17" fmla="*/ 47 h 49"/>
                  <a:gd name="T18" fmla="*/ 2 w 40"/>
                  <a:gd name="T19" fmla="*/ 49 h 49"/>
                  <a:gd name="T20" fmla="*/ 38 w 40"/>
                  <a:gd name="T21" fmla="*/ 49 h 49"/>
                  <a:gd name="T22" fmla="*/ 40 w 40"/>
                  <a:gd name="T23" fmla="*/ 47 h 49"/>
                  <a:gd name="T24" fmla="*/ 40 w 40"/>
                  <a:gd name="T25" fmla="*/ 19 h 49"/>
                  <a:gd name="T26" fmla="*/ 38 w 40"/>
                  <a:gd name="T27" fmla="*/ 17 h 49"/>
                  <a:gd name="T28" fmla="*/ 22 w 40"/>
                  <a:gd name="T29" fmla="*/ 32 h 49"/>
                  <a:gd name="T30" fmla="*/ 22 w 40"/>
                  <a:gd name="T31" fmla="*/ 32 h 49"/>
                  <a:gd name="T32" fmla="*/ 22 w 40"/>
                  <a:gd name="T33" fmla="*/ 39 h 49"/>
                  <a:gd name="T34" fmla="*/ 20 w 40"/>
                  <a:gd name="T35" fmla="*/ 41 h 49"/>
                  <a:gd name="T36" fmla="*/ 18 w 40"/>
                  <a:gd name="T37" fmla="*/ 39 h 49"/>
                  <a:gd name="T38" fmla="*/ 18 w 40"/>
                  <a:gd name="T39" fmla="*/ 32 h 49"/>
                  <a:gd name="T40" fmla="*/ 17 w 40"/>
                  <a:gd name="T41" fmla="*/ 30 h 49"/>
                  <a:gd name="T42" fmla="*/ 20 w 40"/>
                  <a:gd name="T43" fmla="*/ 27 h 49"/>
                  <a:gd name="T44" fmla="*/ 20 w 40"/>
                  <a:gd name="T45" fmla="*/ 27 h 49"/>
                  <a:gd name="T46" fmla="*/ 23 w 40"/>
                  <a:gd name="T47" fmla="*/ 30 h 49"/>
                  <a:gd name="T48" fmla="*/ 22 w 40"/>
                  <a:gd name="T49" fmla="*/ 32 h 49"/>
                  <a:gd name="T50" fmla="*/ 9 w 40"/>
                  <a:gd name="T51" fmla="*/ 17 h 49"/>
                  <a:gd name="T52" fmla="*/ 9 w 40"/>
                  <a:gd name="T53" fmla="*/ 17 h 49"/>
                  <a:gd name="T54" fmla="*/ 9 w 40"/>
                  <a:gd name="T55" fmla="*/ 15 h 49"/>
                  <a:gd name="T56" fmla="*/ 20 w 40"/>
                  <a:gd name="T57" fmla="*/ 4 h 49"/>
                  <a:gd name="T58" fmla="*/ 31 w 40"/>
                  <a:gd name="T59" fmla="*/ 15 h 49"/>
                  <a:gd name="T60" fmla="*/ 31 w 40"/>
                  <a:gd name="T61" fmla="*/ 17 h 49"/>
                  <a:gd name="T62" fmla="*/ 31 w 40"/>
                  <a:gd name="T63" fmla="*/ 17 h 49"/>
                  <a:gd name="T64" fmla="*/ 9 w 40"/>
                  <a:gd name="T65" fmla="*/ 1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49">
                    <a:moveTo>
                      <a:pt x="38" y="17"/>
                    </a:moveTo>
                    <a:cubicBezTo>
                      <a:pt x="35" y="17"/>
                      <a:pt x="35" y="17"/>
                      <a:pt x="35" y="17"/>
                    </a:cubicBezTo>
                    <a:cubicBezTo>
                      <a:pt x="35" y="15"/>
                      <a:pt x="35" y="15"/>
                      <a:pt x="35" y="15"/>
                    </a:cubicBezTo>
                    <a:cubicBezTo>
                      <a:pt x="35" y="8"/>
                      <a:pt x="28" y="0"/>
                      <a:pt x="20" y="0"/>
                    </a:cubicBezTo>
                    <a:cubicBezTo>
                      <a:pt x="12" y="0"/>
                      <a:pt x="5" y="8"/>
                      <a:pt x="5" y="15"/>
                    </a:cubicBezTo>
                    <a:cubicBezTo>
                      <a:pt x="5" y="17"/>
                      <a:pt x="5" y="17"/>
                      <a:pt x="5" y="17"/>
                    </a:cubicBezTo>
                    <a:cubicBezTo>
                      <a:pt x="2" y="17"/>
                      <a:pt x="2" y="17"/>
                      <a:pt x="2" y="17"/>
                    </a:cubicBezTo>
                    <a:cubicBezTo>
                      <a:pt x="1" y="17"/>
                      <a:pt x="0" y="18"/>
                      <a:pt x="0" y="19"/>
                    </a:cubicBezTo>
                    <a:cubicBezTo>
                      <a:pt x="0" y="47"/>
                      <a:pt x="0" y="47"/>
                      <a:pt x="0" y="47"/>
                    </a:cubicBezTo>
                    <a:cubicBezTo>
                      <a:pt x="0" y="48"/>
                      <a:pt x="1" y="49"/>
                      <a:pt x="2" y="49"/>
                    </a:cubicBezTo>
                    <a:cubicBezTo>
                      <a:pt x="38" y="49"/>
                      <a:pt x="38" y="49"/>
                      <a:pt x="38" y="49"/>
                    </a:cubicBezTo>
                    <a:cubicBezTo>
                      <a:pt x="39" y="49"/>
                      <a:pt x="40" y="48"/>
                      <a:pt x="40" y="47"/>
                    </a:cubicBezTo>
                    <a:cubicBezTo>
                      <a:pt x="40" y="19"/>
                      <a:pt x="40" y="19"/>
                      <a:pt x="40" y="19"/>
                    </a:cubicBezTo>
                    <a:cubicBezTo>
                      <a:pt x="40" y="18"/>
                      <a:pt x="39" y="17"/>
                      <a:pt x="38" y="17"/>
                    </a:cubicBezTo>
                    <a:close/>
                    <a:moveTo>
                      <a:pt x="22" y="32"/>
                    </a:moveTo>
                    <a:cubicBezTo>
                      <a:pt x="22" y="32"/>
                      <a:pt x="22" y="32"/>
                      <a:pt x="22" y="32"/>
                    </a:cubicBezTo>
                    <a:cubicBezTo>
                      <a:pt x="22" y="39"/>
                      <a:pt x="22" y="39"/>
                      <a:pt x="22" y="39"/>
                    </a:cubicBezTo>
                    <a:cubicBezTo>
                      <a:pt x="22" y="41"/>
                      <a:pt x="21" y="41"/>
                      <a:pt x="20" y="41"/>
                    </a:cubicBezTo>
                    <a:cubicBezTo>
                      <a:pt x="19" y="41"/>
                      <a:pt x="18" y="41"/>
                      <a:pt x="18" y="39"/>
                    </a:cubicBezTo>
                    <a:cubicBezTo>
                      <a:pt x="18" y="32"/>
                      <a:pt x="18" y="32"/>
                      <a:pt x="18" y="32"/>
                    </a:cubicBezTo>
                    <a:cubicBezTo>
                      <a:pt x="17" y="32"/>
                      <a:pt x="17" y="31"/>
                      <a:pt x="17" y="30"/>
                    </a:cubicBezTo>
                    <a:cubicBezTo>
                      <a:pt x="17" y="28"/>
                      <a:pt x="18" y="27"/>
                      <a:pt x="20" y="27"/>
                    </a:cubicBezTo>
                    <a:cubicBezTo>
                      <a:pt x="20" y="27"/>
                      <a:pt x="20" y="27"/>
                      <a:pt x="20" y="27"/>
                    </a:cubicBezTo>
                    <a:cubicBezTo>
                      <a:pt x="22" y="27"/>
                      <a:pt x="23" y="28"/>
                      <a:pt x="23" y="30"/>
                    </a:cubicBezTo>
                    <a:cubicBezTo>
                      <a:pt x="23" y="31"/>
                      <a:pt x="23" y="31"/>
                      <a:pt x="22" y="32"/>
                    </a:cubicBezTo>
                    <a:close/>
                    <a:moveTo>
                      <a:pt x="9" y="17"/>
                    </a:moveTo>
                    <a:cubicBezTo>
                      <a:pt x="9" y="17"/>
                      <a:pt x="9" y="17"/>
                      <a:pt x="9" y="17"/>
                    </a:cubicBezTo>
                    <a:cubicBezTo>
                      <a:pt x="9" y="15"/>
                      <a:pt x="9" y="15"/>
                      <a:pt x="9" y="15"/>
                    </a:cubicBezTo>
                    <a:cubicBezTo>
                      <a:pt x="9" y="10"/>
                      <a:pt x="15" y="4"/>
                      <a:pt x="20" y="4"/>
                    </a:cubicBezTo>
                    <a:cubicBezTo>
                      <a:pt x="25" y="4"/>
                      <a:pt x="31" y="10"/>
                      <a:pt x="31" y="15"/>
                    </a:cubicBezTo>
                    <a:cubicBezTo>
                      <a:pt x="31" y="17"/>
                      <a:pt x="31" y="17"/>
                      <a:pt x="31" y="17"/>
                    </a:cubicBezTo>
                    <a:cubicBezTo>
                      <a:pt x="31" y="17"/>
                      <a:pt x="31" y="17"/>
                      <a:pt x="31" y="17"/>
                    </a:cubicBezTo>
                    <a:lnTo>
                      <a:pt x="9"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752" name="Group 751">
            <a:extLst>
              <a:ext uri="{FF2B5EF4-FFF2-40B4-BE49-F238E27FC236}">
                <a16:creationId xmlns:a16="http://schemas.microsoft.com/office/drawing/2014/main" id="{30BEA8F7-7F4E-4C3B-A566-421B275B7615}"/>
              </a:ext>
            </a:extLst>
          </p:cNvPr>
          <p:cNvGrpSpPr/>
          <p:nvPr/>
        </p:nvGrpSpPr>
        <p:grpSpPr>
          <a:xfrm>
            <a:off x="3938904" y="400579"/>
            <a:ext cx="7558234" cy="1609306"/>
            <a:chOff x="4305762" y="388596"/>
            <a:chExt cx="7346080" cy="1849608"/>
          </a:xfrm>
        </p:grpSpPr>
        <p:grpSp>
          <p:nvGrpSpPr>
            <p:cNvPr id="753" name="Group 752">
              <a:extLst>
                <a:ext uri="{FF2B5EF4-FFF2-40B4-BE49-F238E27FC236}">
                  <a16:creationId xmlns:a16="http://schemas.microsoft.com/office/drawing/2014/main" id="{858C5FC1-9E64-4C7D-A994-CE8A3B973559}"/>
                </a:ext>
              </a:extLst>
            </p:cNvPr>
            <p:cNvGrpSpPr/>
            <p:nvPr/>
          </p:nvGrpSpPr>
          <p:grpSpPr>
            <a:xfrm>
              <a:off x="4305762" y="388596"/>
              <a:ext cx="7265078" cy="1809896"/>
              <a:chOff x="849526" y="8754832"/>
              <a:chExt cx="10565155" cy="2632020"/>
            </a:xfrm>
          </p:grpSpPr>
          <p:grpSp>
            <p:nvGrpSpPr>
              <p:cNvPr id="766" name="Graphic 10">
                <a:extLst>
                  <a:ext uri="{FF2B5EF4-FFF2-40B4-BE49-F238E27FC236}">
                    <a16:creationId xmlns:a16="http://schemas.microsoft.com/office/drawing/2014/main" id="{BD2FE789-EA79-45AE-8E20-FC0A365FCA45}"/>
                  </a:ext>
                </a:extLst>
              </p:cNvPr>
              <p:cNvGrpSpPr/>
              <p:nvPr/>
            </p:nvGrpSpPr>
            <p:grpSpPr>
              <a:xfrm>
                <a:off x="10327843" y="10633068"/>
                <a:ext cx="1086838" cy="745206"/>
                <a:chOff x="10327843" y="10633068"/>
                <a:chExt cx="1086838" cy="745206"/>
              </a:xfrm>
            </p:grpSpPr>
            <p:sp>
              <p:nvSpPr>
                <p:cNvPr id="1431" name="Freeform: Shape 1430">
                  <a:extLst>
                    <a:ext uri="{FF2B5EF4-FFF2-40B4-BE49-F238E27FC236}">
                      <a16:creationId xmlns:a16="http://schemas.microsoft.com/office/drawing/2014/main" id="{1BB8056B-0B30-4FFD-A13A-6455CDF299AC}"/>
                    </a:ext>
                  </a:extLst>
                </p:cNvPr>
                <p:cNvSpPr/>
                <p:nvPr/>
              </p:nvSpPr>
              <p:spPr>
                <a:xfrm>
                  <a:off x="11187091" y="11070958"/>
                  <a:ext cx="150145" cy="307158"/>
                </a:xfrm>
                <a:custGeom>
                  <a:avLst/>
                  <a:gdLst>
                    <a:gd name="connsiteX0" fmla="*/ 112218 w 150145"/>
                    <a:gd name="connsiteY0" fmla="*/ 185121 h 307158"/>
                    <a:gd name="connsiteX1" fmla="*/ 119298 w 150145"/>
                    <a:gd name="connsiteY1" fmla="*/ 182761 h 307158"/>
                    <a:gd name="connsiteX2" fmla="*/ 124685 w 150145"/>
                    <a:gd name="connsiteY2" fmla="*/ 178002 h 307158"/>
                    <a:gd name="connsiteX3" fmla="*/ 128402 w 150145"/>
                    <a:gd name="connsiteY3" fmla="*/ 163805 h 307158"/>
                    <a:gd name="connsiteX4" fmla="*/ 121067 w 150145"/>
                    <a:gd name="connsiteY4" fmla="*/ 150944 h 307158"/>
                    <a:gd name="connsiteX5" fmla="*/ 106830 w 150145"/>
                    <a:gd name="connsiteY5" fmla="*/ 147365 h 307158"/>
                    <a:gd name="connsiteX6" fmla="*/ 89998 w 150145"/>
                    <a:gd name="connsiteY6" fmla="*/ 152694 h 307158"/>
                    <a:gd name="connsiteX7" fmla="*/ 71454 w 150145"/>
                    <a:gd name="connsiteY7" fmla="*/ 162841 h 307158"/>
                    <a:gd name="connsiteX8" fmla="*/ 88148 w 150145"/>
                    <a:gd name="connsiteY8" fmla="*/ 127110 h 307158"/>
                    <a:gd name="connsiteX9" fmla="*/ 128126 w 150145"/>
                    <a:gd name="connsiteY9" fmla="*/ 136667 h 307158"/>
                    <a:gd name="connsiteX10" fmla="*/ 139375 w 150145"/>
                    <a:gd name="connsiteY10" fmla="*/ 128861 h 307158"/>
                    <a:gd name="connsiteX11" fmla="*/ 142462 w 150145"/>
                    <a:gd name="connsiteY11" fmla="*/ 114584 h 307158"/>
                    <a:gd name="connsiteX12" fmla="*/ 139945 w 150145"/>
                    <a:gd name="connsiteY12" fmla="*/ 107800 h 307158"/>
                    <a:gd name="connsiteX13" fmla="*/ 135304 w 150145"/>
                    <a:gd name="connsiteY13" fmla="*/ 103120 h 307158"/>
                    <a:gd name="connsiteX14" fmla="*/ 122522 w 150145"/>
                    <a:gd name="connsiteY14" fmla="*/ 101488 h 307158"/>
                    <a:gd name="connsiteX15" fmla="*/ 108246 w 150145"/>
                    <a:gd name="connsiteY15" fmla="*/ 107780 h 307158"/>
                    <a:gd name="connsiteX16" fmla="*/ 92436 w 150145"/>
                    <a:gd name="connsiteY16" fmla="*/ 117534 h 307158"/>
                    <a:gd name="connsiteX17" fmla="*/ 104529 w 150145"/>
                    <a:gd name="connsiteY17" fmla="*/ 85579 h 307158"/>
                    <a:gd name="connsiteX18" fmla="*/ 122621 w 150145"/>
                    <a:gd name="connsiteY18" fmla="*/ 89178 h 307158"/>
                    <a:gd name="connsiteX19" fmla="*/ 139867 w 150145"/>
                    <a:gd name="connsiteY19" fmla="*/ 88588 h 307158"/>
                    <a:gd name="connsiteX20" fmla="*/ 145097 w 150145"/>
                    <a:gd name="connsiteY20" fmla="*/ 84891 h 307158"/>
                    <a:gd name="connsiteX21" fmla="*/ 148656 w 150145"/>
                    <a:gd name="connsiteY21" fmla="*/ 79129 h 307158"/>
                    <a:gd name="connsiteX22" fmla="*/ 150131 w 150145"/>
                    <a:gd name="connsiteY22" fmla="*/ 72148 h 307158"/>
                    <a:gd name="connsiteX23" fmla="*/ 149974 w 150145"/>
                    <a:gd name="connsiteY23" fmla="*/ 68510 h 307158"/>
                    <a:gd name="connsiteX24" fmla="*/ 149129 w 150145"/>
                    <a:gd name="connsiteY24" fmla="*/ 64931 h 307158"/>
                    <a:gd name="connsiteX25" fmla="*/ 145766 w 150145"/>
                    <a:gd name="connsiteY25" fmla="*/ 59150 h 307158"/>
                    <a:gd name="connsiteX26" fmla="*/ 140948 w 150145"/>
                    <a:gd name="connsiteY26" fmla="*/ 55905 h 307158"/>
                    <a:gd name="connsiteX27" fmla="*/ 129818 w 150145"/>
                    <a:gd name="connsiteY27" fmla="*/ 57282 h 307158"/>
                    <a:gd name="connsiteX28" fmla="*/ 119061 w 150145"/>
                    <a:gd name="connsiteY28" fmla="*/ 65580 h 307158"/>
                    <a:gd name="connsiteX29" fmla="*/ 107145 w 150145"/>
                    <a:gd name="connsiteY29" fmla="*/ 76435 h 307158"/>
                    <a:gd name="connsiteX30" fmla="*/ 109701 w 150145"/>
                    <a:gd name="connsiteY30" fmla="*/ 64636 h 307158"/>
                    <a:gd name="connsiteX31" fmla="*/ 111274 w 150145"/>
                    <a:gd name="connsiteY31" fmla="*/ 52661 h 307158"/>
                    <a:gd name="connsiteX32" fmla="*/ 114342 w 150145"/>
                    <a:gd name="connsiteY32" fmla="*/ 50773 h 307158"/>
                    <a:gd name="connsiteX33" fmla="*/ 117252 w 150145"/>
                    <a:gd name="connsiteY33" fmla="*/ 47017 h 307158"/>
                    <a:gd name="connsiteX34" fmla="*/ 121677 w 150145"/>
                    <a:gd name="connsiteY34" fmla="*/ 35533 h 307158"/>
                    <a:gd name="connsiteX35" fmla="*/ 122326 w 150145"/>
                    <a:gd name="connsiteY35" fmla="*/ 32190 h 307158"/>
                    <a:gd name="connsiteX36" fmla="*/ 122601 w 150145"/>
                    <a:gd name="connsiteY36" fmla="*/ 30499 h 307158"/>
                    <a:gd name="connsiteX37" fmla="*/ 122797 w 150145"/>
                    <a:gd name="connsiteY37" fmla="*/ 28808 h 307158"/>
                    <a:gd name="connsiteX38" fmla="*/ 123092 w 150145"/>
                    <a:gd name="connsiteY38" fmla="*/ 25465 h 307158"/>
                    <a:gd name="connsiteX39" fmla="*/ 123152 w 150145"/>
                    <a:gd name="connsiteY39" fmla="*/ 22240 h 307158"/>
                    <a:gd name="connsiteX40" fmla="*/ 122050 w 150145"/>
                    <a:gd name="connsiteY40" fmla="*/ 12112 h 307158"/>
                    <a:gd name="connsiteX41" fmla="*/ 120733 w 150145"/>
                    <a:gd name="connsiteY41" fmla="*/ 8651 h 307158"/>
                    <a:gd name="connsiteX42" fmla="*/ 118845 w 150145"/>
                    <a:gd name="connsiteY42" fmla="*/ 5682 h 307158"/>
                    <a:gd name="connsiteX43" fmla="*/ 113752 w 150145"/>
                    <a:gd name="connsiteY43" fmla="*/ 1513 h 307158"/>
                    <a:gd name="connsiteX44" fmla="*/ 101540 w 150145"/>
                    <a:gd name="connsiteY44" fmla="*/ 1238 h 307158"/>
                    <a:gd name="connsiteX45" fmla="*/ 92848 w 150145"/>
                    <a:gd name="connsiteY45" fmla="*/ 9556 h 307158"/>
                    <a:gd name="connsiteX46" fmla="*/ 91137 w 150145"/>
                    <a:gd name="connsiteY46" fmla="*/ 14866 h 307158"/>
                    <a:gd name="connsiteX47" fmla="*/ 91000 w 150145"/>
                    <a:gd name="connsiteY47" fmla="*/ 17579 h 307158"/>
                    <a:gd name="connsiteX48" fmla="*/ 91433 w 150145"/>
                    <a:gd name="connsiteY48" fmla="*/ 20273 h 307158"/>
                    <a:gd name="connsiteX49" fmla="*/ 94126 w 150145"/>
                    <a:gd name="connsiteY49" fmla="*/ 27333 h 307158"/>
                    <a:gd name="connsiteX50" fmla="*/ 95110 w 150145"/>
                    <a:gd name="connsiteY50" fmla="*/ 29575 h 307158"/>
                    <a:gd name="connsiteX51" fmla="*/ 96132 w 150145"/>
                    <a:gd name="connsiteY51" fmla="*/ 31954 h 307158"/>
                    <a:gd name="connsiteX52" fmla="*/ 96683 w 150145"/>
                    <a:gd name="connsiteY52" fmla="*/ 33173 h 307158"/>
                    <a:gd name="connsiteX53" fmla="*/ 97214 w 150145"/>
                    <a:gd name="connsiteY53" fmla="*/ 34412 h 307158"/>
                    <a:gd name="connsiteX54" fmla="*/ 98335 w 150145"/>
                    <a:gd name="connsiteY54" fmla="*/ 36929 h 307158"/>
                    <a:gd name="connsiteX55" fmla="*/ 102975 w 150145"/>
                    <a:gd name="connsiteY55" fmla="*/ 46486 h 307158"/>
                    <a:gd name="connsiteX56" fmla="*/ 105512 w 150145"/>
                    <a:gd name="connsiteY56" fmla="*/ 50163 h 307158"/>
                    <a:gd name="connsiteX57" fmla="*/ 108285 w 150145"/>
                    <a:gd name="connsiteY57" fmla="*/ 52385 h 307158"/>
                    <a:gd name="connsiteX58" fmla="*/ 106732 w 150145"/>
                    <a:gd name="connsiteY58" fmla="*/ 64105 h 307158"/>
                    <a:gd name="connsiteX59" fmla="*/ 104234 w 150145"/>
                    <a:gd name="connsiteY59" fmla="*/ 75688 h 307158"/>
                    <a:gd name="connsiteX60" fmla="*/ 97588 w 150145"/>
                    <a:gd name="connsiteY60" fmla="*/ 61883 h 307158"/>
                    <a:gd name="connsiteX61" fmla="*/ 89210 w 150145"/>
                    <a:gd name="connsiteY61" fmla="*/ 52995 h 307158"/>
                    <a:gd name="connsiteX62" fmla="*/ 78513 w 150145"/>
                    <a:gd name="connsiteY62" fmla="*/ 50321 h 307158"/>
                    <a:gd name="connsiteX63" fmla="*/ 73243 w 150145"/>
                    <a:gd name="connsiteY63" fmla="*/ 51402 h 307158"/>
                    <a:gd name="connsiteX64" fmla="*/ 68878 w 150145"/>
                    <a:gd name="connsiteY64" fmla="*/ 53781 h 307158"/>
                    <a:gd name="connsiteX65" fmla="*/ 67285 w 150145"/>
                    <a:gd name="connsiteY65" fmla="*/ 55374 h 307158"/>
                    <a:gd name="connsiteX66" fmla="*/ 66183 w 150145"/>
                    <a:gd name="connsiteY66" fmla="*/ 57144 h 307158"/>
                    <a:gd name="connsiteX67" fmla="*/ 65495 w 150145"/>
                    <a:gd name="connsiteY67" fmla="*/ 61077 h 307158"/>
                    <a:gd name="connsiteX68" fmla="*/ 66734 w 150145"/>
                    <a:gd name="connsiteY68" fmla="*/ 65305 h 307158"/>
                    <a:gd name="connsiteX69" fmla="*/ 69900 w 150145"/>
                    <a:gd name="connsiteY69" fmla="*/ 69415 h 307158"/>
                    <a:gd name="connsiteX70" fmla="*/ 84590 w 150145"/>
                    <a:gd name="connsiteY70" fmla="*/ 77753 h 307158"/>
                    <a:gd name="connsiteX71" fmla="*/ 101658 w 150145"/>
                    <a:gd name="connsiteY71" fmla="*/ 84635 h 307158"/>
                    <a:gd name="connsiteX72" fmla="*/ 89683 w 150145"/>
                    <a:gd name="connsiteY72" fmla="*/ 116295 h 307158"/>
                    <a:gd name="connsiteX73" fmla="*/ 85179 w 150145"/>
                    <a:gd name="connsiteY73" fmla="*/ 98715 h 307158"/>
                    <a:gd name="connsiteX74" fmla="*/ 78021 w 150145"/>
                    <a:gd name="connsiteY74" fmla="*/ 85815 h 307158"/>
                    <a:gd name="connsiteX75" fmla="*/ 66774 w 150145"/>
                    <a:gd name="connsiteY75" fmla="*/ 79739 h 307158"/>
                    <a:gd name="connsiteX76" fmla="*/ 60481 w 150145"/>
                    <a:gd name="connsiteY76" fmla="*/ 79798 h 307158"/>
                    <a:gd name="connsiteX77" fmla="*/ 54739 w 150145"/>
                    <a:gd name="connsiteY77" fmla="*/ 81961 h 307158"/>
                    <a:gd name="connsiteX78" fmla="*/ 48584 w 150145"/>
                    <a:gd name="connsiteY78" fmla="*/ 91183 h 307158"/>
                    <a:gd name="connsiteX79" fmla="*/ 51494 w 150145"/>
                    <a:gd name="connsiteY79" fmla="*/ 102845 h 307158"/>
                    <a:gd name="connsiteX80" fmla="*/ 85455 w 150145"/>
                    <a:gd name="connsiteY80" fmla="*/ 125813 h 307158"/>
                    <a:gd name="connsiteX81" fmla="*/ 68759 w 150145"/>
                    <a:gd name="connsiteY81" fmla="*/ 161523 h 307158"/>
                    <a:gd name="connsiteX82" fmla="*/ 64748 w 150145"/>
                    <a:gd name="connsiteY82" fmla="*/ 140718 h 307158"/>
                    <a:gd name="connsiteX83" fmla="*/ 58023 w 150145"/>
                    <a:gd name="connsiteY83" fmla="*/ 124535 h 307158"/>
                    <a:gd name="connsiteX84" fmla="*/ 46047 w 150145"/>
                    <a:gd name="connsiteY84" fmla="*/ 116079 h 307158"/>
                    <a:gd name="connsiteX85" fmla="*/ 31692 w 150145"/>
                    <a:gd name="connsiteY85" fmla="*/ 118261 h 307158"/>
                    <a:gd name="connsiteX86" fmla="*/ 23118 w 150145"/>
                    <a:gd name="connsiteY86" fmla="*/ 130139 h 307158"/>
                    <a:gd name="connsiteX87" fmla="*/ 22764 w 150145"/>
                    <a:gd name="connsiteY87" fmla="*/ 137631 h 307158"/>
                    <a:gd name="connsiteX88" fmla="*/ 25360 w 150145"/>
                    <a:gd name="connsiteY88" fmla="*/ 144927 h 307158"/>
                    <a:gd name="connsiteX89" fmla="*/ 42724 w 150145"/>
                    <a:gd name="connsiteY89" fmla="*/ 159931 h 307158"/>
                    <a:gd name="connsiteX90" fmla="*/ 63942 w 150145"/>
                    <a:gd name="connsiteY90" fmla="*/ 172024 h 307158"/>
                    <a:gd name="connsiteX91" fmla="*/ 50432 w 150145"/>
                    <a:gd name="connsiteY91" fmla="*/ 204510 h 307158"/>
                    <a:gd name="connsiteX92" fmla="*/ 45791 w 150145"/>
                    <a:gd name="connsiteY92" fmla="*/ 186537 h 307158"/>
                    <a:gd name="connsiteX93" fmla="*/ 39597 w 150145"/>
                    <a:gd name="connsiteY93" fmla="*/ 172437 h 307158"/>
                    <a:gd name="connsiteX94" fmla="*/ 16216 w 150145"/>
                    <a:gd name="connsiteY94" fmla="*/ 168072 h 307158"/>
                    <a:gd name="connsiteX95" fmla="*/ 8783 w 150145"/>
                    <a:gd name="connsiteY95" fmla="*/ 180028 h 307158"/>
                    <a:gd name="connsiteX96" fmla="*/ 8743 w 150145"/>
                    <a:gd name="connsiteY96" fmla="*/ 187107 h 307158"/>
                    <a:gd name="connsiteX97" fmla="*/ 11398 w 150145"/>
                    <a:gd name="connsiteY97" fmla="*/ 193655 h 307158"/>
                    <a:gd name="connsiteX98" fmla="*/ 27484 w 150145"/>
                    <a:gd name="connsiteY98" fmla="*/ 205592 h 307158"/>
                    <a:gd name="connsiteX99" fmla="*/ 46932 w 150145"/>
                    <a:gd name="connsiteY99" fmla="*/ 214382 h 307158"/>
                    <a:gd name="connsiteX100" fmla="*/ 42311 w 150145"/>
                    <a:gd name="connsiteY100" fmla="*/ 229248 h 307158"/>
                    <a:gd name="connsiteX101" fmla="*/ 38516 w 150145"/>
                    <a:gd name="connsiteY101" fmla="*/ 244350 h 307158"/>
                    <a:gd name="connsiteX102" fmla="*/ 35920 w 150145"/>
                    <a:gd name="connsiteY102" fmla="*/ 237114 h 307158"/>
                    <a:gd name="connsiteX103" fmla="*/ 32479 w 150145"/>
                    <a:gd name="connsiteY103" fmla="*/ 229582 h 307158"/>
                    <a:gd name="connsiteX104" fmla="*/ 25852 w 150145"/>
                    <a:gd name="connsiteY104" fmla="*/ 218138 h 307158"/>
                    <a:gd name="connsiteX105" fmla="*/ 16059 w 150145"/>
                    <a:gd name="connsiteY105" fmla="*/ 212809 h 307158"/>
                    <a:gd name="connsiteX106" fmla="*/ 5243 w 150145"/>
                    <a:gd name="connsiteY106" fmla="*/ 216938 h 307158"/>
                    <a:gd name="connsiteX107" fmla="*/ 1546 w 150145"/>
                    <a:gd name="connsiteY107" fmla="*/ 222306 h 307158"/>
                    <a:gd name="connsiteX108" fmla="*/ 33 w 150145"/>
                    <a:gd name="connsiteY108" fmla="*/ 228599 h 307158"/>
                    <a:gd name="connsiteX109" fmla="*/ 3847 w 150145"/>
                    <a:gd name="connsiteY109" fmla="*/ 240358 h 307158"/>
                    <a:gd name="connsiteX110" fmla="*/ 9943 w 150145"/>
                    <a:gd name="connsiteY110" fmla="*/ 244704 h 307158"/>
                    <a:gd name="connsiteX111" fmla="*/ 18969 w 150145"/>
                    <a:gd name="connsiteY111" fmla="*/ 248598 h 307158"/>
                    <a:gd name="connsiteX112" fmla="*/ 36707 w 150145"/>
                    <a:gd name="connsiteY112" fmla="*/ 253632 h 307158"/>
                    <a:gd name="connsiteX113" fmla="*/ 34052 w 150145"/>
                    <a:gd name="connsiteY113" fmla="*/ 307159 h 307158"/>
                    <a:gd name="connsiteX114" fmla="*/ 37001 w 150145"/>
                    <a:gd name="connsiteY114" fmla="*/ 306923 h 307158"/>
                    <a:gd name="connsiteX115" fmla="*/ 39617 w 150145"/>
                    <a:gd name="connsiteY115" fmla="*/ 254163 h 307158"/>
                    <a:gd name="connsiteX116" fmla="*/ 57964 w 150145"/>
                    <a:gd name="connsiteY116" fmla="*/ 255815 h 307158"/>
                    <a:gd name="connsiteX117" fmla="*/ 67678 w 150145"/>
                    <a:gd name="connsiteY117" fmla="*/ 255893 h 307158"/>
                    <a:gd name="connsiteX118" fmla="*/ 74856 w 150145"/>
                    <a:gd name="connsiteY118" fmla="*/ 254949 h 307158"/>
                    <a:gd name="connsiteX119" fmla="*/ 82662 w 150145"/>
                    <a:gd name="connsiteY119" fmla="*/ 248814 h 307158"/>
                    <a:gd name="connsiteX120" fmla="*/ 83901 w 150145"/>
                    <a:gd name="connsiteY120" fmla="*/ 244311 h 307158"/>
                    <a:gd name="connsiteX121" fmla="*/ 83076 w 150145"/>
                    <a:gd name="connsiteY121" fmla="*/ 239356 h 307158"/>
                    <a:gd name="connsiteX122" fmla="*/ 75878 w 150145"/>
                    <a:gd name="connsiteY122" fmla="*/ 231450 h 307158"/>
                    <a:gd name="connsiteX123" fmla="*/ 64886 w 150145"/>
                    <a:gd name="connsiteY123" fmla="*/ 230015 h 307158"/>
                    <a:gd name="connsiteX124" fmla="*/ 53480 w 150145"/>
                    <a:gd name="connsiteY124" fmla="*/ 235265 h 307158"/>
                    <a:gd name="connsiteX125" fmla="*/ 46912 w 150145"/>
                    <a:gd name="connsiteY125" fmla="*/ 239808 h 307158"/>
                    <a:gd name="connsiteX126" fmla="*/ 41426 w 150145"/>
                    <a:gd name="connsiteY126" fmla="*/ 244980 h 307158"/>
                    <a:gd name="connsiteX127" fmla="*/ 45182 w 150145"/>
                    <a:gd name="connsiteY127" fmla="*/ 230034 h 307158"/>
                    <a:gd name="connsiteX128" fmla="*/ 49763 w 150145"/>
                    <a:gd name="connsiteY128" fmla="*/ 215306 h 307158"/>
                    <a:gd name="connsiteX129" fmla="*/ 70470 w 150145"/>
                    <a:gd name="connsiteY129" fmla="*/ 220379 h 307158"/>
                    <a:gd name="connsiteX130" fmla="*/ 90154 w 150145"/>
                    <a:gd name="connsiteY130" fmla="*/ 222149 h 307158"/>
                    <a:gd name="connsiteX131" fmla="*/ 96034 w 150145"/>
                    <a:gd name="connsiteY131" fmla="*/ 219927 h 307158"/>
                    <a:gd name="connsiteX132" fmla="*/ 100262 w 150145"/>
                    <a:gd name="connsiteY132" fmla="*/ 215955 h 307158"/>
                    <a:gd name="connsiteX133" fmla="*/ 102386 w 150145"/>
                    <a:gd name="connsiteY133" fmla="*/ 204549 h 307158"/>
                    <a:gd name="connsiteX134" fmla="*/ 82879 w 150145"/>
                    <a:gd name="connsiteY134" fmla="*/ 191158 h 307158"/>
                    <a:gd name="connsiteX135" fmla="*/ 68720 w 150145"/>
                    <a:gd name="connsiteY135" fmla="*/ 195917 h 307158"/>
                    <a:gd name="connsiteX136" fmla="*/ 53264 w 150145"/>
                    <a:gd name="connsiteY136" fmla="*/ 205493 h 307158"/>
                    <a:gd name="connsiteX137" fmla="*/ 66695 w 150145"/>
                    <a:gd name="connsiteY137" fmla="*/ 173185 h 307158"/>
                    <a:gd name="connsiteX138" fmla="*/ 89741 w 150145"/>
                    <a:gd name="connsiteY138" fmla="*/ 181227 h 307158"/>
                    <a:gd name="connsiteX139" fmla="*/ 112237 w 150145"/>
                    <a:gd name="connsiteY139" fmla="*/ 185003 h 307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50145" h="307158">
                      <a:moveTo>
                        <a:pt x="112218" y="185121"/>
                      </a:moveTo>
                      <a:cubicBezTo>
                        <a:pt x="114814" y="184787"/>
                        <a:pt x="117213" y="183961"/>
                        <a:pt x="119298" y="182761"/>
                      </a:cubicBezTo>
                      <a:cubicBezTo>
                        <a:pt x="121422" y="181522"/>
                        <a:pt x="123231" y="179929"/>
                        <a:pt x="124685" y="178002"/>
                      </a:cubicBezTo>
                      <a:cubicBezTo>
                        <a:pt x="127596" y="174187"/>
                        <a:pt x="129110" y="169114"/>
                        <a:pt x="128402" y="163805"/>
                      </a:cubicBezTo>
                      <a:cubicBezTo>
                        <a:pt x="127714" y="158476"/>
                        <a:pt x="124961" y="153913"/>
                        <a:pt x="121067" y="150944"/>
                      </a:cubicBezTo>
                      <a:cubicBezTo>
                        <a:pt x="117154" y="147974"/>
                        <a:pt x="112100" y="146578"/>
                        <a:pt x="106830" y="147365"/>
                      </a:cubicBezTo>
                      <a:cubicBezTo>
                        <a:pt x="103133" y="147935"/>
                        <a:pt x="96703" y="149941"/>
                        <a:pt x="89998" y="152694"/>
                      </a:cubicBezTo>
                      <a:cubicBezTo>
                        <a:pt x="83292" y="155467"/>
                        <a:pt x="76291" y="159026"/>
                        <a:pt x="71454" y="162841"/>
                      </a:cubicBezTo>
                      <a:cubicBezTo>
                        <a:pt x="76980" y="150924"/>
                        <a:pt x="82701" y="139106"/>
                        <a:pt x="88148" y="127110"/>
                      </a:cubicBezTo>
                      <a:cubicBezTo>
                        <a:pt x="97489" y="131102"/>
                        <a:pt x="119317" y="138418"/>
                        <a:pt x="128126" y="136667"/>
                      </a:cubicBezTo>
                      <a:cubicBezTo>
                        <a:pt x="132768" y="135763"/>
                        <a:pt x="136739" y="132853"/>
                        <a:pt x="139375" y="128861"/>
                      </a:cubicBezTo>
                      <a:cubicBezTo>
                        <a:pt x="141991" y="124829"/>
                        <a:pt x="143269" y="119717"/>
                        <a:pt x="142462" y="114584"/>
                      </a:cubicBezTo>
                      <a:cubicBezTo>
                        <a:pt x="142069" y="112047"/>
                        <a:pt x="141184" y="109727"/>
                        <a:pt x="139945" y="107800"/>
                      </a:cubicBezTo>
                      <a:cubicBezTo>
                        <a:pt x="138726" y="105873"/>
                        <a:pt x="137133" y="104300"/>
                        <a:pt x="135304" y="103120"/>
                      </a:cubicBezTo>
                      <a:cubicBezTo>
                        <a:pt x="131647" y="100780"/>
                        <a:pt x="127104" y="100190"/>
                        <a:pt x="122522" y="101488"/>
                      </a:cubicBezTo>
                      <a:cubicBezTo>
                        <a:pt x="119337" y="102412"/>
                        <a:pt x="113929" y="104870"/>
                        <a:pt x="108246" y="107780"/>
                      </a:cubicBezTo>
                      <a:cubicBezTo>
                        <a:pt x="102583" y="110710"/>
                        <a:pt x="96624" y="114132"/>
                        <a:pt x="92436" y="117534"/>
                      </a:cubicBezTo>
                      <a:cubicBezTo>
                        <a:pt x="96958" y="107112"/>
                        <a:pt x="101167" y="96493"/>
                        <a:pt x="104529" y="85579"/>
                      </a:cubicBezTo>
                      <a:cubicBezTo>
                        <a:pt x="108816" y="86779"/>
                        <a:pt x="115778" y="88332"/>
                        <a:pt x="122621" y="89178"/>
                      </a:cubicBezTo>
                      <a:cubicBezTo>
                        <a:pt x="129444" y="90023"/>
                        <a:pt x="136150" y="90122"/>
                        <a:pt x="139867" y="88588"/>
                      </a:cubicBezTo>
                      <a:cubicBezTo>
                        <a:pt x="141813" y="87762"/>
                        <a:pt x="143583" y="86484"/>
                        <a:pt x="145097" y="84891"/>
                      </a:cubicBezTo>
                      <a:cubicBezTo>
                        <a:pt x="146572" y="83259"/>
                        <a:pt x="147791" y="81312"/>
                        <a:pt x="148656" y="79129"/>
                      </a:cubicBezTo>
                      <a:cubicBezTo>
                        <a:pt x="149502" y="76927"/>
                        <a:pt x="150052" y="74587"/>
                        <a:pt x="150131" y="72148"/>
                      </a:cubicBezTo>
                      <a:cubicBezTo>
                        <a:pt x="150170" y="70929"/>
                        <a:pt x="150131" y="69710"/>
                        <a:pt x="149974" y="68510"/>
                      </a:cubicBezTo>
                      <a:cubicBezTo>
                        <a:pt x="149797" y="67291"/>
                        <a:pt x="149521" y="66091"/>
                        <a:pt x="149129" y="64931"/>
                      </a:cubicBezTo>
                      <a:cubicBezTo>
                        <a:pt x="148382" y="62630"/>
                        <a:pt x="147181" y="60664"/>
                        <a:pt x="145766" y="59150"/>
                      </a:cubicBezTo>
                      <a:cubicBezTo>
                        <a:pt x="144350" y="57636"/>
                        <a:pt x="142717" y="56554"/>
                        <a:pt x="140948" y="55905"/>
                      </a:cubicBezTo>
                      <a:cubicBezTo>
                        <a:pt x="137388" y="54607"/>
                        <a:pt x="133455" y="55119"/>
                        <a:pt x="129818" y="57282"/>
                      </a:cubicBezTo>
                      <a:cubicBezTo>
                        <a:pt x="127360" y="58776"/>
                        <a:pt x="123328" y="62041"/>
                        <a:pt x="119061" y="65580"/>
                      </a:cubicBezTo>
                      <a:cubicBezTo>
                        <a:pt x="114834" y="69159"/>
                        <a:pt x="110291" y="72954"/>
                        <a:pt x="107145" y="76435"/>
                      </a:cubicBezTo>
                      <a:cubicBezTo>
                        <a:pt x="108128" y="72541"/>
                        <a:pt x="109013" y="68609"/>
                        <a:pt x="109701" y="64636"/>
                      </a:cubicBezTo>
                      <a:cubicBezTo>
                        <a:pt x="110428" y="60684"/>
                        <a:pt x="110920" y="56672"/>
                        <a:pt x="111274" y="52661"/>
                      </a:cubicBezTo>
                      <a:cubicBezTo>
                        <a:pt x="112297" y="52385"/>
                        <a:pt x="113339" y="51736"/>
                        <a:pt x="114342" y="50773"/>
                      </a:cubicBezTo>
                      <a:cubicBezTo>
                        <a:pt x="115384" y="49809"/>
                        <a:pt x="116328" y="48531"/>
                        <a:pt x="117252" y="47017"/>
                      </a:cubicBezTo>
                      <a:cubicBezTo>
                        <a:pt x="119120" y="43969"/>
                        <a:pt x="120615" y="39918"/>
                        <a:pt x="121677" y="35533"/>
                      </a:cubicBezTo>
                      <a:cubicBezTo>
                        <a:pt x="121913" y="34432"/>
                        <a:pt x="122129" y="33311"/>
                        <a:pt x="122326" y="32190"/>
                      </a:cubicBezTo>
                      <a:cubicBezTo>
                        <a:pt x="122424" y="31620"/>
                        <a:pt x="122522" y="31069"/>
                        <a:pt x="122601" y="30499"/>
                      </a:cubicBezTo>
                      <a:lnTo>
                        <a:pt x="122797" y="28808"/>
                      </a:lnTo>
                      <a:cubicBezTo>
                        <a:pt x="122916" y="27687"/>
                        <a:pt x="123014" y="26566"/>
                        <a:pt x="123092" y="25465"/>
                      </a:cubicBezTo>
                      <a:cubicBezTo>
                        <a:pt x="123132" y="24363"/>
                        <a:pt x="123152" y="23282"/>
                        <a:pt x="123152" y="22240"/>
                      </a:cubicBezTo>
                      <a:cubicBezTo>
                        <a:pt x="123152" y="18051"/>
                        <a:pt x="122679" y="14413"/>
                        <a:pt x="122050" y="12112"/>
                      </a:cubicBezTo>
                      <a:cubicBezTo>
                        <a:pt x="121736" y="10893"/>
                        <a:pt x="121303" y="9733"/>
                        <a:pt x="120733" y="8651"/>
                      </a:cubicBezTo>
                      <a:cubicBezTo>
                        <a:pt x="120182" y="7570"/>
                        <a:pt x="119553" y="6587"/>
                        <a:pt x="118845" y="5682"/>
                      </a:cubicBezTo>
                      <a:cubicBezTo>
                        <a:pt x="117390" y="3893"/>
                        <a:pt x="115639" y="2477"/>
                        <a:pt x="113752" y="1513"/>
                      </a:cubicBezTo>
                      <a:cubicBezTo>
                        <a:pt x="109878" y="-394"/>
                        <a:pt x="105552" y="-512"/>
                        <a:pt x="101540" y="1238"/>
                      </a:cubicBezTo>
                      <a:cubicBezTo>
                        <a:pt x="97528" y="2988"/>
                        <a:pt x="94539" y="6154"/>
                        <a:pt x="92848" y="9556"/>
                      </a:cubicBezTo>
                      <a:cubicBezTo>
                        <a:pt x="91944" y="11286"/>
                        <a:pt x="91374" y="13076"/>
                        <a:pt x="91137" y="14866"/>
                      </a:cubicBezTo>
                      <a:cubicBezTo>
                        <a:pt x="91000" y="15770"/>
                        <a:pt x="90942" y="16674"/>
                        <a:pt x="91000" y="17579"/>
                      </a:cubicBezTo>
                      <a:cubicBezTo>
                        <a:pt x="91079" y="18464"/>
                        <a:pt x="91197" y="19369"/>
                        <a:pt x="91433" y="20273"/>
                      </a:cubicBezTo>
                      <a:cubicBezTo>
                        <a:pt x="91885" y="21945"/>
                        <a:pt x="92908" y="24422"/>
                        <a:pt x="94126" y="27333"/>
                      </a:cubicBezTo>
                      <a:cubicBezTo>
                        <a:pt x="94422" y="28060"/>
                        <a:pt x="94756" y="28808"/>
                        <a:pt x="95110" y="29575"/>
                      </a:cubicBezTo>
                      <a:cubicBezTo>
                        <a:pt x="95425" y="30361"/>
                        <a:pt x="95759" y="31148"/>
                        <a:pt x="96132" y="31954"/>
                      </a:cubicBezTo>
                      <a:cubicBezTo>
                        <a:pt x="96310" y="32367"/>
                        <a:pt x="96506" y="32760"/>
                        <a:pt x="96683" y="33173"/>
                      </a:cubicBezTo>
                      <a:cubicBezTo>
                        <a:pt x="96860" y="33586"/>
                        <a:pt x="97037" y="33999"/>
                        <a:pt x="97214" y="34412"/>
                      </a:cubicBezTo>
                      <a:cubicBezTo>
                        <a:pt x="97568" y="35238"/>
                        <a:pt x="97961" y="36083"/>
                        <a:pt x="98335" y="36929"/>
                      </a:cubicBezTo>
                      <a:cubicBezTo>
                        <a:pt x="99791" y="40292"/>
                        <a:pt x="101403" y="43674"/>
                        <a:pt x="102975" y="46486"/>
                      </a:cubicBezTo>
                      <a:cubicBezTo>
                        <a:pt x="103801" y="47882"/>
                        <a:pt x="104647" y="49141"/>
                        <a:pt x="105512" y="50163"/>
                      </a:cubicBezTo>
                      <a:cubicBezTo>
                        <a:pt x="106377" y="51186"/>
                        <a:pt x="107302" y="51953"/>
                        <a:pt x="108285" y="52385"/>
                      </a:cubicBezTo>
                      <a:cubicBezTo>
                        <a:pt x="107931" y="56299"/>
                        <a:pt x="107460" y="60212"/>
                        <a:pt x="106732" y="64105"/>
                      </a:cubicBezTo>
                      <a:cubicBezTo>
                        <a:pt x="106063" y="67999"/>
                        <a:pt x="105198" y="71853"/>
                        <a:pt x="104234" y="75688"/>
                      </a:cubicBezTo>
                      <a:cubicBezTo>
                        <a:pt x="103094" y="71185"/>
                        <a:pt x="100577" y="66052"/>
                        <a:pt x="97588" y="61883"/>
                      </a:cubicBezTo>
                      <a:cubicBezTo>
                        <a:pt x="94657" y="57695"/>
                        <a:pt x="91374" y="54470"/>
                        <a:pt x="89210" y="52995"/>
                      </a:cubicBezTo>
                      <a:cubicBezTo>
                        <a:pt x="86084" y="50812"/>
                        <a:pt x="82151" y="50085"/>
                        <a:pt x="78513" y="50321"/>
                      </a:cubicBezTo>
                      <a:cubicBezTo>
                        <a:pt x="76685" y="50439"/>
                        <a:pt x="74875" y="50812"/>
                        <a:pt x="73243" y="51402"/>
                      </a:cubicBezTo>
                      <a:cubicBezTo>
                        <a:pt x="71591" y="51992"/>
                        <a:pt x="70156" y="52759"/>
                        <a:pt x="68878" y="53781"/>
                      </a:cubicBezTo>
                      <a:cubicBezTo>
                        <a:pt x="68249" y="54293"/>
                        <a:pt x="67718" y="54824"/>
                        <a:pt x="67285" y="55374"/>
                      </a:cubicBezTo>
                      <a:cubicBezTo>
                        <a:pt x="66832" y="55945"/>
                        <a:pt x="66459" y="56534"/>
                        <a:pt x="66183" y="57144"/>
                      </a:cubicBezTo>
                      <a:cubicBezTo>
                        <a:pt x="65652" y="58363"/>
                        <a:pt x="65378" y="59720"/>
                        <a:pt x="65495" y="61077"/>
                      </a:cubicBezTo>
                      <a:cubicBezTo>
                        <a:pt x="65594" y="62454"/>
                        <a:pt x="65986" y="63909"/>
                        <a:pt x="66734" y="65305"/>
                      </a:cubicBezTo>
                      <a:cubicBezTo>
                        <a:pt x="67442" y="66741"/>
                        <a:pt x="68504" y="68137"/>
                        <a:pt x="69900" y="69415"/>
                      </a:cubicBezTo>
                      <a:cubicBezTo>
                        <a:pt x="72495" y="71834"/>
                        <a:pt x="78336" y="74901"/>
                        <a:pt x="84590" y="77753"/>
                      </a:cubicBezTo>
                      <a:cubicBezTo>
                        <a:pt x="90823" y="80604"/>
                        <a:pt x="97450" y="83239"/>
                        <a:pt x="101658" y="84635"/>
                      </a:cubicBezTo>
                      <a:cubicBezTo>
                        <a:pt x="98355" y="95411"/>
                        <a:pt x="94186" y="105912"/>
                        <a:pt x="89683" y="116295"/>
                      </a:cubicBezTo>
                      <a:cubicBezTo>
                        <a:pt x="89309" y="110927"/>
                        <a:pt x="87500" y="104398"/>
                        <a:pt x="85179" y="98715"/>
                      </a:cubicBezTo>
                      <a:cubicBezTo>
                        <a:pt x="82879" y="93032"/>
                        <a:pt x="80047" y="88214"/>
                        <a:pt x="78021" y="85815"/>
                      </a:cubicBezTo>
                      <a:cubicBezTo>
                        <a:pt x="75131" y="82354"/>
                        <a:pt x="70981" y="80368"/>
                        <a:pt x="66774" y="79739"/>
                      </a:cubicBezTo>
                      <a:cubicBezTo>
                        <a:pt x="64669" y="79424"/>
                        <a:pt x="62545" y="79444"/>
                        <a:pt x="60481" y="79798"/>
                      </a:cubicBezTo>
                      <a:cubicBezTo>
                        <a:pt x="58416" y="80171"/>
                        <a:pt x="56508" y="80859"/>
                        <a:pt x="54739" y="81961"/>
                      </a:cubicBezTo>
                      <a:cubicBezTo>
                        <a:pt x="51258" y="84124"/>
                        <a:pt x="49154" y="87447"/>
                        <a:pt x="48584" y="91183"/>
                      </a:cubicBezTo>
                      <a:cubicBezTo>
                        <a:pt x="47974" y="94939"/>
                        <a:pt x="48879" y="99128"/>
                        <a:pt x="51494" y="102845"/>
                      </a:cubicBezTo>
                      <a:cubicBezTo>
                        <a:pt x="56450" y="109845"/>
                        <a:pt x="76310" y="121427"/>
                        <a:pt x="85455" y="125813"/>
                      </a:cubicBezTo>
                      <a:cubicBezTo>
                        <a:pt x="80027" y="137769"/>
                        <a:pt x="74304" y="149587"/>
                        <a:pt x="68759" y="161523"/>
                      </a:cubicBezTo>
                      <a:cubicBezTo>
                        <a:pt x="68563" y="155349"/>
                        <a:pt x="66892" y="147640"/>
                        <a:pt x="64748" y="140718"/>
                      </a:cubicBezTo>
                      <a:cubicBezTo>
                        <a:pt x="62624" y="133796"/>
                        <a:pt x="60009" y="127661"/>
                        <a:pt x="58023" y="124535"/>
                      </a:cubicBezTo>
                      <a:cubicBezTo>
                        <a:pt x="55191" y="120090"/>
                        <a:pt x="50825" y="117219"/>
                        <a:pt x="46047" y="116079"/>
                      </a:cubicBezTo>
                      <a:cubicBezTo>
                        <a:pt x="41289" y="114958"/>
                        <a:pt x="36136" y="115567"/>
                        <a:pt x="31692" y="118261"/>
                      </a:cubicBezTo>
                      <a:cubicBezTo>
                        <a:pt x="27228" y="120975"/>
                        <a:pt x="24298" y="125262"/>
                        <a:pt x="23118" y="130139"/>
                      </a:cubicBezTo>
                      <a:cubicBezTo>
                        <a:pt x="22548" y="132558"/>
                        <a:pt x="22411" y="135134"/>
                        <a:pt x="22764" y="137631"/>
                      </a:cubicBezTo>
                      <a:cubicBezTo>
                        <a:pt x="23118" y="140168"/>
                        <a:pt x="23983" y="142645"/>
                        <a:pt x="25360" y="144927"/>
                      </a:cubicBezTo>
                      <a:cubicBezTo>
                        <a:pt x="27995" y="149312"/>
                        <a:pt x="35035" y="154857"/>
                        <a:pt x="42724" y="159931"/>
                      </a:cubicBezTo>
                      <a:cubicBezTo>
                        <a:pt x="50412" y="164984"/>
                        <a:pt x="58750" y="169547"/>
                        <a:pt x="63942" y="172024"/>
                      </a:cubicBezTo>
                      <a:cubicBezTo>
                        <a:pt x="59124" y="182702"/>
                        <a:pt x="54523" y="193498"/>
                        <a:pt x="50432" y="204510"/>
                      </a:cubicBezTo>
                      <a:cubicBezTo>
                        <a:pt x="49763" y="199142"/>
                        <a:pt x="47875" y="192534"/>
                        <a:pt x="45791" y="186537"/>
                      </a:cubicBezTo>
                      <a:cubicBezTo>
                        <a:pt x="43687" y="180539"/>
                        <a:pt x="41347" y="175171"/>
                        <a:pt x="39597" y="172437"/>
                      </a:cubicBezTo>
                      <a:cubicBezTo>
                        <a:pt x="34583" y="164532"/>
                        <a:pt x="24180" y="162290"/>
                        <a:pt x="16216" y="168072"/>
                      </a:cubicBezTo>
                      <a:cubicBezTo>
                        <a:pt x="12244" y="170943"/>
                        <a:pt x="9668" y="175367"/>
                        <a:pt x="8783" y="180028"/>
                      </a:cubicBezTo>
                      <a:cubicBezTo>
                        <a:pt x="8351" y="182368"/>
                        <a:pt x="8330" y="184787"/>
                        <a:pt x="8743" y="187107"/>
                      </a:cubicBezTo>
                      <a:cubicBezTo>
                        <a:pt x="9176" y="189447"/>
                        <a:pt x="10061" y="191669"/>
                        <a:pt x="11398" y="193655"/>
                      </a:cubicBezTo>
                      <a:cubicBezTo>
                        <a:pt x="13954" y="197431"/>
                        <a:pt x="20444" y="201796"/>
                        <a:pt x="27484" y="205592"/>
                      </a:cubicBezTo>
                      <a:cubicBezTo>
                        <a:pt x="34543" y="209387"/>
                        <a:pt x="42173" y="212651"/>
                        <a:pt x="46932" y="214382"/>
                      </a:cubicBezTo>
                      <a:cubicBezTo>
                        <a:pt x="45241" y="219278"/>
                        <a:pt x="43747" y="224253"/>
                        <a:pt x="42311" y="229248"/>
                      </a:cubicBezTo>
                      <a:cubicBezTo>
                        <a:pt x="40895" y="234243"/>
                        <a:pt x="39656" y="239297"/>
                        <a:pt x="38516" y="244350"/>
                      </a:cubicBezTo>
                      <a:cubicBezTo>
                        <a:pt x="37906" y="242109"/>
                        <a:pt x="36962" y="239631"/>
                        <a:pt x="35920" y="237114"/>
                      </a:cubicBezTo>
                      <a:cubicBezTo>
                        <a:pt x="34898" y="234597"/>
                        <a:pt x="33658" y="232021"/>
                        <a:pt x="32479" y="229582"/>
                      </a:cubicBezTo>
                      <a:cubicBezTo>
                        <a:pt x="30059" y="224705"/>
                        <a:pt x="27601" y="220360"/>
                        <a:pt x="25852" y="218138"/>
                      </a:cubicBezTo>
                      <a:cubicBezTo>
                        <a:pt x="23315" y="214932"/>
                        <a:pt x="19795" y="213084"/>
                        <a:pt x="16059" y="212809"/>
                      </a:cubicBezTo>
                      <a:cubicBezTo>
                        <a:pt x="12323" y="212533"/>
                        <a:pt x="8428" y="213851"/>
                        <a:pt x="5243" y="216938"/>
                      </a:cubicBezTo>
                      <a:cubicBezTo>
                        <a:pt x="3650" y="218472"/>
                        <a:pt x="2431" y="220340"/>
                        <a:pt x="1546" y="222306"/>
                      </a:cubicBezTo>
                      <a:cubicBezTo>
                        <a:pt x="661" y="224293"/>
                        <a:pt x="170" y="226456"/>
                        <a:pt x="33" y="228599"/>
                      </a:cubicBezTo>
                      <a:cubicBezTo>
                        <a:pt x="-224" y="232906"/>
                        <a:pt x="1035" y="237212"/>
                        <a:pt x="3847" y="240358"/>
                      </a:cubicBezTo>
                      <a:cubicBezTo>
                        <a:pt x="5165" y="241833"/>
                        <a:pt x="7308" y="243308"/>
                        <a:pt x="9943" y="244704"/>
                      </a:cubicBezTo>
                      <a:cubicBezTo>
                        <a:pt x="12597" y="246100"/>
                        <a:pt x="15725" y="247418"/>
                        <a:pt x="18969" y="248598"/>
                      </a:cubicBezTo>
                      <a:cubicBezTo>
                        <a:pt x="25439" y="250958"/>
                        <a:pt x="32341" y="252747"/>
                        <a:pt x="36707" y="253632"/>
                      </a:cubicBezTo>
                      <a:cubicBezTo>
                        <a:pt x="33540" y="271251"/>
                        <a:pt x="32596" y="289303"/>
                        <a:pt x="34052" y="307159"/>
                      </a:cubicBezTo>
                      <a:lnTo>
                        <a:pt x="37001" y="306923"/>
                      </a:lnTo>
                      <a:cubicBezTo>
                        <a:pt x="35585" y="289323"/>
                        <a:pt x="36510" y="271546"/>
                        <a:pt x="39617" y="254163"/>
                      </a:cubicBezTo>
                      <a:cubicBezTo>
                        <a:pt x="44021" y="254832"/>
                        <a:pt x="51121" y="255520"/>
                        <a:pt x="57964" y="255815"/>
                      </a:cubicBezTo>
                      <a:cubicBezTo>
                        <a:pt x="61385" y="255952"/>
                        <a:pt x="64748" y="256011"/>
                        <a:pt x="67678" y="255893"/>
                      </a:cubicBezTo>
                      <a:cubicBezTo>
                        <a:pt x="70608" y="255775"/>
                        <a:pt x="73145" y="255480"/>
                        <a:pt x="74856" y="254949"/>
                      </a:cubicBezTo>
                      <a:cubicBezTo>
                        <a:pt x="78494" y="253809"/>
                        <a:pt x="81226" y="251567"/>
                        <a:pt x="82662" y="248814"/>
                      </a:cubicBezTo>
                      <a:cubicBezTo>
                        <a:pt x="83410" y="247438"/>
                        <a:pt x="83823" y="245924"/>
                        <a:pt x="83901" y="244311"/>
                      </a:cubicBezTo>
                      <a:cubicBezTo>
                        <a:pt x="83999" y="242718"/>
                        <a:pt x="83705" y="241047"/>
                        <a:pt x="83076" y="239356"/>
                      </a:cubicBezTo>
                      <a:cubicBezTo>
                        <a:pt x="81778" y="235993"/>
                        <a:pt x="79123" y="233181"/>
                        <a:pt x="75878" y="231450"/>
                      </a:cubicBezTo>
                      <a:cubicBezTo>
                        <a:pt x="72614" y="229720"/>
                        <a:pt x="68701" y="229051"/>
                        <a:pt x="64886" y="230015"/>
                      </a:cubicBezTo>
                      <a:cubicBezTo>
                        <a:pt x="62310" y="230684"/>
                        <a:pt x="57925" y="232571"/>
                        <a:pt x="53480" y="235265"/>
                      </a:cubicBezTo>
                      <a:cubicBezTo>
                        <a:pt x="51219" y="236603"/>
                        <a:pt x="49016" y="238156"/>
                        <a:pt x="46912" y="239808"/>
                      </a:cubicBezTo>
                      <a:cubicBezTo>
                        <a:pt x="44828" y="241460"/>
                        <a:pt x="42959" y="243230"/>
                        <a:pt x="41426" y="244980"/>
                      </a:cubicBezTo>
                      <a:cubicBezTo>
                        <a:pt x="42546" y="239965"/>
                        <a:pt x="43786" y="234990"/>
                        <a:pt x="45182" y="230034"/>
                      </a:cubicBezTo>
                      <a:cubicBezTo>
                        <a:pt x="46597" y="225099"/>
                        <a:pt x="48092" y="220183"/>
                        <a:pt x="49763" y="215306"/>
                      </a:cubicBezTo>
                      <a:cubicBezTo>
                        <a:pt x="54621" y="216840"/>
                        <a:pt x="62624" y="218865"/>
                        <a:pt x="70470" y="220379"/>
                      </a:cubicBezTo>
                      <a:cubicBezTo>
                        <a:pt x="78336" y="221874"/>
                        <a:pt x="85986" y="222877"/>
                        <a:pt x="90154" y="222149"/>
                      </a:cubicBezTo>
                      <a:cubicBezTo>
                        <a:pt x="92377" y="221756"/>
                        <a:pt x="94343" y="220989"/>
                        <a:pt x="96034" y="219927"/>
                      </a:cubicBezTo>
                      <a:cubicBezTo>
                        <a:pt x="97745" y="218865"/>
                        <a:pt x="99161" y="217508"/>
                        <a:pt x="100262" y="215955"/>
                      </a:cubicBezTo>
                      <a:cubicBezTo>
                        <a:pt x="102465" y="212809"/>
                        <a:pt x="103310" y="208817"/>
                        <a:pt x="102386" y="204549"/>
                      </a:cubicBezTo>
                      <a:cubicBezTo>
                        <a:pt x="100517" y="196054"/>
                        <a:pt x="91944" y="189801"/>
                        <a:pt x="82879" y="191158"/>
                      </a:cubicBezTo>
                      <a:cubicBezTo>
                        <a:pt x="79732" y="191630"/>
                        <a:pt x="74325" y="193360"/>
                        <a:pt x="68720" y="195917"/>
                      </a:cubicBezTo>
                      <a:cubicBezTo>
                        <a:pt x="63096" y="198453"/>
                        <a:pt x="57255" y="201875"/>
                        <a:pt x="53264" y="205493"/>
                      </a:cubicBezTo>
                      <a:cubicBezTo>
                        <a:pt x="57315" y="194580"/>
                        <a:pt x="61897" y="183843"/>
                        <a:pt x="66695" y="173185"/>
                      </a:cubicBezTo>
                      <a:cubicBezTo>
                        <a:pt x="71985" y="175446"/>
                        <a:pt x="80912" y="178690"/>
                        <a:pt x="89741" y="181227"/>
                      </a:cubicBezTo>
                      <a:cubicBezTo>
                        <a:pt x="98571" y="183764"/>
                        <a:pt x="107321" y="185612"/>
                        <a:pt x="112237" y="185003"/>
                      </a:cubicBezTo>
                      <a:close/>
                    </a:path>
                  </a:pathLst>
                </a:custGeom>
                <a:solidFill>
                  <a:srgbClr val="64911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32" name="Freeform: Shape 1431">
                  <a:extLst>
                    <a:ext uri="{FF2B5EF4-FFF2-40B4-BE49-F238E27FC236}">
                      <a16:creationId xmlns:a16="http://schemas.microsoft.com/office/drawing/2014/main" id="{BB36CC7D-D0DA-4353-9CD1-275D2B78685D}"/>
                    </a:ext>
                  </a:extLst>
                </p:cNvPr>
                <p:cNvSpPr/>
                <p:nvPr/>
              </p:nvSpPr>
              <p:spPr>
                <a:xfrm>
                  <a:off x="10327843" y="10931261"/>
                  <a:ext cx="1086838" cy="447013"/>
                </a:xfrm>
                <a:custGeom>
                  <a:avLst/>
                  <a:gdLst>
                    <a:gd name="connsiteX0" fmla="*/ 969834 w 1086838"/>
                    <a:gd name="connsiteY0" fmla="*/ 341140 h 447013"/>
                    <a:gd name="connsiteX1" fmla="*/ 909307 w 1086838"/>
                    <a:gd name="connsiteY1" fmla="*/ 357914 h 447013"/>
                    <a:gd name="connsiteX2" fmla="*/ 722042 w 1086838"/>
                    <a:gd name="connsiteY2" fmla="*/ 201935 h 447013"/>
                    <a:gd name="connsiteX3" fmla="*/ 679606 w 1086838"/>
                    <a:gd name="connsiteY3" fmla="*/ 206694 h 447013"/>
                    <a:gd name="connsiteX4" fmla="*/ 414508 w 1086838"/>
                    <a:gd name="connsiteY4" fmla="*/ 0 h 447013"/>
                    <a:gd name="connsiteX5" fmla="*/ 389672 w 1086838"/>
                    <a:gd name="connsiteY5" fmla="*/ 1160 h 447013"/>
                    <a:gd name="connsiteX6" fmla="*/ 0 w 1086838"/>
                    <a:gd name="connsiteY6" fmla="*/ 1160 h 447013"/>
                    <a:gd name="connsiteX7" fmla="*/ 0 w 1086838"/>
                    <a:gd name="connsiteY7" fmla="*/ 447014 h 447013"/>
                    <a:gd name="connsiteX8" fmla="*/ 1086838 w 1086838"/>
                    <a:gd name="connsiteY8" fmla="*/ 447014 h 447013"/>
                    <a:gd name="connsiteX9" fmla="*/ 969854 w 1086838"/>
                    <a:gd name="connsiteY9" fmla="*/ 341179 h 44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6838" h="447013">
                      <a:moveTo>
                        <a:pt x="969834" y="341140"/>
                      </a:moveTo>
                      <a:cubicBezTo>
                        <a:pt x="947692" y="341140"/>
                        <a:pt x="926985" y="347256"/>
                        <a:pt x="909307" y="357914"/>
                      </a:cubicBezTo>
                      <a:cubicBezTo>
                        <a:pt x="893123" y="269187"/>
                        <a:pt x="815428" y="201935"/>
                        <a:pt x="722042" y="201935"/>
                      </a:cubicBezTo>
                      <a:cubicBezTo>
                        <a:pt x="707450" y="201935"/>
                        <a:pt x="693253" y="203587"/>
                        <a:pt x="679606" y="206694"/>
                      </a:cubicBezTo>
                      <a:cubicBezTo>
                        <a:pt x="649873" y="87940"/>
                        <a:pt x="542465" y="0"/>
                        <a:pt x="414508" y="0"/>
                      </a:cubicBezTo>
                      <a:cubicBezTo>
                        <a:pt x="406131" y="0"/>
                        <a:pt x="397852" y="413"/>
                        <a:pt x="389672" y="1160"/>
                      </a:cubicBezTo>
                      <a:lnTo>
                        <a:pt x="0" y="1160"/>
                      </a:lnTo>
                      <a:lnTo>
                        <a:pt x="0" y="447014"/>
                      </a:lnTo>
                      <a:lnTo>
                        <a:pt x="1086838" y="447014"/>
                      </a:lnTo>
                      <a:cubicBezTo>
                        <a:pt x="1080959" y="387588"/>
                        <a:pt x="1030814" y="341179"/>
                        <a:pt x="969854" y="341179"/>
                      </a:cubicBezTo>
                      <a:close/>
                    </a:path>
                  </a:pathLst>
                </a:custGeom>
                <a:solidFill>
                  <a:schemeClr val="accent1">
                    <a:lumMod val="40000"/>
                    <a:lumOff val="60000"/>
                  </a:schemeClr>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33" name="Freeform: Shape 1432">
                  <a:extLst>
                    <a:ext uri="{FF2B5EF4-FFF2-40B4-BE49-F238E27FC236}">
                      <a16:creationId xmlns:a16="http://schemas.microsoft.com/office/drawing/2014/main" id="{867E3295-C4E8-4E65-BCF0-B51D2E929753}"/>
                    </a:ext>
                  </a:extLst>
                </p:cNvPr>
                <p:cNvSpPr/>
                <p:nvPr/>
              </p:nvSpPr>
              <p:spPr>
                <a:xfrm>
                  <a:off x="10327862" y="11136688"/>
                  <a:ext cx="296883" cy="241507"/>
                </a:xfrm>
                <a:custGeom>
                  <a:avLst/>
                  <a:gdLst>
                    <a:gd name="connsiteX0" fmla="*/ 181032 w 296883"/>
                    <a:gd name="connsiteY0" fmla="*/ 161768 h 241507"/>
                    <a:gd name="connsiteX1" fmla="*/ 263269 w 296883"/>
                    <a:gd name="connsiteY1" fmla="*/ 148081 h 241507"/>
                    <a:gd name="connsiteX2" fmla="*/ 296679 w 296883"/>
                    <a:gd name="connsiteY2" fmla="*/ 118113 h 241507"/>
                    <a:gd name="connsiteX3" fmla="*/ 256740 w 296883"/>
                    <a:gd name="connsiteY3" fmla="*/ 93296 h 241507"/>
                    <a:gd name="connsiteX4" fmla="*/ 153914 w 296883"/>
                    <a:gd name="connsiteY4" fmla="*/ 106353 h 241507"/>
                    <a:gd name="connsiteX5" fmla="*/ 152754 w 296883"/>
                    <a:gd name="connsiteY5" fmla="*/ 102971 h 241507"/>
                    <a:gd name="connsiteX6" fmla="*/ 244155 w 296883"/>
                    <a:gd name="connsiteY6" fmla="*/ 54537 h 241507"/>
                    <a:gd name="connsiteX7" fmla="*/ 269935 w 296883"/>
                    <a:gd name="connsiteY7" fmla="*/ 15228 h 241507"/>
                    <a:gd name="connsiteX8" fmla="*/ 228974 w 296883"/>
                    <a:gd name="connsiteY8" fmla="*/ 991 h 241507"/>
                    <a:gd name="connsiteX9" fmla="*/ 0 w 296883"/>
                    <a:gd name="connsiteY9" fmla="*/ 84703 h 241507"/>
                    <a:gd name="connsiteX10" fmla="*/ 0 w 296883"/>
                    <a:gd name="connsiteY10" fmla="*/ 241507 h 241507"/>
                    <a:gd name="connsiteX11" fmla="*/ 296403 w 296883"/>
                    <a:gd name="connsiteY11" fmla="*/ 241507 h 241507"/>
                    <a:gd name="connsiteX12" fmla="*/ 181071 w 296883"/>
                    <a:gd name="connsiteY12" fmla="*/ 161729 h 24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6883" h="241507">
                      <a:moveTo>
                        <a:pt x="181032" y="161768"/>
                      </a:moveTo>
                      <a:cubicBezTo>
                        <a:pt x="160266" y="158936"/>
                        <a:pt x="217490" y="160333"/>
                        <a:pt x="263269" y="148081"/>
                      </a:cubicBezTo>
                      <a:cubicBezTo>
                        <a:pt x="279217" y="143814"/>
                        <a:pt x="298547" y="134867"/>
                        <a:pt x="296679" y="118113"/>
                      </a:cubicBezTo>
                      <a:cubicBezTo>
                        <a:pt x="294811" y="101398"/>
                        <a:pt x="273514" y="94397"/>
                        <a:pt x="256740" y="93296"/>
                      </a:cubicBezTo>
                      <a:cubicBezTo>
                        <a:pt x="221640" y="90956"/>
                        <a:pt x="186538" y="95498"/>
                        <a:pt x="153914" y="106353"/>
                      </a:cubicBezTo>
                      <a:cubicBezTo>
                        <a:pt x="139540" y="111132"/>
                        <a:pt x="139323" y="110090"/>
                        <a:pt x="152754" y="102971"/>
                      </a:cubicBezTo>
                      <a:cubicBezTo>
                        <a:pt x="183215" y="86827"/>
                        <a:pt x="213675" y="70682"/>
                        <a:pt x="244155" y="54537"/>
                      </a:cubicBezTo>
                      <a:cubicBezTo>
                        <a:pt x="259434" y="46436"/>
                        <a:pt x="277093" y="31864"/>
                        <a:pt x="269935" y="15228"/>
                      </a:cubicBezTo>
                      <a:cubicBezTo>
                        <a:pt x="263722" y="814"/>
                        <a:pt x="243919" y="-1802"/>
                        <a:pt x="228974" y="991"/>
                      </a:cubicBezTo>
                      <a:cubicBezTo>
                        <a:pt x="157434" y="14422"/>
                        <a:pt x="74057" y="46711"/>
                        <a:pt x="0" y="84703"/>
                      </a:cubicBezTo>
                      <a:lnTo>
                        <a:pt x="0" y="241507"/>
                      </a:lnTo>
                      <a:lnTo>
                        <a:pt x="296403" y="241507"/>
                      </a:lnTo>
                      <a:cubicBezTo>
                        <a:pt x="300593" y="202808"/>
                        <a:pt x="278627" y="175061"/>
                        <a:pt x="181071" y="161729"/>
                      </a:cubicBezTo>
                      <a:close/>
                    </a:path>
                  </a:pathLst>
                </a:custGeom>
                <a:solidFill>
                  <a:srgbClr val="ABC48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34" name="Freeform: Shape 1433">
                  <a:extLst>
                    <a:ext uri="{FF2B5EF4-FFF2-40B4-BE49-F238E27FC236}">
                      <a16:creationId xmlns:a16="http://schemas.microsoft.com/office/drawing/2014/main" id="{D86A1A8A-3A26-428B-995D-7454E53397F3}"/>
                    </a:ext>
                  </a:extLst>
                </p:cNvPr>
                <p:cNvSpPr/>
                <p:nvPr/>
              </p:nvSpPr>
              <p:spPr>
                <a:xfrm>
                  <a:off x="10908536" y="10633068"/>
                  <a:ext cx="291861" cy="745127"/>
                </a:xfrm>
                <a:custGeom>
                  <a:avLst/>
                  <a:gdLst>
                    <a:gd name="connsiteX0" fmla="*/ 73801 w 291861"/>
                    <a:gd name="connsiteY0" fmla="*/ 264016 h 745127"/>
                    <a:gd name="connsiteX1" fmla="*/ 61157 w 291861"/>
                    <a:gd name="connsiteY1" fmla="*/ 224038 h 745127"/>
                    <a:gd name="connsiteX2" fmla="*/ 62514 w 291861"/>
                    <a:gd name="connsiteY2" fmla="*/ 203154 h 745127"/>
                    <a:gd name="connsiteX3" fmla="*/ 64913 w 291861"/>
                    <a:gd name="connsiteY3" fmla="*/ 192929 h 745127"/>
                    <a:gd name="connsiteX4" fmla="*/ 68551 w 291861"/>
                    <a:gd name="connsiteY4" fmla="*/ 183057 h 745127"/>
                    <a:gd name="connsiteX5" fmla="*/ 134328 w 291861"/>
                    <a:gd name="connsiteY5" fmla="*/ 223979 h 745127"/>
                    <a:gd name="connsiteX6" fmla="*/ 146461 w 291861"/>
                    <a:gd name="connsiteY6" fmla="*/ 260240 h 745127"/>
                    <a:gd name="connsiteX7" fmla="*/ 155075 w 291861"/>
                    <a:gd name="connsiteY7" fmla="*/ 230763 h 745127"/>
                    <a:gd name="connsiteX8" fmla="*/ 159381 w 291861"/>
                    <a:gd name="connsiteY8" fmla="*/ 216034 h 745127"/>
                    <a:gd name="connsiteX9" fmla="*/ 164159 w 291861"/>
                    <a:gd name="connsiteY9" fmla="*/ 201443 h 745127"/>
                    <a:gd name="connsiteX10" fmla="*/ 104458 w 291861"/>
                    <a:gd name="connsiteY10" fmla="*/ 160915 h 745127"/>
                    <a:gd name="connsiteX11" fmla="*/ 99936 w 291861"/>
                    <a:gd name="connsiteY11" fmla="*/ 151102 h 745127"/>
                    <a:gd name="connsiteX12" fmla="*/ 96808 w 291861"/>
                    <a:gd name="connsiteY12" fmla="*/ 140936 h 745127"/>
                    <a:gd name="connsiteX13" fmla="*/ 94705 w 291861"/>
                    <a:gd name="connsiteY13" fmla="*/ 120091 h 745127"/>
                    <a:gd name="connsiteX14" fmla="*/ 105068 w 291861"/>
                    <a:gd name="connsiteY14" fmla="*/ 79661 h 745127"/>
                    <a:gd name="connsiteX15" fmla="*/ 141349 w 291861"/>
                    <a:gd name="connsiteY15" fmla="*/ 94174 h 745127"/>
                    <a:gd name="connsiteX16" fmla="*/ 156038 w 291861"/>
                    <a:gd name="connsiteY16" fmla="*/ 107781 h 745127"/>
                    <a:gd name="connsiteX17" fmla="*/ 162193 w 291861"/>
                    <a:gd name="connsiteY17" fmla="*/ 115981 h 745127"/>
                    <a:gd name="connsiteX18" fmla="*/ 167601 w 291861"/>
                    <a:gd name="connsiteY18" fmla="*/ 125125 h 745127"/>
                    <a:gd name="connsiteX19" fmla="*/ 177316 w 291861"/>
                    <a:gd name="connsiteY19" fmla="*/ 162213 h 745127"/>
                    <a:gd name="connsiteX20" fmla="*/ 184788 w 291861"/>
                    <a:gd name="connsiteY20" fmla="*/ 141643 h 745127"/>
                    <a:gd name="connsiteX21" fmla="*/ 188524 w 291861"/>
                    <a:gd name="connsiteY21" fmla="*/ 131359 h 745127"/>
                    <a:gd name="connsiteX22" fmla="*/ 190412 w 291861"/>
                    <a:gd name="connsiteY22" fmla="*/ 126227 h 745127"/>
                    <a:gd name="connsiteX23" fmla="*/ 192457 w 291861"/>
                    <a:gd name="connsiteY23" fmla="*/ 121153 h 745127"/>
                    <a:gd name="connsiteX24" fmla="*/ 188623 w 291861"/>
                    <a:gd name="connsiteY24" fmla="*/ 47529 h 745127"/>
                    <a:gd name="connsiteX25" fmla="*/ 199418 w 291861"/>
                    <a:gd name="connsiteY25" fmla="*/ 29339 h 745127"/>
                    <a:gd name="connsiteX26" fmla="*/ 214187 w 291861"/>
                    <a:gd name="connsiteY26" fmla="*/ 15220 h 745127"/>
                    <a:gd name="connsiteX27" fmla="*/ 250270 w 291861"/>
                    <a:gd name="connsiteY27" fmla="*/ 0 h 745127"/>
                    <a:gd name="connsiteX28" fmla="*/ 260928 w 291861"/>
                    <a:gd name="connsiteY28" fmla="*/ 37520 h 745127"/>
                    <a:gd name="connsiteX29" fmla="*/ 259552 w 291861"/>
                    <a:gd name="connsiteY29" fmla="*/ 57027 h 745127"/>
                    <a:gd name="connsiteX30" fmla="*/ 253790 w 291861"/>
                    <a:gd name="connsiteY30" fmla="*/ 76377 h 745127"/>
                    <a:gd name="connsiteX31" fmla="*/ 199516 w 291861"/>
                    <a:gd name="connsiteY31" fmla="*/ 123887 h 745127"/>
                    <a:gd name="connsiteX32" fmla="*/ 197491 w 291861"/>
                    <a:gd name="connsiteY32" fmla="*/ 128940 h 745127"/>
                    <a:gd name="connsiteX33" fmla="*/ 195603 w 291861"/>
                    <a:gd name="connsiteY33" fmla="*/ 134033 h 745127"/>
                    <a:gd name="connsiteX34" fmla="*/ 191887 w 291861"/>
                    <a:gd name="connsiteY34" fmla="*/ 144259 h 745127"/>
                    <a:gd name="connsiteX35" fmla="*/ 184454 w 291861"/>
                    <a:gd name="connsiteY35" fmla="*/ 164710 h 745127"/>
                    <a:gd name="connsiteX36" fmla="*/ 215484 w 291861"/>
                    <a:gd name="connsiteY36" fmla="*/ 143197 h 745127"/>
                    <a:gd name="connsiteX37" fmla="*/ 225336 w 291861"/>
                    <a:gd name="connsiteY37" fmla="*/ 140149 h 745127"/>
                    <a:gd name="connsiteX38" fmla="*/ 235443 w 291861"/>
                    <a:gd name="connsiteY38" fmla="*/ 138517 h 745127"/>
                    <a:gd name="connsiteX39" fmla="*/ 255403 w 291861"/>
                    <a:gd name="connsiteY39" fmla="*/ 138989 h 745127"/>
                    <a:gd name="connsiteX40" fmla="*/ 291862 w 291861"/>
                    <a:gd name="connsiteY40" fmla="*/ 153088 h 745127"/>
                    <a:gd name="connsiteX41" fmla="*/ 274890 w 291861"/>
                    <a:gd name="connsiteY41" fmla="*/ 185299 h 745127"/>
                    <a:gd name="connsiteX42" fmla="*/ 260614 w 291861"/>
                    <a:gd name="connsiteY42" fmla="*/ 197924 h 745127"/>
                    <a:gd name="connsiteX43" fmla="*/ 252257 w 291861"/>
                    <a:gd name="connsiteY43" fmla="*/ 203134 h 745127"/>
                    <a:gd name="connsiteX44" fmla="*/ 243093 w 291861"/>
                    <a:gd name="connsiteY44" fmla="*/ 207480 h 745127"/>
                    <a:gd name="connsiteX45" fmla="*/ 171338 w 291861"/>
                    <a:gd name="connsiteY45" fmla="*/ 203744 h 745127"/>
                    <a:gd name="connsiteX46" fmla="*/ 166598 w 291861"/>
                    <a:gd name="connsiteY46" fmla="*/ 218257 h 745127"/>
                    <a:gd name="connsiteX47" fmla="*/ 162311 w 291861"/>
                    <a:gd name="connsiteY47" fmla="*/ 232926 h 745127"/>
                    <a:gd name="connsiteX48" fmla="*/ 153738 w 291861"/>
                    <a:gd name="connsiteY48" fmla="*/ 262246 h 745127"/>
                    <a:gd name="connsiteX49" fmla="*/ 183372 w 291861"/>
                    <a:gd name="connsiteY49" fmla="*/ 238649 h 745127"/>
                    <a:gd name="connsiteX50" fmla="*/ 260123 w 291861"/>
                    <a:gd name="connsiteY50" fmla="*/ 242994 h 745127"/>
                    <a:gd name="connsiteX51" fmla="*/ 257999 w 291861"/>
                    <a:gd name="connsiteY51" fmla="*/ 251922 h 745127"/>
                    <a:gd name="connsiteX52" fmla="*/ 254892 w 291861"/>
                    <a:gd name="connsiteY52" fmla="*/ 260555 h 745127"/>
                    <a:gd name="connsiteX53" fmla="*/ 245492 w 291861"/>
                    <a:gd name="connsiteY53" fmla="*/ 276463 h 745127"/>
                    <a:gd name="connsiteX54" fmla="*/ 215366 w 291861"/>
                    <a:gd name="connsiteY54" fmla="*/ 300926 h 745127"/>
                    <a:gd name="connsiteX55" fmla="*/ 143414 w 291861"/>
                    <a:gd name="connsiteY55" fmla="*/ 302106 h 745127"/>
                    <a:gd name="connsiteX56" fmla="*/ 141526 w 291861"/>
                    <a:gd name="connsiteY56" fmla="*/ 309500 h 745127"/>
                    <a:gd name="connsiteX57" fmla="*/ 139835 w 291861"/>
                    <a:gd name="connsiteY57" fmla="*/ 316953 h 745127"/>
                    <a:gd name="connsiteX58" fmla="*/ 136452 w 291861"/>
                    <a:gd name="connsiteY58" fmla="*/ 331858 h 745127"/>
                    <a:gd name="connsiteX59" fmla="*/ 133071 w 291861"/>
                    <a:gd name="connsiteY59" fmla="*/ 346764 h 745127"/>
                    <a:gd name="connsiteX60" fmla="*/ 131379 w 291861"/>
                    <a:gd name="connsiteY60" fmla="*/ 354217 h 745127"/>
                    <a:gd name="connsiteX61" fmla="*/ 129885 w 291861"/>
                    <a:gd name="connsiteY61" fmla="*/ 361709 h 745127"/>
                    <a:gd name="connsiteX62" fmla="*/ 142057 w 291861"/>
                    <a:gd name="connsiteY62" fmla="*/ 347413 h 745127"/>
                    <a:gd name="connsiteX63" fmla="*/ 157828 w 291861"/>
                    <a:gd name="connsiteY63" fmla="*/ 336165 h 745127"/>
                    <a:gd name="connsiteX64" fmla="*/ 234677 w 291861"/>
                    <a:gd name="connsiteY64" fmla="*/ 335300 h 745127"/>
                    <a:gd name="connsiteX65" fmla="*/ 222190 w 291861"/>
                    <a:gd name="connsiteY65" fmla="*/ 369811 h 745127"/>
                    <a:gd name="connsiteX66" fmla="*/ 219417 w 291861"/>
                    <a:gd name="connsiteY66" fmla="*/ 373646 h 745127"/>
                    <a:gd name="connsiteX67" fmla="*/ 216507 w 291861"/>
                    <a:gd name="connsiteY67" fmla="*/ 377382 h 745127"/>
                    <a:gd name="connsiteX68" fmla="*/ 209939 w 291861"/>
                    <a:gd name="connsiteY68" fmla="*/ 384402 h 745127"/>
                    <a:gd name="connsiteX69" fmla="*/ 193755 w 291861"/>
                    <a:gd name="connsiteY69" fmla="*/ 396299 h 745127"/>
                    <a:gd name="connsiteX70" fmla="*/ 121959 w 291861"/>
                    <a:gd name="connsiteY70" fmla="*/ 402120 h 745127"/>
                    <a:gd name="connsiteX71" fmla="*/ 116965 w 291861"/>
                    <a:gd name="connsiteY71" fmla="*/ 432265 h 745127"/>
                    <a:gd name="connsiteX72" fmla="*/ 114467 w 291861"/>
                    <a:gd name="connsiteY72" fmla="*/ 447348 h 745127"/>
                    <a:gd name="connsiteX73" fmla="*/ 112344 w 291861"/>
                    <a:gd name="connsiteY73" fmla="*/ 462470 h 745127"/>
                    <a:gd name="connsiteX74" fmla="*/ 123494 w 291861"/>
                    <a:gd name="connsiteY74" fmla="*/ 447427 h 745127"/>
                    <a:gd name="connsiteX75" fmla="*/ 138595 w 291861"/>
                    <a:gd name="connsiteY75" fmla="*/ 435215 h 745127"/>
                    <a:gd name="connsiteX76" fmla="*/ 215326 w 291861"/>
                    <a:gd name="connsiteY76" fmla="*/ 429473 h 745127"/>
                    <a:gd name="connsiteX77" fmla="*/ 204905 w 291861"/>
                    <a:gd name="connsiteY77" fmla="*/ 464830 h 745127"/>
                    <a:gd name="connsiteX78" fmla="*/ 178142 w 291861"/>
                    <a:gd name="connsiteY78" fmla="*/ 493147 h 745127"/>
                    <a:gd name="connsiteX79" fmla="*/ 106916 w 291861"/>
                    <a:gd name="connsiteY79" fmla="*/ 503313 h 745127"/>
                    <a:gd name="connsiteX80" fmla="*/ 103593 w 291861"/>
                    <a:gd name="connsiteY80" fmla="*/ 533695 h 745127"/>
                    <a:gd name="connsiteX81" fmla="*/ 102020 w 291861"/>
                    <a:gd name="connsiteY81" fmla="*/ 548896 h 745127"/>
                    <a:gd name="connsiteX82" fmla="*/ 100761 w 291861"/>
                    <a:gd name="connsiteY82" fmla="*/ 564136 h 745127"/>
                    <a:gd name="connsiteX83" fmla="*/ 111007 w 291861"/>
                    <a:gd name="connsiteY83" fmla="*/ 548463 h 745127"/>
                    <a:gd name="connsiteX84" fmla="*/ 125361 w 291861"/>
                    <a:gd name="connsiteY84" fmla="*/ 535386 h 745127"/>
                    <a:gd name="connsiteX85" fmla="*/ 201700 w 291861"/>
                    <a:gd name="connsiteY85" fmla="*/ 525121 h 745127"/>
                    <a:gd name="connsiteX86" fmla="*/ 199694 w 291861"/>
                    <a:gd name="connsiteY86" fmla="*/ 543586 h 745127"/>
                    <a:gd name="connsiteX87" fmla="*/ 193361 w 291861"/>
                    <a:gd name="connsiteY87" fmla="*/ 561206 h 745127"/>
                    <a:gd name="connsiteX88" fmla="*/ 168132 w 291861"/>
                    <a:gd name="connsiteY88" fmla="*/ 591115 h 745127"/>
                    <a:gd name="connsiteX89" fmla="*/ 134270 w 291861"/>
                    <a:gd name="connsiteY89" fmla="*/ 604526 h 745127"/>
                    <a:gd name="connsiteX90" fmla="*/ 97654 w 291861"/>
                    <a:gd name="connsiteY90" fmla="*/ 605234 h 745127"/>
                    <a:gd name="connsiteX91" fmla="*/ 95648 w 291861"/>
                    <a:gd name="connsiteY91" fmla="*/ 640178 h 745127"/>
                    <a:gd name="connsiteX92" fmla="*/ 95393 w 291861"/>
                    <a:gd name="connsiteY92" fmla="*/ 644544 h 745127"/>
                    <a:gd name="connsiteX93" fmla="*/ 95255 w 291861"/>
                    <a:gd name="connsiteY93" fmla="*/ 648909 h 745127"/>
                    <a:gd name="connsiteX94" fmla="*/ 94980 w 291861"/>
                    <a:gd name="connsiteY94" fmla="*/ 657660 h 745127"/>
                    <a:gd name="connsiteX95" fmla="*/ 94410 w 291861"/>
                    <a:gd name="connsiteY95" fmla="*/ 675142 h 745127"/>
                    <a:gd name="connsiteX96" fmla="*/ 93839 w 291861"/>
                    <a:gd name="connsiteY96" fmla="*/ 692624 h 745127"/>
                    <a:gd name="connsiteX97" fmla="*/ 93643 w 291861"/>
                    <a:gd name="connsiteY97" fmla="*/ 710125 h 745127"/>
                    <a:gd name="connsiteX98" fmla="*/ 93348 w 291861"/>
                    <a:gd name="connsiteY98" fmla="*/ 745128 h 745127"/>
                    <a:gd name="connsiteX99" fmla="*/ 85777 w 291861"/>
                    <a:gd name="connsiteY99" fmla="*/ 745128 h 745127"/>
                    <a:gd name="connsiteX100" fmla="*/ 86072 w 291861"/>
                    <a:gd name="connsiteY100" fmla="*/ 710027 h 745127"/>
                    <a:gd name="connsiteX101" fmla="*/ 86268 w 291861"/>
                    <a:gd name="connsiteY101" fmla="*/ 692466 h 745127"/>
                    <a:gd name="connsiteX102" fmla="*/ 86839 w 291861"/>
                    <a:gd name="connsiteY102" fmla="*/ 674906 h 745127"/>
                    <a:gd name="connsiteX103" fmla="*/ 87409 w 291861"/>
                    <a:gd name="connsiteY103" fmla="*/ 657345 h 745127"/>
                    <a:gd name="connsiteX104" fmla="*/ 87685 w 291861"/>
                    <a:gd name="connsiteY104" fmla="*/ 648575 h 745127"/>
                    <a:gd name="connsiteX105" fmla="*/ 87822 w 291861"/>
                    <a:gd name="connsiteY105" fmla="*/ 644190 h 745127"/>
                    <a:gd name="connsiteX106" fmla="*/ 88077 w 291861"/>
                    <a:gd name="connsiteY106" fmla="*/ 639805 h 745127"/>
                    <a:gd name="connsiteX107" fmla="*/ 90083 w 291861"/>
                    <a:gd name="connsiteY107" fmla="*/ 604723 h 745127"/>
                    <a:gd name="connsiteX108" fmla="*/ 53822 w 291861"/>
                    <a:gd name="connsiteY108" fmla="*/ 599178 h 745127"/>
                    <a:gd name="connsiteX109" fmla="*/ 22261 w 291861"/>
                    <a:gd name="connsiteY109" fmla="*/ 580201 h 745127"/>
                    <a:gd name="connsiteX110" fmla="*/ 2537 w 291861"/>
                    <a:gd name="connsiteY110" fmla="*/ 543566 h 745127"/>
                    <a:gd name="connsiteX111" fmla="*/ 0 w 291861"/>
                    <a:gd name="connsiteY111" fmla="*/ 523037 h 745127"/>
                    <a:gd name="connsiteX112" fmla="*/ 2262 w 291861"/>
                    <a:gd name="connsiteY112" fmla="*/ 502428 h 745127"/>
                    <a:gd name="connsiteX113" fmla="*/ 74451 w 291861"/>
                    <a:gd name="connsiteY113" fmla="*/ 530116 h 745127"/>
                    <a:gd name="connsiteX114" fmla="*/ 85737 w 291861"/>
                    <a:gd name="connsiteY114" fmla="*/ 546044 h 745127"/>
                    <a:gd name="connsiteX115" fmla="*/ 93230 w 291861"/>
                    <a:gd name="connsiteY115" fmla="*/ 563467 h 745127"/>
                    <a:gd name="connsiteX116" fmla="*/ 94489 w 291861"/>
                    <a:gd name="connsiteY116" fmla="*/ 548168 h 745127"/>
                    <a:gd name="connsiteX117" fmla="*/ 96082 w 291861"/>
                    <a:gd name="connsiteY117" fmla="*/ 532908 h 745127"/>
                    <a:gd name="connsiteX118" fmla="*/ 99424 w 291861"/>
                    <a:gd name="connsiteY118" fmla="*/ 502389 h 745127"/>
                    <a:gd name="connsiteX119" fmla="*/ 33135 w 291861"/>
                    <a:gd name="connsiteY119" fmla="*/ 474151 h 745127"/>
                    <a:gd name="connsiteX120" fmla="*/ 15437 w 291861"/>
                    <a:gd name="connsiteY120" fmla="*/ 436336 h 745127"/>
                    <a:gd name="connsiteX121" fmla="*/ 17619 w 291861"/>
                    <a:gd name="connsiteY121" fmla="*/ 395080 h 745127"/>
                    <a:gd name="connsiteX122" fmla="*/ 88117 w 291861"/>
                    <a:gd name="connsiteY122" fmla="*/ 426995 h 745127"/>
                    <a:gd name="connsiteX123" fmla="*/ 98441 w 291861"/>
                    <a:gd name="connsiteY123" fmla="*/ 443553 h 745127"/>
                    <a:gd name="connsiteX124" fmla="*/ 104910 w 291861"/>
                    <a:gd name="connsiteY124" fmla="*/ 461369 h 745127"/>
                    <a:gd name="connsiteX125" fmla="*/ 107054 w 291861"/>
                    <a:gd name="connsiteY125" fmla="*/ 446168 h 745127"/>
                    <a:gd name="connsiteX126" fmla="*/ 109571 w 291861"/>
                    <a:gd name="connsiteY126" fmla="*/ 431026 h 745127"/>
                    <a:gd name="connsiteX127" fmla="*/ 114605 w 291861"/>
                    <a:gd name="connsiteY127" fmla="*/ 400743 h 745127"/>
                    <a:gd name="connsiteX128" fmla="*/ 50223 w 291861"/>
                    <a:gd name="connsiteY128" fmla="*/ 368572 h 745127"/>
                    <a:gd name="connsiteX129" fmla="*/ 40038 w 291861"/>
                    <a:gd name="connsiteY129" fmla="*/ 349910 h 745127"/>
                    <a:gd name="connsiteX130" fmla="*/ 36792 w 291861"/>
                    <a:gd name="connsiteY130" fmla="*/ 339901 h 745127"/>
                    <a:gd name="connsiteX131" fmla="*/ 35632 w 291861"/>
                    <a:gd name="connsiteY131" fmla="*/ 334788 h 745127"/>
                    <a:gd name="connsiteX132" fmla="*/ 34905 w 291861"/>
                    <a:gd name="connsiteY132" fmla="*/ 329636 h 745127"/>
                    <a:gd name="connsiteX133" fmla="*/ 39585 w 291861"/>
                    <a:gd name="connsiteY133" fmla="*/ 288419 h 745127"/>
                    <a:gd name="connsiteX134" fmla="*/ 107998 w 291861"/>
                    <a:gd name="connsiteY134" fmla="*/ 324779 h 745127"/>
                    <a:gd name="connsiteX135" fmla="*/ 117319 w 291861"/>
                    <a:gd name="connsiteY135" fmla="*/ 341966 h 745127"/>
                    <a:gd name="connsiteX136" fmla="*/ 122550 w 291861"/>
                    <a:gd name="connsiteY136" fmla="*/ 360136 h 745127"/>
                    <a:gd name="connsiteX137" fmla="*/ 124044 w 291861"/>
                    <a:gd name="connsiteY137" fmla="*/ 352604 h 745127"/>
                    <a:gd name="connsiteX138" fmla="*/ 125735 w 291861"/>
                    <a:gd name="connsiteY138" fmla="*/ 345112 h 745127"/>
                    <a:gd name="connsiteX139" fmla="*/ 129138 w 291861"/>
                    <a:gd name="connsiteY139" fmla="*/ 330148 h 745127"/>
                    <a:gd name="connsiteX140" fmla="*/ 132540 w 291861"/>
                    <a:gd name="connsiteY140" fmla="*/ 315183 h 745127"/>
                    <a:gd name="connsiteX141" fmla="*/ 134230 w 291861"/>
                    <a:gd name="connsiteY141" fmla="*/ 307691 h 745127"/>
                    <a:gd name="connsiteX142" fmla="*/ 136137 w 291861"/>
                    <a:gd name="connsiteY142" fmla="*/ 300257 h 745127"/>
                    <a:gd name="connsiteX143" fmla="*/ 73899 w 291861"/>
                    <a:gd name="connsiteY143" fmla="*/ 263957 h 745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91861" h="745127">
                      <a:moveTo>
                        <a:pt x="73801" y="264016"/>
                      </a:moveTo>
                      <a:cubicBezTo>
                        <a:pt x="66112" y="251784"/>
                        <a:pt x="61669" y="237941"/>
                        <a:pt x="61157" y="224038"/>
                      </a:cubicBezTo>
                      <a:cubicBezTo>
                        <a:pt x="60823" y="217077"/>
                        <a:pt x="61295" y="210056"/>
                        <a:pt x="62514" y="203154"/>
                      </a:cubicBezTo>
                      <a:cubicBezTo>
                        <a:pt x="63123" y="199713"/>
                        <a:pt x="63930" y="196291"/>
                        <a:pt x="64913" y="192929"/>
                      </a:cubicBezTo>
                      <a:cubicBezTo>
                        <a:pt x="65896" y="189566"/>
                        <a:pt x="67056" y="186262"/>
                        <a:pt x="68551" y="183057"/>
                      </a:cubicBezTo>
                      <a:cubicBezTo>
                        <a:pt x="95059" y="184709"/>
                        <a:pt x="119364" y="199497"/>
                        <a:pt x="134328" y="223979"/>
                      </a:cubicBezTo>
                      <a:cubicBezTo>
                        <a:pt x="141290" y="235502"/>
                        <a:pt x="145262" y="247871"/>
                        <a:pt x="146461" y="260240"/>
                      </a:cubicBezTo>
                      <a:lnTo>
                        <a:pt x="155075" y="230763"/>
                      </a:lnTo>
                      <a:lnTo>
                        <a:pt x="159381" y="216034"/>
                      </a:lnTo>
                      <a:lnTo>
                        <a:pt x="164159" y="201443"/>
                      </a:lnTo>
                      <a:cubicBezTo>
                        <a:pt x="140818" y="193774"/>
                        <a:pt x="117339" y="184689"/>
                        <a:pt x="104458" y="160915"/>
                      </a:cubicBezTo>
                      <a:cubicBezTo>
                        <a:pt x="102728" y="157709"/>
                        <a:pt x="101233" y="154445"/>
                        <a:pt x="99936" y="151102"/>
                      </a:cubicBezTo>
                      <a:cubicBezTo>
                        <a:pt x="98658" y="147759"/>
                        <a:pt x="97556" y="144357"/>
                        <a:pt x="96808" y="140936"/>
                      </a:cubicBezTo>
                      <a:cubicBezTo>
                        <a:pt x="95275" y="134092"/>
                        <a:pt x="94587" y="127092"/>
                        <a:pt x="94705" y="120091"/>
                      </a:cubicBezTo>
                      <a:cubicBezTo>
                        <a:pt x="94999" y="106110"/>
                        <a:pt x="98244" y="92030"/>
                        <a:pt x="105068" y="79661"/>
                      </a:cubicBezTo>
                      <a:cubicBezTo>
                        <a:pt x="118184" y="81392"/>
                        <a:pt x="130613" y="86426"/>
                        <a:pt x="141349" y="94174"/>
                      </a:cubicBezTo>
                      <a:cubicBezTo>
                        <a:pt x="146718" y="98047"/>
                        <a:pt x="151653" y="102609"/>
                        <a:pt x="156038" y="107781"/>
                      </a:cubicBezTo>
                      <a:cubicBezTo>
                        <a:pt x="158241" y="110357"/>
                        <a:pt x="160286" y="113091"/>
                        <a:pt x="162193" y="115981"/>
                      </a:cubicBezTo>
                      <a:cubicBezTo>
                        <a:pt x="164140" y="118872"/>
                        <a:pt x="165969" y="121940"/>
                        <a:pt x="167601" y="125125"/>
                      </a:cubicBezTo>
                      <a:cubicBezTo>
                        <a:pt x="173796" y="137140"/>
                        <a:pt x="176941" y="149765"/>
                        <a:pt x="177316" y="162213"/>
                      </a:cubicBezTo>
                      <a:lnTo>
                        <a:pt x="184788" y="141643"/>
                      </a:lnTo>
                      <a:lnTo>
                        <a:pt x="188524" y="131359"/>
                      </a:lnTo>
                      <a:cubicBezTo>
                        <a:pt x="189153" y="129648"/>
                        <a:pt x="189743" y="127918"/>
                        <a:pt x="190412" y="126227"/>
                      </a:cubicBezTo>
                      <a:lnTo>
                        <a:pt x="192457" y="121153"/>
                      </a:lnTo>
                      <a:cubicBezTo>
                        <a:pt x="180187" y="99994"/>
                        <a:pt x="177256" y="72444"/>
                        <a:pt x="188623" y="47529"/>
                      </a:cubicBezTo>
                      <a:cubicBezTo>
                        <a:pt x="191552" y="40882"/>
                        <a:pt x="195210" y="34787"/>
                        <a:pt x="199418" y="29339"/>
                      </a:cubicBezTo>
                      <a:cubicBezTo>
                        <a:pt x="203764" y="23951"/>
                        <a:pt x="208798" y="19252"/>
                        <a:pt x="214187" y="15220"/>
                      </a:cubicBezTo>
                      <a:cubicBezTo>
                        <a:pt x="224963" y="7178"/>
                        <a:pt x="237370" y="1966"/>
                        <a:pt x="250270" y="0"/>
                      </a:cubicBezTo>
                      <a:cubicBezTo>
                        <a:pt x="256603" y="11661"/>
                        <a:pt x="260280" y="24522"/>
                        <a:pt x="260928" y="37520"/>
                      </a:cubicBezTo>
                      <a:cubicBezTo>
                        <a:pt x="261263" y="44029"/>
                        <a:pt x="260772" y="50538"/>
                        <a:pt x="259552" y="57027"/>
                      </a:cubicBezTo>
                      <a:cubicBezTo>
                        <a:pt x="258470" y="63575"/>
                        <a:pt x="256583" y="70065"/>
                        <a:pt x="253790" y="76377"/>
                      </a:cubicBezTo>
                      <a:cubicBezTo>
                        <a:pt x="243014" y="99915"/>
                        <a:pt x="223409" y="116709"/>
                        <a:pt x="199516" y="123887"/>
                      </a:cubicBezTo>
                      <a:lnTo>
                        <a:pt x="197491" y="128940"/>
                      </a:lnTo>
                      <a:cubicBezTo>
                        <a:pt x="196823" y="130631"/>
                        <a:pt x="196232" y="132342"/>
                        <a:pt x="195603" y="134033"/>
                      </a:cubicBezTo>
                      <a:lnTo>
                        <a:pt x="191887" y="144259"/>
                      </a:lnTo>
                      <a:lnTo>
                        <a:pt x="184454" y="164710"/>
                      </a:lnTo>
                      <a:cubicBezTo>
                        <a:pt x="192752" y="155389"/>
                        <a:pt x="203233" y="147877"/>
                        <a:pt x="215484" y="143197"/>
                      </a:cubicBezTo>
                      <a:cubicBezTo>
                        <a:pt x="218749" y="141958"/>
                        <a:pt x="222032" y="140936"/>
                        <a:pt x="225336" y="140149"/>
                      </a:cubicBezTo>
                      <a:cubicBezTo>
                        <a:pt x="228699" y="139382"/>
                        <a:pt x="232061" y="138851"/>
                        <a:pt x="235443" y="138517"/>
                      </a:cubicBezTo>
                      <a:cubicBezTo>
                        <a:pt x="242169" y="137848"/>
                        <a:pt x="248874" y="138045"/>
                        <a:pt x="255403" y="138989"/>
                      </a:cubicBezTo>
                      <a:cubicBezTo>
                        <a:pt x="268480" y="140896"/>
                        <a:pt x="280967" y="145832"/>
                        <a:pt x="291862" y="153088"/>
                      </a:cubicBezTo>
                      <a:cubicBezTo>
                        <a:pt x="288597" y="164828"/>
                        <a:pt x="283189" y="175978"/>
                        <a:pt x="274890" y="185299"/>
                      </a:cubicBezTo>
                      <a:cubicBezTo>
                        <a:pt x="270761" y="189979"/>
                        <a:pt x="266002" y="194207"/>
                        <a:pt x="260614" y="197924"/>
                      </a:cubicBezTo>
                      <a:cubicBezTo>
                        <a:pt x="257881" y="199772"/>
                        <a:pt x="255167" y="201522"/>
                        <a:pt x="252257" y="203134"/>
                      </a:cubicBezTo>
                      <a:cubicBezTo>
                        <a:pt x="249347" y="204747"/>
                        <a:pt x="246298" y="206202"/>
                        <a:pt x="243093" y="207480"/>
                      </a:cubicBezTo>
                      <a:cubicBezTo>
                        <a:pt x="219259" y="217136"/>
                        <a:pt x="194757" y="211177"/>
                        <a:pt x="171338" y="203744"/>
                      </a:cubicBezTo>
                      <a:lnTo>
                        <a:pt x="166598" y="218257"/>
                      </a:lnTo>
                      <a:lnTo>
                        <a:pt x="162311" y="232926"/>
                      </a:lnTo>
                      <a:lnTo>
                        <a:pt x="153738" y="262246"/>
                      </a:lnTo>
                      <a:cubicBezTo>
                        <a:pt x="161427" y="252394"/>
                        <a:pt x="171416" y="244174"/>
                        <a:pt x="183372" y="238649"/>
                      </a:cubicBezTo>
                      <a:cubicBezTo>
                        <a:pt x="208680" y="226811"/>
                        <a:pt x="237449" y="230095"/>
                        <a:pt x="260123" y="242994"/>
                      </a:cubicBezTo>
                      <a:cubicBezTo>
                        <a:pt x="259493" y="245983"/>
                        <a:pt x="258825" y="248992"/>
                        <a:pt x="257999" y="251922"/>
                      </a:cubicBezTo>
                      <a:cubicBezTo>
                        <a:pt x="257153" y="254852"/>
                        <a:pt x="256111" y="257743"/>
                        <a:pt x="254892" y="260555"/>
                      </a:cubicBezTo>
                      <a:cubicBezTo>
                        <a:pt x="252454" y="266179"/>
                        <a:pt x="249307" y="271508"/>
                        <a:pt x="245492" y="276463"/>
                      </a:cubicBezTo>
                      <a:cubicBezTo>
                        <a:pt x="237685" y="286315"/>
                        <a:pt x="227853" y="294889"/>
                        <a:pt x="215366" y="300926"/>
                      </a:cubicBezTo>
                      <a:cubicBezTo>
                        <a:pt x="192142" y="312214"/>
                        <a:pt x="167287" y="307927"/>
                        <a:pt x="143414" y="302106"/>
                      </a:cubicBezTo>
                      <a:cubicBezTo>
                        <a:pt x="142785" y="304564"/>
                        <a:pt x="142116" y="307022"/>
                        <a:pt x="141526" y="309500"/>
                      </a:cubicBezTo>
                      <a:lnTo>
                        <a:pt x="139835" y="316953"/>
                      </a:lnTo>
                      <a:lnTo>
                        <a:pt x="136452" y="331858"/>
                      </a:lnTo>
                      <a:lnTo>
                        <a:pt x="133071" y="346764"/>
                      </a:lnTo>
                      <a:lnTo>
                        <a:pt x="131379" y="354217"/>
                      </a:lnTo>
                      <a:cubicBezTo>
                        <a:pt x="130829" y="356714"/>
                        <a:pt x="130396" y="359212"/>
                        <a:pt x="129885" y="361709"/>
                      </a:cubicBezTo>
                      <a:cubicBezTo>
                        <a:pt x="133188" y="356498"/>
                        <a:pt x="137357" y="351700"/>
                        <a:pt x="142057" y="347413"/>
                      </a:cubicBezTo>
                      <a:cubicBezTo>
                        <a:pt x="146757" y="343126"/>
                        <a:pt x="152026" y="339331"/>
                        <a:pt x="157828" y="336165"/>
                      </a:cubicBezTo>
                      <a:cubicBezTo>
                        <a:pt x="182527" y="322695"/>
                        <a:pt x="210981" y="323875"/>
                        <a:pt x="234677" y="335300"/>
                      </a:cubicBezTo>
                      <a:cubicBezTo>
                        <a:pt x="233477" y="347590"/>
                        <a:pt x="229249" y="359389"/>
                        <a:pt x="222190" y="369811"/>
                      </a:cubicBezTo>
                      <a:cubicBezTo>
                        <a:pt x="221305" y="371109"/>
                        <a:pt x="220381" y="372387"/>
                        <a:pt x="219417" y="373646"/>
                      </a:cubicBezTo>
                      <a:cubicBezTo>
                        <a:pt x="218493" y="374924"/>
                        <a:pt x="217529" y="376162"/>
                        <a:pt x="216507" y="377382"/>
                      </a:cubicBezTo>
                      <a:cubicBezTo>
                        <a:pt x="214481" y="379820"/>
                        <a:pt x="212298" y="382180"/>
                        <a:pt x="209939" y="384402"/>
                      </a:cubicBezTo>
                      <a:cubicBezTo>
                        <a:pt x="205220" y="388866"/>
                        <a:pt x="199812" y="392877"/>
                        <a:pt x="193755" y="396299"/>
                      </a:cubicBezTo>
                      <a:cubicBezTo>
                        <a:pt x="171220" y="409101"/>
                        <a:pt x="146127" y="406406"/>
                        <a:pt x="121959" y="402120"/>
                      </a:cubicBezTo>
                      <a:lnTo>
                        <a:pt x="116965" y="432265"/>
                      </a:lnTo>
                      <a:lnTo>
                        <a:pt x="114467" y="447348"/>
                      </a:lnTo>
                      <a:cubicBezTo>
                        <a:pt x="113661" y="452382"/>
                        <a:pt x="113052" y="457436"/>
                        <a:pt x="112344" y="462470"/>
                      </a:cubicBezTo>
                      <a:cubicBezTo>
                        <a:pt x="115450" y="457082"/>
                        <a:pt x="119010" y="451989"/>
                        <a:pt x="123494" y="447427"/>
                      </a:cubicBezTo>
                      <a:cubicBezTo>
                        <a:pt x="127937" y="442845"/>
                        <a:pt x="132972" y="438735"/>
                        <a:pt x="138595" y="435215"/>
                      </a:cubicBezTo>
                      <a:cubicBezTo>
                        <a:pt x="162468" y="420231"/>
                        <a:pt x="190982" y="419542"/>
                        <a:pt x="215326" y="429473"/>
                      </a:cubicBezTo>
                      <a:cubicBezTo>
                        <a:pt x="214855" y="441862"/>
                        <a:pt x="211237" y="453916"/>
                        <a:pt x="204905" y="464830"/>
                      </a:cubicBezTo>
                      <a:cubicBezTo>
                        <a:pt x="198808" y="475783"/>
                        <a:pt x="189822" y="485556"/>
                        <a:pt x="178142" y="493147"/>
                      </a:cubicBezTo>
                      <a:cubicBezTo>
                        <a:pt x="156294" y="507305"/>
                        <a:pt x="131379" y="506145"/>
                        <a:pt x="106916" y="503313"/>
                      </a:cubicBezTo>
                      <a:lnTo>
                        <a:pt x="103593" y="533695"/>
                      </a:lnTo>
                      <a:cubicBezTo>
                        <a:pt x="103082" y="538768"/>
                        <a:pt x="102394" y="543822"/>
                        <a:pt x="102020" y="548896"/>
                      </a:cubicBezTo>
                      <a:lnTo>
                        <a:pt x="100761" y="564136"/>
                      </a:lnTo>
                      <a:cubicBezTo>
                        <a:pt x="103534" y="558571"/>
                        <a:pt x="106956" y="553301"/>
                        <a:pt x="111007" y="548463"/>
                      </a:cubicBezTo>
                      <a:cubicBezTo>
                        <a:pt x="115097" y="543626"/>
                        <a:pt x="119974" y="539240"/>
                        <a:pt x="125361" y="535386"/>
                      </a:cubicBezTo>
                      <a:cubicBezTo>
                        <a:pt x="148388" y="519025"/>
                        <a:pt x="176843" y="516626"/>
                        <a:pt x="201700" y="525121"/>
                      </a:cubicBezTo>
                      <a:cubicBezTo>
                        <a:pt x="201798" y="531355"/>
                        <a:pt x="201109" y="537530"/>
                        <a:pt x="199694" y="543586"/>
                      </a:cubicBezTo>
                      <a:cubicBezTo>
                        <a:pt x="198258" y="549623"/>
                        <a:pt x="196035" y="555523"/>
                        <a:pt x="193361" y="561206"/>
                      </a:cubicBezTo>
                      <a:cubicBezTo>
                        <a:pt x="187856" y="572533"/>
                        <a:pt x="179399" y="582837"/>
                        <a:pt x="168132" y="591115"/>
                      </a:cubicBezTo>
                      <a:cubicBezTo>
                        <a:pt x="157573" y="598804"/>
                        <a:pt x="146187" y="602737"/>
                        <a:pt x="134270" y="604526"/>
                      </a:cubicBezTo>
                      <a:cubicBezTo>
                        <a:pt x="122333" y="606316"/>
                        <a:pt x="109905" y="605962"/>
                        <a:pt x="97654" y="605234"/>
                      </a:cubicBezTo>
                      <a:lnTo>
                        <a:pt x="95648" y="640178"/>
                      </a:lnTo>
                      <a:lnTo>
                        <a:pt x="95393" y="644544"/>
                      </a:lnTo>
                      <a:lnTo>
                        <a:pt x="95255" y="648909"/>
                      </a:lnTo>
                      <a:lnTo>
                        <a:pt x="94980" y="657660"/>
                      </a:lnTo>
                      <a:lnTo>
                        <a:pt x="94410" y="675142"/>
                      </a:lnTo>
                      <a:lnTo>
                        <a:pt x="93839" y="692624"/>
                      </a:lnTo>
                      <a:cubicBezTo>
                        <a:pt x="93702" y="698464"/>
                        <a:pt x="93721" y="704285"/>
                        <a:pt x="93643" y="710125"/>
                      </a:cubicBezTo>
                      <a:lnTo>
                        <a:pt x="93348" y="745128"/>
                      </a:lnTo>
                      <a:lnTo>
                        <a:pt x="85777" y="745128"/>
                      </a:lnTo>
                      <a:lnTo>
                        <a:pt x="86072" y="710027"/>
                      </a:lnTo>
                      <a:cubicBezTo>
                        <a:pt x="86150" y="704167"/>
                        <a:pt x="86131" y="698326"/>
                        <a:pt x="86268" y="692466"/>
                      </a:cubicBezTo>
                      <a:lnTo>
                        <a:pt x="86839" y="674906"/>
                      </a:lnTo>
                      <a:lnTo>
                        <a:pt x="87409" y="657345"/>
                      </a:lnTo>
                      <a:lnTo>
                        <a:pt x="87685" y="648575"/>
                      </a:lnTo>
                      <a:lnTo>
                        <a:pt x="87822" y="644190"/>
                      </a:lnTo>
                      <a:lnTo>
                        <a:pt x="88077" y="639805"/>
                      </a:lnTo>
                      <a:lnTo>
                        <a:pt x="90083" y="604723"/>
                      </a:lnTo>
                      <a:cubicBezTo>
                        <a:pt x="77832" y="603878"/>
                        <a:pt x="65444" y="602639"/>
                        <a:pt x="53822" y="599178"/>
                      </a:cubicBezTo>
                      <a:cubicBezTo>
                        <a:pt x="42181" y="595717"/>
                        <a:pt x="31247" y="590034"/>
                        <a:pt x="22261" y="580201"/>
                      </a:cubicBezTo>
                      <a:cubicBezTo>
                        <a:pt x="12547" y="569642"/>
                        <a:pt x="5998" y="556997"/>
                        <a:pt x="2537" y="543566"/>
                      </a:cubicBezTo>
                      <a:cubicBezTo>
                        <a:pt x="748" y="536861"/>
                        <a:pt x="20" y="529959"/>
                        <a:pt x="0" y="523037"/>
                      </a:cubicBezTo>
                      <a:cubicBezTo>
                        <a:pt x="0" y="516115"/>
                        <a:pt x="748" y="509193"/>
                        <a:pt x="2262" y="502428"/>
                      </a:cubicBezTo>
                      <a:cubicBezTo>
                        <a:pt x="28416" y="499085"/>
                        <a:pt x="55533" y="508937"/>
                        <a:pt x="74451" y="530116"/>
                      </a:cubicBezTo>
                      <a:cubicBezTo>
                        <a:pt x="78914" y="535111"/>
                        <a:pt x="82591" y="540440"/>
                        <a:pt x="85737" y="546044"/>
                      </a:cubicBezTo>
                      <a:cubicBezTo>
                        <a:pt x="88923" y="551649"/>
                        <a:pt x="91421" y="557489"/>
                        <a:pt x="93230" y="563467"/>
                      </a:cubicBezTo>
                      <a:lnTo>
                        <a:pt x="94489" y="548168"/>
                      </a:lnTo>
                      <a:cubicBezTo>
                        <a:pt x="94881" y="543075"/>
                        <a:pt x="95551" y="538002"/>
                        <a:pt x="96082" y="532908"/>
                      </a:cubicBezTo>
                      <a:lnTo>
                        <a:pt x="99424" y="502389"/>
                      </a:lnTo>
                      <a:cubicBezTo>
                        <a:pt x="75099" y="499321"/>
                        <a:pt x="50066" y="494818"/>
                        <a:pt x="33135" y="474151"/>
                      </a:cubicBezTo>
                      <a:cubicBezTo>
                        <a:pt x="24010" y="463040"/>
                        <a:pt x="18150" y="449983"/>
                        <a:pt x="15437" y="436336"/>
                      </a:cubicBezTo>
                      <a:cubicBezTo>
                        <a:pt x="12960" y="422708"/>
                        <a:pt x="13844" y="408491"/>
                        <a:pt x="17619" y="395080"/>
                      </a:cubicBezTo>
                      <a:cubicBezTo>
                        <a:pt x="43911" y="393271"/>
                        <a:pt x="70419" y="404735"/>
                        <a:pt x="88117" y="426995"/>
                      </a:cubicBezTo>
                      <a:cubicBezTo>
                        <a:pt x="92286" y="432246"/>
                        <a:pt x="95708" y="437791"/>
                        <a:pt x="98441" y="443553"/>
                      </a:cubicBezTo>
                      <a:cubicBezTo>
                        <a:pt x="101135" y="449315"/>
                        <a:pt x="103456" y="455312"/>
                        <a:pt x="104910" y="461369"/>
                      </a:cubicBezTo>
                      <a:cubicBezTo>
                        <a:pt x="105638" y="456295"/>
                        <a:pt x="106248" y="451222"/>
                        <a:pt x="107054" y="446168"/>
                      </a:cubicBezTo>
                      <a:lnTo>
                        <a:pt x="109571" y="431026"/>
                      </a:lnTo>
                      <a:lnTo>
                        <a:pt x="114605" y="400743"/>
                      </a:lnTo>
                      <a:cubicBezTo>
                        <a:pt x="90438" y="396220"/>
                        <a:pt x="65994" y="390301"/>
                        <a:pt x="50223" y="368572"/>
                      </a:cubicBezTo>
                      <a:cubicBezTo>
                        <a:pt x="45996" y="362732"/>
                        <a:pt x="42594" y="356459"/>
                        <a:pt x="40038" y="349910"/>
                      </a:cubicBezTo>
                      <a:cubicBezTo>
                        <a:pt x="38759" y="346627"/>
                        <a:pt x="37678" y="343283"/>
                        <a:pt x="36792" y="339901"/>
                      </a:cubicBezTo>
                      <a:cubicBezTo>
                        <a:pt x="36360" y="338210"/>
                        <a:pt x="35966" y="336499"/>
                        <a:pt x="35632" y="334788"/>
                      </a:cubicBezTo>
                      <a:cubicBezTo>
                        <a:pt x="35338" y="333078"/>
                        <a:pt x="35101" y="331367"/>
                        <a:pt x="34905" y="329636"/>
                      </a:cubicBezTo>
                      <a:cubicBezTo>
                        <a:pt x="33351" y="315832"/>
                        <a:pt x="35003" y="301614"/>
                        <a:pt x="39585" y="288419"/>
                      </a:cubicBezTo>
                      <a:cubicBezTo>
                        <a:pt x="65916" y="288242"/>
                        <a:pt x="91657" y="301418"/>
                        <a:pt x="107998" y="324779"/>
                      </a:cubicBezTo>
                      <a:cubicBezTo>
                        <a:pt x="111832" y="330285"/>
                        <a:pt x="114939" y="336047"/>
                        <a:pt x="117319" y="341966"/>
                      </a:cubicBezTo>
                      <a:cubicBezTo>
                        <a:pt x="119698" y="347885"/>
                        <a:pt x="121330" y="353961"/>
                        <a:pt x="122550" y="360136"/>
                      </a:cubicBezTo>
                      <a:cubicBezTo>
                        <a:pt x="123061" y="357619"/>
                        <a:pt x="123513" y="355102"/>
                        <a:pt x="124044" y="352604"/>
                      </a:cubicBezTo>
                      <a:lnTo>
                        <a:pt x="125735" y="345112"/>
                      </a:lnTo>
                      <a:lnTo>
                        <a:pt x="129138" y="330148"/>
                      </a:lnTo>
                      <a:lnTo>
                        <a:pt x="132540" y="315183"/>
                      </a:lnTo>
                      <a:lnTo>
                        <a:pt x="134230" y="307691"/>
                      </a:lnTo>
                      <a:cubicBezTo>
                        <a:pt x="134840" y="305213"/>
                        <a:pt x="135508" y="302735"/>
                        <a:pt x="136137" y="300257"/>
                      </a:cubicBezTo>
                      <a:cubicBezTo>
                        <a:pt x="112324" y="294201"/>
                        <a:pt x="88294" y="286728"/>
                        <a:pt x="73899" y="263957"/>
                      </a:cubicBezTo>
                      <a:close/>
                    </a:path>
                  </a:pathLst>
                </a:custGeom>
                <a:solidFill>
                  <a:srgbClr val="64911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767" name="Freeform: Shape 766">
                <a:extLst>
                  <a:ext uri="{FF2B5EF4-FFF2-40B4-BE49-F238E27FC236}">
                    <a16:creationId xmlns:a16="http://schemas.microsoft.com/office/drawing/2014/main" id="{76F680B9-2C24-4E04-839E-3AEC3691EA34}"/>
                  </a:ext>
                </a:extLst>
              </p:cNvPr>
              <p:cNvSpPr/>
              <p:nvPr/>
            </p:nvSpPr>
            <p:spPr>
              <a:xfrm>
                <a:off x="9522611" y="8754832"/>
                <a:ext cx="1639848" cy="562346"/>
              </a:xfrm>
              <a:custGeom>
                <a:avLst/>
                <a:gdLst>
                  <a:gd name="connsiteX0" fmla="*/ 1578597 w 1639848"/>
                  <a:gd name="connsiteY0" fmla="*/ 443356 h 562346"/>
                  <a:gd name="connsiteX1" fmla="*/ 1532327 w 1639848"/>
                  <a:gd name="connsiteY1" fmla="*/ 452520 h 562346"/>
                  <a:gd name="connsiteX2" fmla="*/ 1532563 w 1639848"/>
                  <a:gd name="connsiteY2" fmla="*/ 443356 h 562346"/>
                  <a:gd name="connsiteX3" fmla="*/ 1290139 w 1639848"/>
                  <a:gd name="connsiteY3" fmla="*/ 200932 h 562346"/>
                  <a:gd name="connsiteX4" fmla="*/ 1087437 w 1639848"/>
                  <a:gd name="connsiteY4" fmla="*/ 310424 h 562346"/>
                  <a:gd name="connsiteX5" fmla="*/ 952715 w 1639848"/>
                  <a:gd name="connsiteY5" fmla="*/ 262089 h 562346"/>
                  <a:gd name="connsiteX6" fmla="*/ 948546 w 1639848"/>
                  <a:gd name="connsiteY6" fmla="*/ 262187 h 562346"/>
                  <a:gd name="connsiteX7" fmla="*/ 615292 w 1639848"/>
                  <a:gd name="connsiteY7" fmla="*/ 0 h 562346"/>
                  <a:gd name="connsiteX8" fmla="*/ 272382 w 1639848"/>
                  <a:gd name="connsiteY8" fmla="*/ 342910 h 562346"/>
                  <a:gd name="connsiteX9" fmla="*/ 272559 w 1639848"/>
                  <a:gd name="connsiteY9" fmla="*/ 349596 h 562346"/>
                  <a:gd name="connsiteX10" fmla="*/ 111114 w 1639848"/>
                  <a:gd name="connsiteY10" fmla="*/ 496155 h 562346"/>
                  <a:gd name="connsiteX11" fmla="*/ 46378 w 1639848"/>
                  <a:gd name="connsiteY11" fmla="*/ 473954 h 562346"/>
                  <a:gd name="connsiteX12" fmla="*/ 40793 w 1639848"/>
                  <a:gd name="connsiteY12" fmla="*/ 474092 h 562346"/>
                  <a:gd name="connsiteX13" fmla="*/ 44234 w 1639848"/>
                  <a:gd name="connsiteY13" fmla="*/ 562346 h 562346"/>
                  <a:gd name="connsiteX14" fmla="*/ 1580308 w 1639848"/>
                  <a:gd name="connsiteY14" fmla="*/ 562346 h 562346"/>
                  <a:gd name="connsiteX15" fmla="*/ 1584772 w 1639848"/>
                  <a:gd name="connsiteY15" fmla="*/ 443513 h 562346"/>
                  <a:gd name="connsiteX16" fmla="*/ 1578597 w 1639848"/>
                  <a:gd name="connsiteY16" fmla="*/ 443356 h 562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39848" h="562346">
                    <a:moveTo>
                      <a:pt x="1578597" y="443356"/>
                    </a:moveTo>
                    <a:cubicBezTo>
                      <a:pt x="1562218" y="443356"/>
                      <a:pt x="1546584" y="446620"/>
                      <a:pt x="1532327" y="452520"/>
                    </a:cubicBezTo>
                    <a:cubicBezTo>
                      <a:pt x="1532445" y="449472"/>
                      <a:pt x="1532563" y="446424"/>
                      <a:pt x="1532563" y="443356"/>
                    </a:cubicBezTo>
                    <a:cubicBezTo>
                      <a:pt x="1532563" y="309460"/>
                      <a:pt x="1424015" y="200932"/>
                      <a:pt x="1290139" y="200932"/>
                    </a:cubicBezTo>
                    <a:cubicBezTo>
                      <a:pt x="1205346" y="200932"/>
                      <a:pt x="1130758" y="244489"/>
                      <a:pt x="1087437" y="310424"/>
                    </a:cubicBezTo>
                    <a:cubicBezTo>
                      <a:pt x="1050822" y="280219"/>
                      <a:pt x="1003883" y="262089"/>
                      <a:pt x="952715" y="262089"/>
                    </a:cubicBezTo>
                    <a:cubicBezTo>
                      <a:pt x="951319" y="262089"/>
                      <a:pt x="949942" y="262167"/>
                      <a:pt x="948546" y="262187"/>
                    </a:cubicBezTo>
                    <a:cubicBezTo>
                      <a:pt x="912246" y="111773"/>
                      <a:pt x="776855" y="0"/>
                      <a:pt x="615292" y="0"/>
                    </a:cubicBezTo>
                    <a:cubicBezTo>
                      <a:pt x="425922" y="0"/>
                      <a:pt x="272382" y="153521"/>
                      <a:pt x="272382" y="342910"/>
                    </a:cubicBezTo>
                    <a:cubicBezTo>
                      <a:pt x="272382" y="345152"/>
                      <a:pt x="272500" y="347374"/>
                      <a:pt x="272559" y="349596"/>
                    </a:cubicBezTo>
                    <a:cubicBezTo>
                      <a:pt x="189378" y="352191"/>
                      <a:pt x="121437" y="415157"/>
                      <a:pt x="111114" y="496155"/>
                    </a:cubicBezTo>
                    <a:cubicBezTo>
                      <a:pt x="93199" y="482292"/>
                      <a:pt x="70781" y="473954"/>
                      <a:pt x="46378" y="473954"/>
                    </a:cubicBezTo>
                    <a:cubicBezTo>
                      <a:pt x="44510" y="473954"/>
                      <a:pt x="42642" y="473993"/>
                      <a:pt x="40793" y="474092"/>
                    </a:cubicBezTo>
                    <a:cubicBezTo>
                      <a:pt x="-15801" y="477041"/>
                      <a:pt x="-12439" y="562346"/>
                      <a:pt x="44234" y="562346"/>
                    </a:cubicBezTo>
                    <a:lnTo>
                      <a:pt x="1580308" y="562346"/>
                    </a:lnTo>
                    <a:cubicBezTo>
                      <a:pt x="1656705" y="562346"/>
                      <a:pt x="1661071" y="447348"/>
                      <a:pt x="1584772" y="443513"/>
                    </a:cubicBezTo>
                    <a:cubicBezTo>
                      <a:pt x="1582727" y="443415"/>
                      <a:pt x="1580682" y="443356"/>
                      <a:pt x="1578597" y="443356"/>
                    </a:cubicBezTo>
                    <a:close/>
                  </a:path>
                </a:pathLst>
              </a:custGeom>
              <a:solidFill>
                <a:srgbClr val="64911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68" name="Freeform: Shape 767">
                <a:extLst>
                  <a:ext uri="{FF2B5EF4-FFF2-40B4-BE49-F238E27FC236}">
                    <a16:creationId xmlns:a16="http://schemas.microsoft.com/office/drawing/2014/main" id="{3E91A364-B708-4CC8-B17F-099BD6D168B6}"/>
                  </a:ext>
                </a:extLst>
              </p:cNvPr>
              <p:cNvSpPr/>
              <p:nvPr/>
            </p:nvSpPr>
            <p:spPr>
              <a:xfrm>
                <a:off x="3772693" y="8791997"/>
                <a:ext cx="1545033" cy="529820"/>
              </a:xfrm>
              <a:custGeom>
                <a:avLst/>
                <a:gdLst>
                  <a:gd name="connsiteX0" fmla="*/ 57719 w 1545033"/>
                  <a:gd name="connsiteY0" fmla="*/ 417733 h 529820"/>
                  <a:gd name="connsiteX1" fmla="*/ 101315 w 1545033"/>
                  <a:gd name="connsiteY1" fmla="*/ 426366 h 529820"/>
                  <a:gd name="connsiteX2" fmla="*/ 101098 w 1545033"/>
                  <a:gd name="connsiteY2" fmla="*/ 417733 h 529820"/>
                  <a:gd name="connsiteX3" fmla="*/ 329522 w 1545033"/>
                  <a:gd name="connsiteY3" fmla="*/ 189310 h 529820"/>
                  <a:gd name="connsiteX4" fmla="*/ 520503 w 1545033"/>
                  <a:gd name="connsiteY4" fmla="*/ 292470 h 529820"/>
                  <a:gd name="connsiteX5" fmla="*/ 647438 w 1545033"/>
                  <a:gd name="connsiteY5" fmla="*/ 246927 h 529820"/>
                  <a:gd name="connsiteX6" fmla="*/ 651351 w 1545033"/>
                  <a:gd name="connsiteY6" fmla="*/ 247026 h 529820"/>
                  <a:gd name="connsiteX7" fmla="*/ 965334 w 1545033"/>
                  <a:gd name="connsiteY7" fmla="*/ 0 h 529820"/>
                  <a:gd name="connsiteX8" fmla="*/ 1288403 w 1545033"/>
                  <a:gd name="connsiteY8" fmla="*/ 323068 h 529820"/>
                  <a:gd name="connsiteX9" fmla="*/ 1288245 w 1545033"/>
                  <a:gd name="connsiteY9" fmla="*/ 329361 h 529820"/>
                  <a:gd name="connsiteX10" fmla="*/ 1440350 w 1545033"/>
                  <a:gd name="connsiteY10" fmla="*/ 467445 h 529820"/>
                  <a:gd name="connsiteX11" fmla="*/ 1501330 w 1545033"/>
                  <a:gd name="connsiteY11" fmla="*/ 446522 h 529820"/>
                  <a:gd name="connsiteX12" fmla="*/ 1506600 w 1545033"/>
                  <a:gd name="connsiteY12" fmla="*/ 446660 h 529820"/>
                  <a:gd name="connsiteX13" fmla="*/ 1503356 w 1545033"/>
                  <a:gd name="connsiteY13" fmla="*/ 529821 h 529820"/>
                  <a:gd name="connsiteX14" fmla="*/ 56106 w 1545033"/>
                  <a:gd name="connsiteY14" fmla="*/ 529821 h 529820"/>
                  <a:gd name="connsiteX15" fmla="*/ 51898 w 1545033"/>
                  <a:gd name="connsiteY15" fmla="*/ 417871 h 529820"/>
                  <a:gd name="connsiteX16" fmla="*/ 57719 w 1545033"/>
                  <a:gd name="connsiteY16" fmla="*/ 417733 h 52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5033" h="529820">
                    <a:moveTo>
                      <a:pt x="57719" y="417733"/>
                    </a:moveTo>
                    <a:cubicBezTo>
                      <a:pt x="73155" y="417733"/>
                      <a:pt x="87884" y="420821"/>
                      <a:pt x="101315" y="426366"/>
                    </a:cubicBezTo>
                    <a:cubicBezTo>
                      <a:pt x="101217" y="423495"/>
                      <a:pt x="101098" y="420624"/>
                      <a:pt x="101098" y="417733"/>
                    </a:cubicBezTo>
                    <a:cubicBezTo>
                      <a:pt x="101098" y="291585"/>
                      <a:pt x="203354" y="189310"/>
                      <a:pt x="329522" y="189310"/>
                    </a:cubicBezTo>
                    <a:cubicBezTo>
                      <a:pt x="409418" y="189310"/>
                      <a:pt x="479680" y="230350"/>
                      <a:pt x="520503" y="292470"/>
                    </a:cubicBezTo>
                    <a:cubicBezTo>
                      <a:pt x="554995" y="264016"/>
                      <a:pt x="599220" y="246927"/>
                      <a:pt x="647438" y="246927"/>
                    </a:cubicBezTo>
                    <a:cubicBezTo>
                      <a:pt x="648755" y="246927"/>
                      <a:pt x="650053" y="247006"/>
                      <a:pt x="651351" y="247026"/>
                    </a:cubicBezTo>
                    <a:cubicBezTo>
                      <a:pt x="685547" y="105303"/>
                      <a:pt x="813111" y="0"/>
                      <a:pt x="965334" y="0"/>
                    </a:cubicBezTo>
                    <a:cubicBezTo>
                      <a:pt x="1143770" y="0"/>
                      <a:pt x="1288403" y="144652"/>
                      <a:pt x="1288403" y="323068"/>
                    </a:cubicBezTo>
                    <a:cubicBezTo>
                      <a:pt x="1288403" y="325172"/>
                      <a:pt x="1288285" y="327257"/>
                      <a:pt x="1288245" y="329361"/>
                    </a:cubicBezTo>
                    <a:cubicBezTo>
                      <a:pt x="1366628" y="331799"/>
                      <a:pt x="1430617" y="391127"/>
                      <a:pt x="1440350" y="467445"/>
                    </a:cubicBezTo>
                    <a:cubicBezTo>
                      <a:pt x="1457223" y="454388"/>
                      <a:pt x="1478342" y="446522"/>
                      <a:pt x="1501330" y="446522"/>
                    </a:cubicBezTo>
                    <a:cubicBezTo>
                      <a:pt x="1503100" y="446522"/>
                      <a:pt x="1504850" y="446561"/>
                      <a:pt x="1506600" y="446660"/>
                    </a:cubicBezTo>
                    <a:cubicBezTo>
                      <a:pt x="1559931" y="449432"/>
                      <a:pt x="1556745" y="529821"/>
                      <a:pt x="1503356" y="529821"/>
                    </a:cubicBezTo>
                    <a:lnTo>
                      <a:pt x="56106" y="529821"/>
                    </a:lnTo>
                    <a:cubicBezTo>
                      <a:pt x="-15886" y="529821"/>
                      <a:pt x="-19996" y="421470"/>
                      <a:pt x="51898" y="417871"/>
                    </a:cubicBezTo>
                    <a:cubicBezTo>
                      <a:pt x="53825" y="417773"/>
                      <a:pt x="55752" y="417733"/>
                      <a:pt x="57719" y="417733"/>
                    </a:cubicBezTo>
                    <a:close/>
                  </a:path>
                </a:pathLst>
              </a:custGeom>
              <a:solidFill>
                <a:srgbClr val="64911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69" name="Freeform: Shape 768">
                <a:extLst>
                  <a:ext uri="{FF2B5EF4-FFF2-40B4-BE49-F238E27FC236}">
                    <a16:creationId xmlns:a16="http://schemas.microsoft.com/office/drawing/2014/main" id="{1B8BF364-9EBD-4AEF-A228-15E6B86CD27C}"/>
                  </a:ext>
                </a:extLst>
              </p:cNvPr>
              <p:cNvSpPr/>
              <p:nvPr/>
            </p:nvSpPr>
            <p:spPr>
              <a:xfrm>
                <a:off x="4040821" y="9012397"/>
                <a:ext cx="1526202" cy="751971"/>
              </a:xfrm>
              <a:custGeom>
                <a:avLst/>
                <a:gdLst>
                  <a:gd name="connsiteX0" fmla="*/ 137730 w 1526202"/>
                  <a:gd name="connsiteY0" fmla="*/ 751971 h 751971"/>
                  <a:gd name="connsiteX1" fmla="*/ 0 w 1526202"/>
                  <a:gd name="connsiteY1" fmla="*/ 614241 h 751971"/>
                  <a:gd name="connsiteX2" fmla="*/ 137730 w 1526202"/>
                  <a:gd name="connsiteY2" fmla="*/ 476511 h 751971"/>
                  <a:gd name="connsiteX3" fmla="*/ 194148 w 1526202"/>
                  <a:gd name="connsiteY3" fmla="*/ 488683 h 751971"/>
                  <a:gd name="connsiteX4" fmla="*/ 193539 w 1526202"/>
                  <a:gd name="connsiteY4" fmla="*/ 476511 h 751971"/>
                  <a:gd name="connsiteX5" fmla="*/ 468999 w 1526202"/>
                  <a:gd name="connsiteY5" fmla="*/ 201030 h 751971"/>
                  <a:gd name="connsiteX6" fmla="*/ 651584 w 1526202"/>
                  <a:gd name="connsiteY6" fmla="*/ 270623 h 751971"/>
                  <a:gd name="connsiteX7" fmla="*/ 1012487 w 1526202"/>
                  <a:gd name="connsiteY7" fmla="*/ 0 h 751971"/>
                  <a:gd name="connsiteX8" fmla="*/ 1388472 w 1526202"/>
                  <a:gd name="connsiteY8" fmla="*/ 375986 h 751971"/>
                  <a:gd name="connsiteX9" fmla="*/ 1374589 w 1526202"/>
                  <a:gd name="connsiteY9" fmla="*/ 477199 h 751971"/>
                  <a:gd name="connsiteX10" fmla="*/ 1388472 w 1526202"/>
                  <a:gd name="connsiteY10" fmla="*/ 476491 h 751971"/>
                  <a:gd name="connsiteX11" fmla="*/ 1526203 w 1526202"/>
                  <a:gd name="connsiteY11" fmla="*/ 614221 h 751971"/>
                  <a:gd name="connsiteX12" fmla="*/ 1388472 w 1526202"/>
                  <a:gd name="connsiteY12" fmla="*/ 751951 h 751971"/>
                  <a:gd name="connsiteX13" fmla="*/ 137711 w 1526202"/>
                  <a:gd name="connsiteY13" fmla="*/ 751951 h 75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6202" h="751971">
                    <a:moveTo>
                      <a:pt x="137730" y="751971"/>
                    </a:moveTo>
                    <a:cubicBezTo>
                      <a:pt x="61668" y="751971"/>
                      <a:pt x="0" y="690303"/>
                      <a:pt x="0" y="614241"/>
                    </a:cubicBezTo>
                    <a:cubicBezTo>
                      <a:pt x="0" y="538178"/>
                      <a:pt x="61668" y="476511"/>
                      <a:pt x="137730" y="476511"/>
                    </a:cubicBezTo>
                    <a:cubicBezTo>
                      <a:pt x="157867" y="476511"/>
                      <a:pt x="176922" y="480935"/>
                      <a:pt x="194148" y="488683"/>
                    </a:cubicBezTo>
                    <a:cubicBezTo>
                      <a:pt x="193971" y="484612"/>
                      <a:pt x="193539" y="480620"/>
                      <a:pt x="193539" y="476511"/>
                    </a:cubicBezTo>
                    <a:cubicBezTo>
                      <a:pt x="193539" y="324366"/>
                      <a:pt x="316874" y="201030"/>
                      <a:pt x="468999" y="201030"/>
                    </a:cubicBezTo>
                    <a:cubicBezTo>
                      <a:pt x="539142" y="201030"/>
                      <a:pt x="602954" y="227459"/>
                      <a:pt x="651584" y="270623"/>
                    </a:cubicBezTo>
                    <a:cubicBezTo>
                      <a:pt x="697146" y="114270"/>
                      <a:pt x="841425" y="0"/>
                      <a:pt x="1012487" y="0"/>
                    </a:cubicBezTo>
                    <a:cubicBezTo>
                      <a:pt x="1220144" y="0"/>
                      <a:pt x="1388472" y="168328"/>
                      <a:pt x="1388472" y="375986"/>
                    </a:cubicBezTo>
                    <a:cubicBezTo>
                      <a:pt x="1388472" y="411067"/>
                      <a:pt x="1383556" y="444988"/>
                      <a:pt x="1374589" y="477199"/>
                    </a:cubicBezTo>
                    <a:cubicBezTo>
                      <a:pt x="1379151" y="476746"/>
                      <a:pt x="1383792" y="476491"/>
                      <a:pt x="1388472" y="476491"/>
                    </a:cubicBezTo>
                    <a:cubicBezTo>
                      <a:pt x="1464535" y="476491"/>
                      <a:pt x="1526203" y="538159"/>
                      <a:pt x="1526203" y="614221"/>
                    </a:cubicBezTo>
                    <a:cubicBezTo>
                      <a:pt x="1526203" y="690284"/>
                      <a:pt x="1464535" y="751951"/>
                      <a:pt x="1388472" y="751951"/>
                    </a:cubicBezTo>
                    <a:lnTo>
                      <a:pt x="137711" y="751951"/>
                    </a:lnTo>
                    <a:close/>
                  </a:path>
                </a:pathLst>
              </a:custGeom>
              <a:solidFill>
                <a:srgbClr val="ABC48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770" name="Graphic 10">
                <a:extLst>
                  <a:ext uri="{FF2B5EF4-FFF2-40B4-BE49-F238E27FC236}">
                    <a16:creationId xmlns:a16="http://schemas.microsoft.com/office/drawing/2014/main" id="{50563747-E686-43DF-A33D-F1FF47F90C32}"/>
                  </a:ext>
                </a:extLst>
              </p:cNvPr>
              <p:cNvGrpSpPr/>
              <p:nvPr/>
            </p:nvGrpSpPr>
            <p:grpSpPr>
              <a:xfrm>
                <a:off x="3592313" y="10207803"/>
                <a:ext cx="261774" cy="301240"/>
                <a:chOff x="3592313" y="10207803"/>
                <a:chExt cx="261774" cy="301240"/>
              </a:xfrm>
            </p:grpSpPr>
            <p:sp>
              <p:nvSpPr>
                <p:cNvPr id="1429" name="Freeform: Shape 1428">
                  <a:extLst>
                    <a:ext uri="{FF2B5EF4-FFF2-40B4-BE49-F238E27FC236}">
                      <a16:creationId xmlns:a16="http://schemas.microsoft.com/office/drawing/2014/main" id="{689AC2F3-18CB-4858-9375-220289AF1C5E}"/>
                    </a:ext>
                  </a:extLst>
                </p:cNvPr>
                <p:cNvSpPr/>
                <p:nvPr/>
              </p:nvSpPr>
              <p:spPr>
                <a:xfrm>
                  <a:off x="3633078" y="10288034"/>
                  <a:ext cx="221009" cy="221009"/>
                </a:xfrm>
                <a:custGeom>
                  <a:avLst/>
                  <a:gdLst>
                    <a:gd name="connsiteX0" fmla="*/ 27747 w 221009"/>
                    <a:gd name="connsiteY0" fmla="*/ 126423 h 221009"/>
                    <a:gd name="connsiteX1" fmla="*/ 40705 w 221009"/>
                    <a:gd name="connsiteY1" fmla="*/ 157788 h 221009"/>
                    <a:gd name="connsiteX2" fmla="*/ 23892 w 221009"/>
                    <a:gd name="connsiteY2" fmla="*/ 180186 h 221009"/>
                    <a:gd name="connsiteX3" fmla="*/ 40824 w 221009"/>
                    <a:gd name="connsiteY3" fmla="*/ 197117 h 221009"/>
                    <a:gd name="connsiteX4" fmla="*/ 63221 w 221009"/>
                    <a:gd name="connsiteY4" fmla="*/ 180304 h 221009"/>
                    <a:gd name="connsiteX5" fmla="*/ 94586 w 221009"/>
                    <a:gd name="connsiteY5" fmla="*/ 193263 h 221009"/>
                    <a:gd name="connsiteX6" fmla="*/ 98539 w 221009"/>
                    <a:gd name="connsiteY6" fmla="*/ 221010 h 221009"/>
                    <a:gd name="connsiteX7" fmla="*/ 122471 w 221009"/>
                    <a:gd name="connsiteY7" fmla="*/ 221010 h 221009"/>
                    <a:gd name="connsiteX8" fmla="*/ 126423 w 221009"/>
                    <a:gd name="connsiteY8" fmla="*/ 193263 h 221009"/>
                    <a:gd name="connsiteX9" fmla="*/ 157788 w 221009"/>
                    <a:gd name="connsiteY9" fmla="*/ 180304 h 221009"/>
                    <a:gd name="connsiteX10" fmla="*/ 180186 w 221009"/>
                    <a:gd name="connsiteY10" fmla="*/ 197117 h 221009"/>
                    <a:gd name="connsiteX11" fmla="*/ 197117 w 221009"/>
                    <a:gd name="connsiteY11" fmla="*/ 180186 h 221009"/>
                    <a:gd name="connsiteX12" fmla="*/ 180304 w 221009"/>
                    <a:gd name="connsiteY12" fmla="*/ 157788 h 221009"/>
                    <a:gd name="connsiteX13" fmla="*/ 193263 w 221009"/>
                    <a:gd name="connsiteY13" fmla="*/ 126423 h 221009"/>
                    <a:gd name="connsiteX14" fmla="*/ 221010 w 221009"/>
                    <a:gd name="connsiteY14" fmla="*/ 122471 h 221009"/>
                    <a:gd name="connsiteX15" fmla="*/ 221010 w 221009"/>
                    <a:gd name="connsiteY15" fmla="*/ 98539 h 221009"/>
                    <a:gd name="connsiteX16" fmla="*/ 193263 w 221009"/>
                    <a:gd name="connsiteY16" fmla="*/ 94586 h 221009"/>
                    <a:gd name="connsiteX17" fmla="*/ 180304 w 221009"/>
                    <a:gd name="connsiteY17" fmla="*/ 63221 h 221009"/>
                    <a:gd name="connsiteX18" fmla="*/ 197117 w 221009"/>
                    <a:gd name="connsiteY18" fmla="*/ 40824 h 221009"/>
                    <a:gd name="connsiteX19" fmla="*/ 180186 w 221009"/>
                    <a:gd name="connsiteY19" fmla="*/ 23892 h 221009"/>
                    <a:gd name="connsiteX20" fmla="*/ 157788 w 221009"/>
                    <a:gd name="connsiteY20" fmla="*/ 40706 h 221009"/>
                    <a:gd name="connsiteX21" fmla="*/ 126423 w 221009"/>
                    <a:gd name="connsiteY21" fmla="*/ 27747 h 221009"/>
                    <a:gd name="connsiteX22" fmla="*/ 122471 w 221009"/>
                    <a:gd name="connsiteY22" fmla="*/ 0 h 221009"/>
                    <a:gd name="connsiteX23" fmla="*/ 98539 w 221009"/>
                    <a:gd name="connsiteY23" fmla="*/ 0 h 221009"/>
                    <a:gd name="connsiteX24" fmla="*/ 94586 w 221009"/>
                    <a:gd name="connsiteY24" fmla="*/ 27747 h 221009"/>
                    <a:gd name="connsiteX25" fmla="*/ 63221 w 221009"/>
                    <a:gd name="connsiteY25" fmla="*/ 40706 h 221009"/>
                    <a:gd name="connsiteX26" fmla="*/ 40824 w 221009"/>
                    <a:gd name="connsiteY26" fmla="*/ 23892 h 221009"/>
                    <a:gd name="connsiteX27" fmla="*/ 23892 w 221009"/>
                    <a:gd name="connsiteY27" fmla="*/ 40824 h 221009"/>
                    <a:gd name="connsiteX28" fmla="*/ 40705 w 221009"/>
                    <a:gd name="connsiteY28" fmla="*/ 63221 h 221009"/>
                    <a:gd name="connsiteX29" fmla="*/ 27747 w 221009"/>
                    <a:gd name="connsiteY29" fmla="*/ 94586 h 221009"/>
                    <a:gd name="connsiteX30" fmla="*/ 0 w 221009"/>
                    <a:gd name="connsiteY30" fmla="*/ 98539 h 221009"/>
                    <a:gd name="connsiteX31" fmla="*/ 0 w 221009"/>
                    <a:gd name="connsiteY31" fmla="*/ 122471 h 221009"/>
                    <a:gd name="connsiteX32" fmla="*/ 27747 w 221009"/>
                    <a:gd name="connsiteY32" fmla="*/ 126423 h 221009"/>
                    <a:gd name="connsiteX33" fmla="*/ 115647 w 221009"/>
                    <a:gd name="connsiteY33" fmla="*/ 78304 h 221009"/>
                    <a:gd name="connsiteX34" fmla="*/ 142686 w 221009"/>
                    <a:gd name="connsiteY34" fmla="*/ 105343 h 221009"/>
                    <a:gd name="connsiteX35" fmla="*/ 105343 w 221009"/>
                    <a:gd name="connsiteY35" fmla="*/ 142686 h 221009"/>
                    <a:gd name="connsiteX36" fmla="*/ 78304 w 221009"/>
                    <a:gd name="connsiteY36" fmla="*/ 115647 h 221009"/>
                    <a:gd name="connsiteX37" fmla="*/ 115647 w 221009"/>
                    <a:gd name="connsiteY37" fmla="*/ 78304 h 22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1009" h="221009">
                      <a:moveTo>
                        <a:pt x="27747" y="126423"/>
                      </a:moveTo>
                      <a:cubicBezTo>
                        <a:pt x="29929" y="137868"/>
                        <a:pt x="34393" y="148487"/>
                        <a:pt x="40705" y="157788"/>
                      </a:cubicBezTo>
                      <a:lnTo>
                        <a:pt x="23892" y="180186"/>
                      </a:lnTo>
                      <a:lnTo>
                        <a:pt x="40824" y="197117"/>
                      </a:lnTo>
                      <a:lnTo>
                        <a:pt x="63221" y="180304"/>
                      </a:lnTo>
                      <a:cubicBezTo>
                        <a:pt x="72523" y="186616"/>
                        <a:pt x="83142" y="191080"/>
                        <a:pt x="94586" y="193263"/>
                      </a:cubicBezTo>
                      <a:lnTo>
                        <a:pt x="98539" y="221010"/>
                      </a:lnTo>
                      <a:lnTo>
                        <a:pt x="122471" y="221010"/>
                      </a:lnTo>
                      <a:lnTo>
                        <a:pt x="126423" y="193263"/>
                      </a:lnTo>
                      <a:cubicBezTo>
                        <a:pt x="137868" y="191080"/>
                        <a:pt x="148487" y="186616"/>
                        <a:pt x="157788" y="180304"/>
                      </a:cubicBezTo>
                      <a:lnTo>
                        <a:pt x="180186" y="197117"/>
                      </a:lnTo>
                      <a:lnTo>
                        <a:pt x="197117" y="180186"/>
                      </a:lnTo>
                      <a:lnTo>
                        <a:pt x="180304" y="157788"/>
                      </a:lnTo>
                      <a:cubicBezTo>
                        <a:pt x="186616" y="148487"/>
                        <a:pt x="191080" y="137868"/>
                        <a:pt x="193263" y="126423"/>
                      </a:cubicBezTo>
                      <a:lnTo>
                        <a:pt x="221010" y="122471"/>
                      </a:lnTo>
                      <a:lnTo>
                        <a:pt x="221010" y="98539"/>
                      </a:lnTo>
                      <a:lnTo>
                        <a:pt x="193263" y="94586"/>
                      </a:lnTo>
                      <a:cubicBezTo>
                        <a:pt x="191080" y="83142"/>
                        <a:pt x="186616" y="72523"/>
                        <a:pt x="180304" y="63221"/>
                      </a:cubicBezTo>
                      <a:lnTo>
                        <a:pt x="197117" y="40824"/>
                      </a:lnTo>
                      <a:lnTo>
                        <a:pt x="180186" y="23892"/>
                      </a:lnTo>
                      <a:lnTo>
                        <a:pt x="157788" y="40706"/>
                      </a:lnTo>
                      <a:cubicBezTo>
                        <a:pt x="148487" y="34393"/>
                        <a:pt x="137868" y="29929"/>
                        <a:pt x="126423" y="27747"/>
                      </a:cubicBezTo>
                      <a:lnTo>
                        <a:pt x="122471" y="0"/>
                      </a:lnTo>
                      <a:lnTo>
                        <a:pt x="98539" y="0"/>
                      </a:lnTo>
                      <a:lnTo>
                        <a:pt x="94586" y="27747"/>
                      </a:lnTo>
                      <a:cubicBezTo>
                        <a:pt x="83142" y="29929"/>
                        <a:pt x="72523" y="34393"/>
                        <a:pt x="63221" y="40706"/>
                      </a:cubicBezTo>
                      <a:lnTo>
                        <a:pt x="40824" y="23892"/>
                      </a:lnTo>
                      <a:lnTo>
                        <a:pt x="23892" y="40824"/>
                      </a:lnTo>
                      <a:lnTo>
                        <a:pt x="40705" y="63221"/>
                      </a:lnTo>
                      <a:cubicBezTo>
                        <a:pt x="34393" y="72523"/>
                        <a:pt x="29929" y="83142"/>
                        <a:pt x="27747" y="94586"/>
                      </a:cubicBezTo>
                      <a:lnTo>
                        <a:pt x="0" y="98539"/>
                      </a:lnTo>
                      <a:lnTo>
                        <a:pt x="0" y="122471"/>
                      </a:lnTo>
                      <a:lnTo>
                        <a:pt x="27747" y="126423"/>
                      </a:lnTo>
                      <a:close/>
                      <a:moveTo>
                        <a:pt x="115647" y="78304"/>
                      </a:moveTo>
                      <a:cubicBezTo>
                        <a:pt x="129373" y="80408"/>
                        <a:pt x="140582" y="91617"/>
                        <a:pt x="142686" y="105343"/>
                      </a:cubicBezTo>
                      <a:cubicBezTo>
                        <a:pt x="146068" y="127367"/>
                        <a:pt x="127367" y="146068"/>
                        <a:pt x="105343" y="142686"/>
                      </a:cubicBezTo>
                      <a:cubicBezTo>
                        <a:pt x="91617" y="140582"/>
                        <a:pt x="80408" y="129373"/>
                        <a:pt x="78304" y="115647"/>
                      </a:cubicBezTo>
                      <a:cubicBezTo>
                        <a:pt x="74922" y="93623"/>
                        <a:pt x="93623" y="74922"/>
                        <a:pt x="115647" y="78304"/>
                      </a:cubicBezTo>
                      <a:close/>
                    </a:path>
                  </a:pathLst>
                </a:custGeom>
                <a:solidFill>
                  <a:srgbClr val="DADAF2"/>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30" name="Freeform: Shape 1429">
                  <a:extLst>
                    <a:ext uri="{FF2B5EF4-FFF2-40B4-BE49-F238E27FC236}">
                      <a16:creationId xmlns:a16="http://schemas.microsoft.com/office/drawing/2014/main" id="{306C3735-3FBA-4313-97F8-179DB9439F63}"/>
                    </a:ext>
                  </a:extLst>
                </p:cNvPr>
                <p:cNvSpPr/>
                <p:nvPr/>
              </p:nvSpPr>
              <p:spPr>
                <a:xfrm>
                  <a:off x="3592313" y="10207803"/>
                  <a:ext cx="110514" cy="110494"/>
                </a:xfrm>
                <a:custGeom>
                  <a:avLst/>
                  <a:gdLst>
                    <a:gd name="connsiteX0" fmla="*/ 13903 w 110514"/>
                    <a:gd name="connsiteY0" fmla="*/ 63221 h 110494"/>
                    <a:gd name="connsiteX1" fmla="*/ 20372 w 110514"/>
                    <a:gd name="connsiteY1" fmla="*/ 78894 h 110494"/>
                    <a:gd name="connsiteX2" fmla="*/ 11976 w 110514"/>
                    <a:gd name="connsiteY2" fmla="*/ 90083 h 110494"/>
                    <a:gd name="connsiteX3" fmla="*/ 20431 w 110514"/>
                    <a:gd name="connsiteY3" fmla="*/ 98539 h 110494"/>
                    <a:gd name="connsiteX4" fmla="*/ 31620 w 110514"/>
                    <a:gd name="connsiteY4" fmla="*/ 90142 h 110494"/>
                    <a:gd name="connsiteX5" fmla="*/ 47293 w 110514"/>
                    <a:gd name="connsiteY5" fmla="*/ 96612 h 110494"/>
                    <a:gd name="connsiteX6" fmla="*/ 49279 w 110514"/>
                    <a:gd name="connsiteY6" fmla="*/ 110495 h 110494"/>
                    <a:gd name="connsiteX7" fmla="*/ 61255 w 110514"/>
                    <a:gd name="connsiteY7" fmla="*/ 110495 h 110494"/>
                    <a:gd name="connsiteX8" fmla="*/ 63241 w 110514"/>
                    <a:gd name="connsiteY8" fmla="*/ 96612 h 110494"/>
                    <a:gd name="connsiteX9" fmla="*/ 78914 w 110514"/>
                    <a:gd name="connsiteY9" fmla="*/ 90142 h 110494"/>
                    <a:gd name="connsiteX10" fmla="*/ 90103 w 110514"/>
                    <a:gd name="connsiteY10" fmla="*/ 98539 h 110494"/>
                    <a:gd name="connsiteX11" fmla="*/ 98559 w 110514"/>
                    <a:gd name="connsiteY11" fmla="*/ 90083 h 110494"/>
                    <a:gd name="connsiteX12" fmla="*/ 90162 w 110514"/>
                    <a:gd name="connsiteY12" fmla="*/ 78894 h 110494"/>
                    <a:gd name="connsiteX13" fmla="*/ 96631 w 110514"/>
                    <a:gd name="connsiteY13" fmla="*/ 63221 h 110494"/>
                    <a:gd name="connsiteX14" fmla="*/ 110514 w 110514"/>
                    <a:gd name="connsiteY14" fmla="*/ 61235 h 110494"/>
                    <a:gd name="connsiteX15" fmla="*/ 110514 w 110514"/>
                    <a:gd name="connsiteY15" fmla="*/ 49260 h 110494"/>
                    <a:gd name="connsiteX16" fmla="*/ 96631 w 110514"/>
                    <a:gd name="connsiteY16" fmla="*/ 47273 h 110494"/>
                    <a:gd name="connsiteX17" fmla="*/ 90142 w 110514"/>
                    <a:gd name="connsiteY17" fmla="*/ 31601 h 110494"/>
                    <a:gd name="connsiteX18" fmla="*/ 98539 w 110514"/>
                    <a:gd name="connsiteY18" fmla="*/ 20412 h 110494"/>
                    <a:gd name="connsiteX19" fmla="*/ 90083 w 110514"/>
                    <a:gd name="connsiteY19" fmla="*/ 11956 h 110494"/>
                    <a:gd name="connsiteX20" fmla="*/ 78894 w 110514"/>
                    <a:gd name="connsiteY20" fmla="*/ 20353 h 110494"/>
                    <a:gd name="connsiteX21" fmla="*/ 63221 w 110514"/>
                    <a:gd name="connsiteY21" fmla="*/ 13883 h 110494"/>
                    <a:gd name="connsiteX22" fmla="*/ 61235 w 110514"/>
                    <a:gd name="connsiteY22" fmla="*/ 0 h 110494"/>
                    <a:gd name="connsiteX23" fmla="*/ 49259 w 110514"/>
                    <a:gd name="connsiteY23" fmla="*/ 0 h 110494"/>
                    <a:gd name="connsiteX24" fmla="*/ 47273 w 110514"/>
                    <a:gd name="connsiteY24" fmla="*/ 13883 h 110494"/>
                    <a:gd name="connsiteX25" fmla="*/ 31601 w 110514"/>
                    <a:gd name="connsiteY25" fmla="*/ 20353 h 110494"/>
                    <a:gd name="connsiteX26" fmla="*/ 20412 w 110514"/>
                    <a:gd name="connsiteY26" fmla="*/ 11956 h 110494"/>
                    <a:gd name="connsiteX27" fmla="*/ 11956 w 110514"/>
                    <a:gd name="connsiteY27" fmla="*/ 20412 h 110494"/>
                    <a:gd name="connsiteX28" fmla="*/ 20353 w 110514"/>
                    <a:gd name="connsiteY28" fmla="*/ 31601 h 110494"/>
                    <a:gd name="connsiteX29" fmla="*/ 13883 w 110514"/>
                    <a:gd name="connsiteY29" fmla="*/ 47273 h 110494"/>
                    <a:gd name="connsiteX30" fmla="*/ 0 w 110514"/>
                    <a:gd name="connsiteY30" fmla="*/ 49260 h 110494"/>
                    <a:gd name="connsiteX31" fmla="*/ 0 w 110514"/>
                    <a:gd name="connsiteY31" fmla="*/ 61235 h 110494"/>
                    <a:gd name="connsiteX32" fmla="*/ 13883 w 110514"/>
                    <a:gd name="connsiteY32" fmla="*/ 63221 h 110494"/>
                    <a:gd name="connsiteX33" fmla="*/ 59328 w 110514"/>
                    <a:gd name="connsiteY33" fmla="*/ 39447 h 110494"/>
                    <a:gd name="connsiteX34" fmla="*/ 71087 w 110514"/>
                    <a:gd name="connsiteY34" fmla="*/ 51206 h 110494"/>
                    <a:gd name="connsiteX35" fmla="*/ 51226 w 110514"/>
                    <a:gd name="connsiteY35" fmla="*/ 71067 h 110494"/>
                    <a:gd name="connsiteX36" fmla="*/ 39467 w 110514"/>
                    <a:gd name="connsiteY36" fmla="*/ 59308 h 110494"/>
                    <a:gd name="connsiteX37" fmla="*/ 59328 w 110514"/>
                    <a:gd name="connsiteY37" fmla="*/ 39447 h 11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0514" h="110494">
                      <a:moveTo>
                        <a:pt x="13903" y="63221"/>
                      </a:moveTo>
                      <a:cubicBezTo>
                        <a:pt x="15004" y="68944"/>
                        <a:pt x="17226" y="74253"/>
                        <a:pt x="20372" y="78894"/>
                      </a:cubicBezTo>
                      <a:lnTo>
                        <a:pt x="11976" y="90083"/>
                      </a:lnTo>
                      <a:lnTo>
                        <a:pt x="20431" y="98539"/>
                      </a:lnTo>
                      <a:lnTo>
                        <a:pt x="31620" y="90142"/>
                      </a:lnTo>
                      <a:cubicBezTo>
                        <a:pt x="36261" y="93288"/>
                        <a:pt x="41571" y="95530"/>
                        <a:pt x="47293" y="96612"/>
                      </a:cubicBezTo>
                      <a:lnTo>
                        <a:pt x="49279" y="110495"/>
                      </a:lnTo>
                      <a:lnTo>
                        <a:pt x="61255" y="110495"/>
                      </a:lnTo>
                      <a:lnTo>
                        <a:pt x="63241" y="96612"/>
                      </a:lnTo>
                      <a:cubicBezTo>
                        <a:pt x="68963" y="95510"/>
                        <a:pt x="74273" y="93288"/>
                        <a:pt x="78914" y="90142"/>
                      </a:cubicBezTo>
                      <a:lnTo>
                        <a:pt x="90103" y="98539"/>
                      </a:lnTo>
                      <a:lnTo>
                        <a:pt x="98559" y="90083"/>
                      </a:lnTo>
                      <a:lnTo>
                        <a:pt x="90162" y="78894"/>
                      </a:lnTo>
                      <a:cubicBezTo>
                        <a:pt x="93308" y="74253"/>
                        <a:pt x="95550" y="68944"/>
                        <a:pt x="96631" y="63221"/>
                      </a:cubicBezTo>
                      <a:lnTo>
                        <a:pt x="110514" y="61235"/>
                      </a:lnTo>
                      <a:lnTo>
                        <a:pt x="110514" y="49260"/>
                      </a:lnTo>
                      <a:lnTo>
                        <a:pt x="96631" y="47273"/>
                      </a:lnTo>
                      <a:cubicBezTo>
                        <a:pt x="95530" y="41551"/>
                        <a:pt x="93308" y="36242"/>
                        <a:pt x="90142" y="31601"/>
                      </a:cubicBezTo>
                      <a:lnTo>
                        <a:pt x="98539" y="20412"/>
                      </a:lnTo>
                      <a:lnTo>
                        <a:pt x="90083" y="11956"/>
                      </a:lnTo>
                      <a:lnTo>
                        <a:pt x="78894" y="20353"/>
                      </a:lnTo>
                      <a:cubicBezTo>
                        <a:pt x="74253" y="17206"/>
                        <a:pt x="68924" y="14965"/>
                        <a:pt x="63221" y="13883"/>
                      </a:cubicBezTo>
                      <a:lnTo>
                        <a:pt x="61235" y="0"/>
                      </a:lnTo>
                      <a:lnTo>
                        <a:pt x="49259" y="0"/>
                      </a:lnTo>
                      <a:lnTo>
                        <a:pt x="47273" y="13883"/>
                      </a:lnTo>
                      <a:cubicBezTo>
                        <a:pt x="41551" y="14984"/>
                        <a:pt x="36242" y="17206"/>
                        <a:pt x="31601" y="20353"/>
                      </a:cubicBezTo>
                      <a:lnTo>
                        <a:pt x="20412" y="11956"/>
                      </a:lnTo>
                      <a:lnTo>
                        <a:pt x="11956" y="20412"/>
                      </a:lnTo>
                      <a:lnTo>
                        <a:pt x="20353" y="31601"/>
                      </a:lnTo>
                      <a:cubicBezTo>
                        <a:pt x="17206" y="36242"/>
                        <a:pt x="14965" y="41571"/>
                        <a:pt x="13883" y="47273"/>
                      </a:cubicBezTo>
                      <a:lnTo>
                        <a:pt x="0" y="49260"/>
                      </a:lnTo>
                      <a:lnTo>
                        <a:pt x="0" y="61235"/>
                      </a:lnTo>
                      <a:lnTo>
                        <a:pt x="13883" y="63221"/>
                      </a:lnTo>
                      <a:close/>
                      <a:moveTo>
                        <a:pt x="59328" y="39447"/>
                      </a:moveTo>
                      <a:cubicBezTo>
                        <a:pt x="65030" y="40823"/>
                        <a:pt x="69711" y="45504"/>
                        <a:pt x="71087" y="51206"/>
                      </a:cubicBezTo>
                      <a:cubicBezTo>
                        <a:pt x="74017" y="63339"/>
                        <a:pt x="63359" y="73998"/>
                        <a:pt x="51226" y="71067"/>
                      </a:cubicBezTo>
                      <a:cubicBezTo>
                        <a:pt x="45523" y="69691"/>
                        <a:pt x="40843" y="65011"/>
                        <a:pt x="39467" y="59308"/>
                      </a:cubicBezTo>
                      <a:cubicBezTo>
                        <a:pt x="36537" y="47175"/>
                        <a:pt x="47195" y="36517"/>
                        <a:pt x="59328" y="39447"/>
                      </a:cubicBezTo>
                      <a:close/>
                    </a:path>
                  </a:pathLst>
                </a:custGeom>
                <a:solidFill>
                  <a:srgbClr val="F2F3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771" name="Freeform: Shape 770">
                <a:extLst>
                  <a:ext uri="{FF2B5EF4-FFF2-40B4-BE49-F238E27FC236}">
                    <a16:creationId xmlns:a16="http://schemas.microsoft.com/office/drawing/2014/main" id="{D44FC4C9-9C86-4A67-A475-0247E4C2719C}"/>
                  </a:ext>
                </a:extLst>
              </p:cNvPr>
              <p:cNvSpPr/>
              <p:nvPr/>
            </p:nvSpPr>
            <p:spPr>
              <a:xfrm>
                <a:off x="1120425" y="10431546"/>
                <a:ext cx="414990" cy="550173"/>
              </a:xfrm>
              <a:custGeom>
                <a:avLst/>
                <a:gdLst>
                  <a:gd name="connsiteX0" fmla="*/ 85659 w 414990"/>
                  <a:gd name="connsiteY0" fmla="*/ 14198 h 550173"/>
                  <a:gd name="connsiteX1" fmla="*/ 0 w 414990"/>
                  <a:gd name="connsiteY1" fmla="*/ 0 h 550173"/>
                  <a:gd name="connsiteX2" fmla="*/ 252315 w 414990"/>
                  <a:gd name="connsiteY2" fmla="*/ 550174 h 550173"/>
                  <a:gd name="connsiteX3" fmla="*/ 414784 w 414990"/>
                  <a:gd name="connsiteY3" fmla="*/ 550174 h 550173"/>
                  <a:gd name="connsiteX4" fmla="*/ 85659 w 414990"/>
                  <a:gd name="connsiteY4" fmla="*/ 14198 h 550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990" h="550173">
                    <a:moveTo>
                      <a:pt x="85659" y="14198"/>
                    </a:moveTo>
                    <a:lnTo>
                      <a:pt x="0" y="0"/>
                    </a:lnTo>
                    <a:cubicBezTo>
                      <a:pt x="85737" y="314239"/>
                      <a:pt x="12153" y="468192"/>
                      <a:pt x="252315" y="550174"/>
                    </a:cubicBezTo>
                    <a:lnTo>
                      <a:pt x="414784" y="550174"/>
                    </a:lnTo>
                    <a:cubicBezTo>
                      <a:pt x="423003" y="331583"/>
                      <a:pt x="183962" y="103022"/>
                      <a:pt x="85659" y="14198"/>
                    </a:cubicBezTo>
                    <a:close/>
                  </a:path>
                </a:pathLst>
              </a:custGeom>
              <a:solidFill>
                <a:srgbClr val="64911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72" name="Freeform: Shape 771">
                <a:extLst>
                  <a:ext uri="{FF2B5EF4-FFF2-40B4-BE49-F238E27FC236}">
                    <a16:creationId xmlns:a16="http://schemas.microsoft.com/office/drawing/2014/main" id="{7C40393B-D062-4229-8BB1-A3372661C564}"/>
                  </a:ext>
                </a:extLst>
              </p:cNvPr>
              <p:cNvSpPr/>
              <p:nvPr/>
            </p:nvSpPr>
            <p:spPr>
              <a:xfrm>
                <a:off x="1538859" y="10361167"/>
                <a:ext cx="340301" cy="620552"/>
              </a:xfrm>
              <a:custGeom>
                <a:avLst/>
                <a:gdLst>
                  <a:gd name="connsiteX0" fmla="*/ 224104 w 340301"/>
                  <a:gd name="connsiteY0" fmla="*/ 0 h 620552"/>
                  <a:gd name="connsiteX1" fmla="*/ 340302 w 340301"/>
                  <a:gd name="connsiteY1" fmla="*/ 0 h 620552"/>
                  <a:gd name="connsiteX2" fmla="*/ 159919 w 340301"/>
                  <a:gd name="connsiteY2" fmla="*/ 620553 h 620552"/>
                  <a:gd name="connsiteX3" fmla="*/ 13930 w 340301"/>
                  <a:gd name="connsiteY3" fmla="*/ 620553 h 620552"/>
                  <a:gd name="connsiteX4" fmla="*/ 224104 w 340301"/>
                  <a:gd name="connsiteY4" fmla="*/ 0 h 620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01" h="620552">
                    <a:moveTo>
                      <a:pt x="224104" y="0"/>
                    </a:moveTo>
                    <a:lnTo>
                      <a:pt x="340302" y="0"/>
                    </a:lnTo>
                    <a:cubicBezTo>
                      <a:pt x="267602" y="291251"/>
                      <a:pt x="437582" y="553222"/>
                      <a:pt x="159919" y="620553"/>
                    </a:cubicBezTo>
                    <a:lnTo>
                      <a:pt x="13930" y="620553"/>
                    </a:lnTo>
                    <a:cubicBezTo>
                      <a:pt x="-55742" y="374530"/>
                      <a:pt x="155062" y="0"/>
                      <a:pt x="224104" y="0"/>
                    </a:cubicBezTo>
                    <a:close/>
                  </a:path>
                </a:pathLst>
              </a:custGeom>
              <a:solidFill>
                <a:srgbClr val="64911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73" name="Freeform: Shape 772">
                <a:extLst>
                  <a:ext uri="{FF2B5EF4-FFF2-40B4-BE49-F238E27FC236}">
                    <a16:creationId xmlns:a16="http://schemas.microsoft.com/office/drawing/2014/main" id="{24CC37D5-70ED-435B-BE47-FAFA80CC6E35}"/>
                  </a:ext>
                </a:extLst>
              </p:cNvPr>
              <p:cNvSpPr/>
              <p:nvPr/>
            </p:nvSpPr>
            <p:spPr>
              <a:xfrm>
                <a:off x="1762963" y="10361167"/>
                <a:ext cx="239671" cy="240437"/>
              </a:xfrm>
              <a:custGeom>
                <a:avLst/>
                <a:gdLst>
                  <a:gd name="connsiteX0" fmla="*/ 239671 w 239671"/>
                  <a:gd name="connsiteY0" fmla="*/ 240438 h 240437"/>
                  <a:gd name="connsiteX1" fmla="*/ 208739 w 239671"/>
                  <a:gd name="connsiteY1" fmla="*/ 51639 h 240437"/>
                  <a:gd name="connsiteX2" fmla="*/ 129687 w 239671"/>
                  <a:gd name="connsiteY2" fmla="*/ 0 h 240437"/>
                  <a:gd name="connsiteX3" fmla="*/ 0 w 239671"/>
                  <a:gd name="connsiteY3" fmla="*/ 0 h 240437"/>
                  <a:gd name="connsiteX4" fmla="*/ 239671 w 239671"/>
                  <a:gd name="connsiteY4" fmla="*/ 240438 h 240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71" h="240437">
                    <a:moveTo>
                      <a:pt x="239671" y="240438"/>
                    </a:moveTo>
                    <a:cubicBezTo>
                      <a:pt x="215680" y="180481"/>
                      <a:pt x="233260" y="101135"/>
                      <a:pt x="208739" y="51639"/>
                    </a:cubicBezTo>
                    <a:cubicBezTo>
                      <a:pt x="193636" y="21179"/>
                      <a:pt x="161229" y="0"/>
                      <a:pt x="129687" y="0"/>
                    </a:cubicBezTo>
                    <a:lnTo>
                      <a:pt x="0" y="0"/>
                    </a:lnTo>
                    <a:cubicBezTo>
                      <a:pt x="50282" y="0"/>
                      <a:pt x="158221" y="171593"/>
                      <a:pt x="239671" y="240438"/>
                    </a:cubicBezTo>
                    <a:close/>
                  </a:path>
                </a:pathLst>
              </a:custGeom>
              <a:solidFill>
                <a:srgbClr val="ABC48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74" name="Freeform: Shape 773">
                <a:extLst>
                  <a:ext uri="{FF2B5EF4-FFF2-40B4-BE49-F238E27FC236}">
                    <a16:creationId xmlns:a16="http://schemas.microsoft.com/office/drawing/2014/main" id="{DEC36A72-2E96-4641-995E-519293113BB1}"/>
                  </a:ext>
                </a:extLst>
              </p:cNvPr>
              <p:cNvSpPr/>
              <p:nvPr/>
            </p:nvSpPr>
            <p:spPr>
              <a:xfrm>
                <a:off x="1361648" y="10152270"/>
                <a:ext cx="337325" cy="882228"/>
              </a:xfrm>
              <a:custGeom>
                <a:avLst/>
                <a:gdLst>
                  <a:gd name="connsiteX0" fmla="*/ 62672 w 337325"/>
                  <a:gd name="connsiteY0" fmla="*/ 0 h 882228"/>
                  <a:gd name="connsiteX1" fmla="*/ 257547 w 337325"/>
                  <a:gd name="connsiteY1" fmla="*/ 217214 h 882228"/>
                  <a:gd name="connsiteX2" fmla="*/ 333885 w 337325"/>
                  <a:gd name="connsiteY2" fmla="*/ 531532 h 882228"/>
                  <a:gd name="connsiteX3" fmla="*/ 257547 w 337325"/>
                  <a:gd name="connsiteY3" fmla="*/ 882229 h 882228"/>
                  <a:gd name="connsiteX4" fmla="*/ 143866 w 337325"/>
                  <a:gd name="connsiteY4" fmla="*/ 882229 h 882228"/>
                  <a:gd name="connsiteX5" fmla="*/ 1712 w 337325"/>
                  <a:gd name="connsiteY5" fmla="*/ 522329 h 882228"/>
                  <a:gd name="connsiteX6" fmla="*/ 62652 w 337325"/>
                  <a:gd name="connsiteY6" fmla="*/ 0 h 88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325" h="882228">
                    <a:moveTo>
                      <a:pt x="62672" y="0"/>
                    </a:moveTo>
                    <a:lnTo>
                      <a:pt x="257547" y="217214"/>
                    </a:lnTo>
                    <a:cubicBezTo>
                      <a:pt x="298056" y="346725"/>
                      <a:pt x="327612" y="469687"/>
                      <a:pt x="333885" y="531532"/>
                    </a:cubicBezTo>
                    <a:cubicBezTo>
                      <a:pt x="349203" y="682339"/>
                      <a:pt x="311526" y="762905"/>
                      <a:pt x="257547" y="882229"/>
                    </a:cubicBezTo>
                    <a:lnTo>
                      <a:pt x="143866" y="882229"/>
                    </a:lnTo>
                    <a:cubicBezTo>
                      <a:pt x="68650" y="760958"/>
                      <a:pt x="24975" y="751361"/>
                      <a:pt x="1712" y="522329"/>
                    </a:cubicBezTo>
                    <a:cubicBezTo>
                      <a:pt x="-8494" y="421804"/>
                      <a:pt x="28868" y="191827"/>
                      <a:pt x="62652" y="0"/>
                    </a:cubicBezTo>
                    <a:close/>
                  </a:path>
                </a:pathLst>
              </a:custGeom>
              <a:solidFill>
                <a:srgbClr val="ABC48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75" name="Freeform: Shape 774">
                <a:extLst>
                  <a:ext uri="{FF2B5EF4-FFF2-40B4-BE49-F238E27FC236}">
                    <a16:creationId xmlns:a16="http://schemas.microsoft.com/office/drawing/2014/main" id="{89C42FB5-ACD4-405E-AD4A-722A0787AC2C}"/>
                  </a:ext>
                </a:extLst>
              </p:cNvPr>
              <p:cNvSpPr/>
              <p:nvPr/>
            </p:nvSpPr>
            <p:spPr>
              <a:xfrm>
                <a:off x="1223250" y="9943984"/>
                <a:ext cx="413249" cy="482606"/>
              </a:xfrm>
              <a:custGeom>
                <a:avLst/>
                <a:gdLst>
                  <a:gd name="connsiteX0" fmla="*/ 0 w 413249"/>
                  <a:gd name="connsiteY0" fmla="*/ 0 h 482606"/>
                  <a:gd name="connsiteX1" fmla="*/ 304112 w 413249"/>
                  <a:gd name="connsiteY1" fmla="*/ 226201 h 482606"/>
                  <a:gd name="connsiteX2" fmla="*/ 413250 w 413249"/>
                  <a:gd name="connsiteY2" fmla="*/ 482606 h 482606"/>
                  <a:gd name="connsiteX3" fmla="*/ 0 w 413249"/>
                  <a:gd name="connsiteY3" fmla="*/ 0 h 482606"/>
                </a:gdLst>
                <a:ahLst/>
                <a:cxnLst>
                  <a:cxn ang="0">
                    <a:pos x="connsiteX0" y="connsiteY0"/>
                  </a:cxn>
                  <a:cxn ang="0">
                    <a:pos x="connsiteX1" y="connsiteY1"/>
                  </a:cxn>
                  <a:cxn ang="0">
                    <a:pos x="connsiteX2" y="connsiteY2"/>
                  </a:cxn>
                  <a:cxn ang="0">
                    <a:pos x="connsiteX3" y="connsiteY3"/>
                  </a:cxn>
                </a:cxnLst>
                <a:rect l="l" t="t" r="r" b="b"/>
                <a:pathLst>
                  <a:path w="413249" h="482606">
                    <a:moveTo>
                      <a:pt x="0" y="0"/>
                    </a:moveTo>
                    <a:cubicBezTo>
                      <a:pt x="112186" y="116375"/>
                      <a:pt x="233103" y="144436"/>
                      <a:pt x="304112" y="226201"/>
                    </a:cubicBezTo>
                    <a:cubicBezTo>
                      <a:pt x="353784" y="283385"/>
                      <a:pt x="379663" y="362535"/>
                      <a:pt x="413250" y="482606"/>
                    </a:cubicBezTo>
                    <a:cubicBezTo>
                      <a:pt x="277624" y="433956"/>
                      <a:pt x="67902" y="194738"/>
                      <a:pt x="0" y="0"/>
                    </a:cubicBezTo>
                    <a:close/>
                  </a:path>
                </a:pathLst>
              </a:custGeom>
              <a:solidFill>
                <a:srgbClr val="649116"/>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76" name="Freeform: Shape 775">
                <a:extLst>
                  <a:ext uri="{FF2B5EF4-FFF2-40B4-BE49-F238E27FC236}">
                    <a16:creationId xmlns:a16="http://schemas.microsoft.com/office/drawing/2014/main" id="{61E611C0-D258-4A5D-BE40-BBE4420FD27F}"/>
                  </a:ext>
                </a:extLst>
              </p:cNvPr>
              <p:cNvSpPr/>
              <p:nvPr/>
            </p:nvSpPr>
            <p:spPr>
              <a:xfrm>
                <a:off x="1281536" y="10951004"/>
                <a:ext cx="562169" cy="427231"/>
              </a:xfrm>
              <a:custGeom>
                <a:avLst/>
                <a:gdLst>
                  <a:gd name="connsiteX0" fmla="*/ 239278 w 562169"/>
                  <a:gd name="connsiteY0" fmla="*/ 427231 h 427231"/>
                  <a:gd name="connsiteX1" fmla="*/ 322891 w 562169"/>
                  <a:gd name="connsiteY1" fmla="*/ 427231 h 427231"/>
                  <a:gd name="connsiteX2" fmla="*/ 491770 w 562169"/>
                  <a:gd name="connsiteY2" fmla="*/ 303876 h 427231"/>
                  <a:gd name="connsiteX3" fmla="*/ 562169 w 562169"/>
                  <a:gd name="connsiteY3" fmla="*/ 0 h 427231"/>
                  <a:gd name="connsiteX4" fmla="*/ 0 w 562169"/>
                  <a:gd name="connsiteY4" fmla="*/ 0 h 427231"/>
                  <a:gd name="connsiteX5" fmla="*/ 70399 w 562169"/>
                  <a:gd name="connsiteY5" fmla="*/ 303876 h 427231"/>
                  <a:gd name="connsiteX6" fmla="*/ 239278 w 562169"/>
                  <a:gd name="connsiteY6" fmla="*/ 427231 h 42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2169" h="427231">
                    <a:moveTo>
                      <a:pt x="239278" y="427231"/>
                    </a:moveTo>
                    <a:lnTo>
                      <a:pt x="322891" y="427231"/>
                    </a:lnTo>
                    <a:cubicBezTo>
                      <a:pt x="400370" y="427231"/>
                      <a:pt x="474977" y="376399"/>
                      <a:pt x="491770" y="303876"/>
                    </a:cubicBezTo>
                    <a:lnTo>
                      <a:pt x="562169" y="0"/>
                    </a:lnTo>
                    <a:lnTo>
                      <a:pt x="0" y="0"/>
                    </a:lnTo>
                    <a:lnTo>
                      <a:pt x="70399" y="303876"/>
                    </a:lnTo>
                    <a:cubicBezTo>
                      <a:pt x="87212" y="376418"/>
                      <a:pt x="161800" y="427231"/>
                      <a:pt x="239278" y="427231"/>
                    </a:cubicBezTo>
                    <a:close/>
                  </a:path>
                </a:pathLst>
              </a:custGeom>
              <a:solidFill>
                <a:srgbClr val="F2F3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77" name="Freeform: Shape 776">
                <a:extLst>
                  <a:ext uri="{FF2B5EF4-FFF2-40B4-BE49-F238E27FC236}">
                    <a16:creationId xmlns:a16="http://schemas.microsoft.com/office/drawing/2014/main" id="{130F315A-C192-4435-82C1-EF65DBC6C396}"/>
                  </a:ext>
                </a:extLst>
              </p:cNvPr>
              <p:cNvSpPr/>
              <p:nvPr/>
            </p:nvSpPr>
            <p:spPr>
              <a:xfrm>
                <a:off x="849526" y="10389861"/>
                <a:ext cx="506852" cy="208519"/>
              </a:xfrm>
              <a:custGeom>
                <a:avLst/>
                <a:gdLst>
                  <a:gd name="connsiteX0" fmla="*/ 506853 w 506852"/>
                  <a:gd name="connsiteY0" fmla="*/ 208519 h 208519"/>
                  <a:gd name="connsiteX1" fmla="*/ 0 w 506852"/>
                  <a:gd name="connsiteY1" fmla="*/ 36730 h 208519"/>
                  <a:gd name="connsiteX2" fmla="*/ 337364 w 506852"/>
                  <a:gd name="connsiteY2" fmla="*/ 34586 h 208519"/>
                  <a:gd name="connsiteX3" fmla="*/ 506853 w 506852"/>
                  <a:gd name="connsiteY3" fmla="*/ 208519 h 208519"/>
                </a:gdLst>
                <a:ahLst/>
                <a:cxnLst>
                  <a:cxn ang="0">
                    <a:pos x="connsiteX0" y="connsiteY0"/>
                  </a:cxn>
                  <a:cxn ang="0">
                    <a:pos x="connsiteX1" y="connsiteY1"/>
                  </a:cxn>
                  <a:cxn ang="0">
                    <a:pos x="connsiteX2" y="connsiteY2"/>
                  </a:cxn>
                  <a:cxn ang="0">
                    <a:pos x="connsiteX3" y="connsiteY3"/>
                  </a:cxn>
                </a:cxnLst>
                <a:rect l="l" t="t" r="r" b="b"/>
                <a:pathLst>
                  <a:path w="506852" h="208519">
                    <a:moveTo>
                      <a:pt x="506853" y="208519"/>
                    </a:moveTo>
                    <a:cubicBezTo>
                      <a:pt x="365406" y="183408"/>
                      <a:pt x="207952" y="36730"/>
                      <a:pt x="0" y="36730"/>
                    </a:cubicBezTo>
                    <a:cubicBezTo>
                      <a:pt x="176469" y="-28694"/>
                      <a:pt x="286276" y="7941"/>
                      <a:pt x="337364" y="34586"/>
                    </a:cubicBezTo>
                    <a:cubicBezTo>
                      <a:pt x="384343" y="59108"/>
                      <a:pt x="506853" y="208519"/>
                      <a:pt x="506853" y="208519"/>
                    </a:cubicBezTo>
                    <a:close/>
                  </a:path>
                </a:pathLst>
              </a:custGeom>
              <a:solidFill>
                <a:srgbClr val="ABC48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778" name="Graphic 10">
                <a:extLst>
                  <a:ext uri="{FF2B5EF4-FFF2-40B4-BE49-F238E27FC236}">
                    <a16:creationId xmlns:a16="http://schemas.microsoft.com/office/drawing/2014/main" id="{3A6D86F3-2E8A-4824-8754-C292A4ACBD1B}"/>
                  </a:ext>
                </a:extLst>
              </p:cNvPr>
              <p:cNvGrpSpPr/>
              <p:nvPr/>
            </p:nvGrpSpPr>
            <p:grpSpPr>
              <a:xfrm>
                <a:off x="5465968" y="9675386"/>
                <a:ext cx="411814" cy="473895"/>
                <a:chOff x="5465968" y="9675386"/>
                <a:chExt cx="411814" cy="473895"/>
              </a:xfrm>
            </p:grpSpPr>
            <p:sp>
              <p:nvSpPr>
                <p:cNvPr id="1427" name="Freeform: Shape 1426">
                  <a:extLst>
                    <a:ext uri="{FF2B5EF4-FFF2-40B4-BE49-F238E27FC236}">
                      <a16:creationId xmlns:a16="http://schemas.microsoft.com/office/drawing/2014/main" id="{7884F0C3-8F90-4647-82B9-82E0EA74975B}"/>
                    </a:ext>
                  </a:extLst>
                </p:cNvPr>
                <p:cNvSpPr/>
                <p:nvPr/>
              </p:nvSpPr>
              <p:spPr>
                <a:xfrm>
                  <a:off x="5465968" y="9801554"/>
                  <a:ext cx="347727" cy="347727"/>
                </a:xfrm>
                <a:custGeom>
                  <a:avLst/>
                  <a:gdLst>
                    <a:gd name="connsiteX0" fmla="*/ 347727 w 347727"/>
                    <a:gd name="connsiteY0" fmla="*/ 192693 h 347727"/>
                    <a:gd name="connsiteX1" fmla="*/ 347727 w 347727"/>
                    <a:gd name="connsiteY1" fmla="*/ 155035 h 347727"/>
                    <a:gd name="connsiteX2" fmla="*/ 304072 w 347727"/>
                    <a:gd name="connsiteY2" fmla="*/ 148801 h 347727"/>
                    <a:gd name="connsiteX3" fmla="*/ 283680 w 347727"/>
                    <a:gd name="connsiteY3" fmla="*/ 99463 h 347727"/>
                    <a:gd name="connsiteX4" fmla="*/ 310129 w 347727"/>
                    <a:gd name="connsiteY4" fmla="*/ 64224 h 347727"/>
                    <a:gd name="connsiteX5" fmla="*/ 283503 w 347727"/>
                    <a:gd name="connsiteY5" fmla="*/ 37599 h 347727"/>
                    <a:gd name="connsiteX6" fmla="*/ 248265 w 347727"/>
                    <a:gd name="connsiteY6" fmla="*/ 64047 h 347727"/>
                    <a:gd name="connsiteX7" fmla="*/ 198926 w 347727"/>
                    <a:gd name="connsiteY7" fmla="*/ 43655 h 347727"/>
                    <a:gd name="connsiteX8" fmla="*/ 192693 w 347727"/>
                    <a:gd name="connsiteY8" fmla="*/ 0 h 347727"/>
                    <a:gd name="connsiteX9" fmla="*/ 155035 w 347727"/>
                    <a:gd name="connsiteY9" fmla="*/ 0 h 347727"/>
                    <a:gd name="connsiteX10" fmla="*/ 148801 w 347727"/>
                    <a:gd name="connsiteY10" fmla="*/ 43655 h 347727"/>
                    <a:gd name="connsiteX11" fmla="*/ 99463 w 347727"/>
                    <a:gd name="connsiteY11" fmla="*/ 64047 h 347727"/>
                    <a:gd name="connsiteX12" fmla="*/ 64224 w 347727"/>
                    <a:gd name="connsiteY12" fmla="*/ 37599 h 347727"/>
                    <a:gd name="connsiteX13" fmla="*/ 37598 w 347727"/>
                    <a:gd name="connsiteY13" fmla="*/ 64224 h 347727"/>
                    <a:gd name="connsiteX14" fmla="*/ 64047 w 347727"/>
                    <a:gd name="connsiteY14" fmla="*/ 99463 h 347727"/>
                    <a:gd name="connsiteX15" fmla="*/ 43655 w 347727"/>
                    <a:gd name="connsiteY15" fmla="*/ 148801 h 347727"/>
                    <a:gd name="connsiteX16" fmla="*/ 0 w 347727"/>
                    <a:gd name="connsiteY16" fmla="*/ 155035 h 347727"/>
                    <a:gd name="connsiteX17" fmla="*/ 0 w 347727"/>
                    <a:gd name="connsiteY17" fmla="*/ 192693 h 347727"/>
                    <a:gd name="connsiteX18" fmla="*/ 43655 w 347727"/>
                    <a:gd name="connsiteY18" fmla="*/ 198926 h 347727"/>
                    <a:gd name="connsiteX19" fmla="*/ 64047 w 347727"/>
                    <a:gd name="connsiteY19" fmla="*/ 248264 h 347727"/>
                    <a:gd name="connsiteX20" fmla="*/ 37598 w 347727"/>
                    <a:gd name="connsiteY20" fmla="*/ 283503 h 347727"/>
                    <a:gd name="connsiteX21" fmla="*/ 64224 w 347727"/>
                    <a:gd name="connsiteY21" fmla="*/ 310129 h 347727"/>
                    <a:gd name="connsiteX22" fmla="*/ 99463 w 347727"/>
                    <a:gd name="connsiteY22" fmla="*/ 283680 h 347727"/>
                    <a:gd name="connsiteX23" fmla="*/ 148801 w 347727"/>
                    <a:gd name="connsiteY23" fmla="*/ 304072 h 347727"/>
                    <a:gd name="connsiteX24" fmla="*/ 155035 w 347727"/>
                    <a:gd name="connsiteY24" fmla="*/ 347728 h 347727"/>
                    <a:gd name="connsiteX25" fmla="*/ 192693 w 347727"/>
                    <a:gd name="connsiteY25" fmla="*/ 347728 h 347727"/>
                    <a:gd name="connsiteX26" fmla="*/ 198926 w 347727"/>
                    <a:gd name="connsiteY26" fmla="*/ 304072 h 347727"/>
                    <a:gd name="connsiteX27" fmla="*/ 248265 w 347727"/>
                    <a:gd name="connsiteY27" fmla="*/ 283680 h 347727"/>
                    <a:gd name="connsiteX28" fmla="*/ 283503 w 347727"/>
                    <a:gd name="connsiteY28" fmla="*/ 310129 h 347727"/>
                    <a:gd name="connsiteX29" fmla="*/ 310129 w 347727"/>
                    <a:gd name="connsiteY29" fmla="*/ 283503 h 347727"/>
                    <a:gd name="connsiteX30" fmla="*/ 283680 w 347727"/>
                    <a:gd name="connsiteY30" fmla="*/ 248264 h 347727"/>
                    <a:gd name="connsiteX31" fmla="*/ 304072 w 347727"/>
                    <a:gd name="connsiteY31" fmla="*/ 198926 h 347727"/>
                    <a:gd name="connsiteX32" fmla="*/ 347727 w 347727"/>
                    <a:gd name="connsiteY32" fmla="*/ 192693 h 347727"/>
                    <a:gd name="connsiteX33" fmla="*/ 224529 w 347727"/>
                    <a:gd name="connsiteY33" fmla="*/ 181975 h 347727"/>
                    <a:gd name="connsiteX34" fmla="*/ 181975 w 347727"/>
                    <a:gd name="connsiteY34" fmla="*/ 224529 h 347727"/>
                    <a:gd name="connsiteX35" fmla="*/ 123218 w 347727"/>
                    <a:gd name="connsiteY35" fmla="*/ 165772 h 347727"/>
                    <a:gd name="connsiteX36" fmla="*/ 165771 w 347727"/>
                    <a:gd name="connsiteY36" fmla="*/ 123218 h 347727"/>
                    <a:gd name="connsiteX37" fmla="*/ 224529 w 347727"/>
                    <a:gd name="connsiteY37" fmla="*/ 181975 h 34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47727" h="347727">
                      <a:moveTo>
                        <a:pt x="347727" y="192693"/>
                      </a:moveTo>
                      <a:lnTo>
                        <a:pt x="347727" y="155035"/>
                      </a:lnTo>
                      <a:lnTo>
                        <a:pt x="304072" y="148801"/>
                      </a:lnTo>
                      <a:cubicBezTo>
                        <a:pt x="300631" y="130808"/>
                        <a:pt x="293611" y="114074"/>
                        <a:pt x="283680" y="99463"/>
                      </a:cubicBezTo>
                      <a:lnTo>
                        <a:pt x="310129" y="64224"/>
                      </a:lnTo>
                      <a:lnTo>
                        <a:pt x="283503" y="37599"/>
                      </a:lnTo>
                      <a:lnTo>
                        <a:pt x="248265" y="64047"/>
                      </a:lnTo>
                      <a:cubicBezTo>
                        <a:pt x="233653" y="54117"/>
                        <a:pt x="216919" y="47097"/>
                        <a:pt x="198926" y="43655"/>
                      </a:cubicBezTo>
                      <a:lnTo>
                        <a:pt x="192693" y="0"/>
                      </a:lnTo>
                      <a:lnTo>
                        <a:pt x="155035" y="0"/>
                      </a:lnTo>
                      <a:lnTo>
                        <a:pt x="148801" y="43655"/>
                      </a:lnTo>
                      <a:cubicBezTo>
                        <a:pt x="130808" y="47097"/>
                        <a:pt x="114074" y="54117"/>
                        <a:pt x="99463" y="64047"/>
                      </a:cubicBezTo>
                      <a:lnTo>
                        <a:pt x="64224" y="37599"/>
                      </a:lnTo>
                      <a:lnTo>
                        <a:pt x="37598" y="64224"/>
                      </a:lnTo>
                      <a:lnTo>
                        <a:pt x="64047" y="99463"/>
                      </a:lnTo>
                      <a:cubicBezTo>
                        <a:pt x="54116" y="114074"/>
                        <a:pt x="47096" y="130808"/>
                        <a:pt x="43655" y="148801"/>
                      </a:cubicBezTo>
                      <a:lnTo>
                        <a:pt x="0" y="155035"/>
                      </a:lnTo>
                      <a:lnTo>
                        <a:pt x="0" y="192693"/>
                      </a:lnTo>
                      <a:lnTo>
                        <a:pt x="43655" y="198926"/>
                      </a:lnTo>
                      <a:cubicBezTo>
                        <a:pt x="47096" y="216919"/>
                        <a:pt x="54116" y="233634"/>
                        <a:pt x="64047" y="248264"/>
                      </a:cubicBezTo>
                      <a:lnTo>
                        <a:pt x="37598" y="283503"/>
                      </a:lnTo>
                      <a:lnTo>
                        <a:pt x="64224" y="310129"/>
                      </a:lnTo>
                      <a:lnTo>
                        <a:pt x="99463" y="283680"/>
                      </a:lnTo>
                      <a:cubicBezTo>
                        <a:pt x="114074" y="293611"/>
                        <a:pt x="130808" y="300631"/>
                        <a:pt x="148801" y="304072"/>
                      </a:cubicBezTo>
                      <a:lnTo>
                        <a:pt x="155035" y="347728"/>
                      </a:lnTo>
                      <a:lnTo>
                        <a:pt x="192693" y="347728"/>
                      </a:lnTo>
                      <a:lnTo>
                        <a:pt x="198926" y="304072"/>
                      </a:lnTo>
                      <a:cubicBezTo>
                        <a:pt x="216919" y="300631"/>
                        <a:pt x="233653" y="293611"/>
                        <a:pt x="248265" y="283680"/>
                      </a:cubicBezTo>
                      <a:lnTo>
                        <a:pt x="283503" y="310129"/>
                      </a:lnTo>
                      <a:lnTo>
                        <a:pt x="310129" y="283503"/>
                      </a:lnTo>
                      <a:lnTo>
                        <a:pt x="283680" y="248264"/>
                      </a:lnTo>
                      <a:cubicBezTo>
                        <a:pt x="293611" y="233654"/>
                        <a:pt x="300631" y="216919"/>
                        <a:pt x="304072" y="198926"/>
                      </a:cubicBezTo>
                      <a:lnTo>
                        <a:pt x="347727" y="192693"/>
                      </a:lnTo>
                      <a:close/>
                      <a:moveTo>
                        <a:pt x="224529" y="181975"/>
                      </a:moveTo>
                      <a:cubicBezTo>
                        <a:pt x="221226" y="203567"/>
                        <a:pt x="203567" y="221226"/>
                        <a:pt x="181975" y="224529"/>
                      </a:cubicBezTo>
                      <a:cubicBezTo>
                        <a:pt x="147326" y="229839"/>
                        <a:pt x="117908" y="200421"/>
                        <a:pt x="123218" y="165772"/>
                      </a:cubicBezTo>
                      <a:cubicBezTo>
                        <a:pt x="126521" y="144180"/>
                        <a:pt x="144180" y="126522"/>
                        <a:pt x="165771" y="123218"/>
                      </a:cubicBezTo>
                      <a:cubicBezTo>
                        <a:pt x="200421" y="117908"/>
                        <a:pt x="229839" y="147327"/>
                        <a:pt x="224529" y="181975"/>
                      </a:cubicBezTo>
                      <a:close/>
                    </a:path>
                  </a:pathLst>
                </a:custGeom>
                <a:solidFill>
                  <a:srgbClr val="DADAF2"/>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28" name="Freeform: Shape 1427">
                  <a:extLst>
                    <a:ext uri="{FF2B5EF4-FFF2-40B4-BE49-F238E27FC236}">
                      <a16:creationId xmlns:a16="http://schemas.microsoft.com/office/drawing/2014/main" id="{25F824C8-3E1E-4463-ADC1-A162AD12D75D}"/>
                    </a:ext>
                  </a:extLst>
                </p:cNvPr>
                <p:cNvSpPr/>
                <p:nvPr/>
              </p:nvSpPr>
              <p:spPr>
                <a:xfrm>
                  <a:off x="5703948" y="9675386"/>
                  <a:ext cx="173834" cy="173814"/>
                </a:xfrm>
                <a:custGeom>
                  <a:avLst/>
                  <a:gdLst>
                    <a:gd name="connsiteX0" fmla="*/ 173835 w 173834"/>
                    <a:gd name="connsiteY0" fmla="*/ 96317 h 173814"/>
                    <a:gd name="connsiteX1" fmla="*/ 173835 w 173834"/>
                    <a:gd name="connsiteY1" fmla="*/ 77498 h 173814"/>
                    <a:gd name="connsiteX2" fmla="*/ 152007 w 173834"/>
                    <a:gd name="connsiteY2" fmla="*/ 74391 h 173814"/>
                    <a:gd name="connsiteX3" fmla="*/ 141821 w 173834"/>
                    <a:gd name="connsiteY3" fmla="*/ 49732 h 173814"/>
                    <a:gd name="connsiteX4" fmla="*/ 155035 w 173834"/>
                    <a:gd name="connsiteY4" fmla="*/ 32112 h 173814"/>
                    <a:gd name="connsiteX5" fmla="*/ 141722 w 173834"/>
                    <a:gd name="connsiteY5" fmla="*/ 18799 h 173814"/>
                    <a:gd name="connsiteX6" fmla="*/ 124103 w 173834"/>
                    <a:gd name="connsiteY6" fmla="*/ 32014 h 173814"/>
                    <a:gd name="connsiteX7" fmla="*/ 99424 w 173834"/>
                    <a:gd name="connsiteY7" fmla="*/ 21828 h 173814"/>
                    <a:gd name="connsiteX8" fmla="*/ 96317 w 173834"/>
                    <a:gd name="connsiteY8" fmla="*/ 0 h 173814"/>
                    <a:gd name="connsiteX9" fmla="*/ 77498 w 173834"/>
                    <a:gd name="connsiteY9" fmla="*/ 0 h 173814"/>
                    <a:gd name="connsiteX10" fmla="*/ 74391 w 173834"/>
                    <a:gd name="connsiteY10" fmla="*/ 21828 h 173814"/>
                    <a:gd name="connsiteX11" fmla="*/ 49732 w 173834"/>
                    <a:gd name="connsiteY11" fmla="*/ 32014 h 173814"/>
                    <a:gd name="connsiteX12" fmla="*/ 32112 w 173834"/>
                    <a:gd name="connsiteY12" fmla="*/ 18799 h 173814"/>
                    <a:gd name="connsiteX13" fmla="*/ 18799 w 173834"/>
                    <a:gd name="connsiteY13" fmla="*/ 32112 h 173814"/>
                    <a:gd name="connsiteX14" fmla="*/ 32014 w 173834"/>
                    <a:gd name="connsiteY14" fmla="*/ 49732 h 173814"/>
                    <a:gd name="connsiteX15" fmla="*/ 21828 w 173834"/>
                    <a:gd name="connsiteY15" fmla="*/ 74391 h 173814"/>
                    <a:gd name="connsiteX16" fmla="*/ 0 w 173834"/>
                    <a:gd name="connsiteY16" fmla="*/ 77498 h 173814"/>
                    <a:gd name="connsiteX17" fmla="*/ 0 w 173834"/>
                    <a:gd name="connsiteY17" fmla="*/ 96317 h 173814"/>
                    <a:gd name="connsiteX18" fmla="*/ 21828 w 173834"/>
                    <a:gd name="connsiteY18" fmla="*/ 99424 h 173814"/>
                    <a:gd name="connsiteX19" fmla="*/ 32014 w 173834"/>
                    <a:gd name="connsiteY19" fmla="*/ 124083 h 173814"/>
                    <a:gd name="connsiteX20" fmla="*/ 18799 w 173834"/>
                    <a:gd name="connsiteY20" fmla="*/ 141702 h 173814"/>
                    <a:gd name="connsiteX21" fmla="*/ 32112 w 173834"/>
                    <a:gd name="connsiteY21" fmla="*/ 155015 h 173814"/>
                    <a:gd name="connsiteX22" fmla="*/ 49732 w 173834"/>
                    <a:gd name="connsiteY22" fmla="*/ 141801 h 173814"/>
                    <a:gd name="connsiteX23" fmla="*/ 74391 w 173834"/>
                    <a:gd name="connsiteY23" fmla="*/ 151987 h 173814"/>
                    <a:gd name="connsiteX24" fmla="*/ 77498 w 173834"/>
                    <a:gd name="connsiteY24" fmla="*/ 173815 h 173814"/>
                    <a:gd name="connsiteX25" fmla="*/ 96317 w 173834"/>
                    <a:gd name="connsiteY25" fmla="*/ 173815 h 173814"/>
                    <a:gd name="connsiteX26" fmla="*/ 99424 w 173834"/>
                    <a:gd name="connsiteY26" fmla="*/ 151987 h 173814"/>
                    <a:gd name="connsiteX27" fmla="*/ 124103 w 173834"/>
                    <a:gd name="connsiteY27" fmla="*/ 141801 h 173814"/>
                    <a:gd name="connsiteX28" fmla="*/ 141722 w 173834"/>
                    <a:gd name="connsiteY28" fmla="*/ 155015 h 173814"/>
                    <a:gd name="connsiteX29" fmla="*/ 155035 w 173834"/>
                    <a:gd name="connsiteY29" fmla="*/ 141702 h 173814"/>
                    <a:gd name="connsiteX30" fmla="*/ 141821 w 173834"/>
                    <a:gd name="connsiteY30" fmla="*/ 124083 h 173814"/>
                    <a:gd name="connsiteX31" fmla="*/ 152007 w 173834"/>
                    <a:gd name="connsiteY31" fmla="*/ 99424 h 173814"/>
                    <a:gd name="connsiteX32" fmla="*/ 173835 w 173834"/>
                    <a:gd name="connsiteY32" fmla="*/ 96317 h 173814"/>
                    <a:gd name="connsiteX33" fmla="*/ 111773 w 173834"/>
                    <a:gd name="connsiteY33" fmla="*/ 93288 h 173814"/>
                    <a:gd name="connsiteX34" fmla="*/ 93289 w 173834"/>
                    <a:gd name="connsiteY34" fmla="*/ 111773 h 173814"/>
                    <a:gd name="connsiteX35" fmla="*/ 62042 w 173834"/>
                    <a:gd name="connsiteY35" fmla="*/ 80526 h 173814"/>
                    <a:gd name="connsiteX36" fmla="*/ 80527 w 173834"/>
                    <a:gd name="connsiteY36" fmla="*/ 62042 h 173814"/>
                    <a:gd name="connsiteX37" fmla="*/ 111773 w 173834"/>
                    <a:gd name="connsiteY37" fmla="*/ 93288 h 173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3834" h="173814">
                      <a:moveTo>
                        <a:pt x="173835" y="96317"/>
                      </a:moveTo>
                      <a:lnTo>
                        <a:pt x="173835" y="77498"/>
                      </a:lnTo>
                      <a:lnTo>
                        <a:pt x="152007" y="74391"/>
                      </a:lnTo>
                      <a:cubicBezTo>
                        <a:pt x="150277" y="65385"/>
                        <a:pt x="146776" y="57027"/>
                        <a:pt x="141821" y="49732"/>
                      </a:cubicBezTo>
                      <a:lnTo>
                        <a:pt x="155035" y="32112"/>
                      </a:lnTo>
                      <a:lnTo>
                        <a:pt x="141722" y="18799"/>
                      </a:lnTo>
                      <a:lnTo>
                        <a:pt x="124103" y="32014"/>
                      </a:lnTo>
                      <a:cubicBezTo>
                        <a:pt x="116788" y="27058"/>
                        <a:pt x="108430" y="23538"/>
                        <a:pt x="99424" y="21828"/>
                      </a:cubicBezTo>
                      <a:lnTo>
                        <a:pt x="96317" y="0"/>
                      </a:lnTo>
                      <a:lnTo>
                        <a:pt x="77498" y="0"/>
                      </a:lnTo>
                      <a:lnTo>
                        <a:pt x="74391" y="21828"/>
                      </a:lnTo>
                      <a:cubicBezTo>
                        <a:pt x="65385" y="23558"/>
                        <a:pt x="57027" y="27058"/>
                        <a:pt x="49732" y="32014"/>
                      </a:cubicBezTo>
                      <a:lnTo>
                        <a:pt x="32112" y="18799"/>
                      </a:lnTo>
                      <a:lnTo>
                        <a:pt x="18799" y="32112"/>
                      </a:lnTo>
                      <a:lnTo>
                        <a:pt x="32014" y="49732"/>
                      </a:lnTo>
                      <a:cubicBezTo>
                        <a:pt x="27058" y="57047"/>
                        <a:pt x="23539" y="65404"/>
                        <a:pt x="21828" y="74391"/>
                      </a:cubicBezTo>
                      <a:lnTo>
                        <a:pt x="0" y="77498"/>
                      </a:lnTo>
                      <a:lnTo>
                        <a:pt x="0" y="96317"/>
                      </a:lnTo>
                      <a:lnTo>
                        <a:pt x="21828" y="99424"/>
                      </a:lnTo>
                      <a:cubicBezTo>
                        <a:pt x="23559" y="108430"/>
                        <a:pt x="27058" y="116787"/>
                        <a:pt x="32014" y="124083"/>
                      </a:cubicBezTo>
                      <a:lnTo>
                        <a:pt x="18799" y="141702"/>
                      </a:lnTo>
                      <a:lnTo>
                        <a:pt x="32112" y="155015"/>
                      </a:lnTo>
                      <a:lnTo>
                        <a:pt x="49732" y="141801"/>
                      </a:lnTo>
                      <a:cubicBezTo>
                        <a:pt x="57047" y="146756"/>
                        <a:pt x="65404" y="150276"/>
                        <a:pt x="74391" y="151987"/>
                      </a:cubicBezTo>
                      <a:lnTo>
                        <a:pt x="77498" y="173815"/>
                      </a:lnTo>
                      <a:lnTo>
                        <a:pt x="96317" y="173815"/>
                      </a:lnTo>
                      <a:lnTo>
                        <a:pt x="99424" y="151987"/>
                      </a:lnTo>
                      <a:cubicBezTo>
                        <a:pt x="108430" y="150257"/>
                        <a:pt x="116788" y="146756"/>
                        <a:pt x="124103" y="141801"/>
                      </a:cubicBezTo>
                      <a:lnTo>
                        <a:pt x="141722" y="155015"/>
                      </a:lnTo>
                      <a:lnTo>
                        <a:pt x="155035" y="141702"/>
                      </a:lnTo>
                      <a:lnTo>
                        <a:pt x="141821" y="124083"/>
                      </a:lnTo>
                      <a:cubicBezTo>
                        <a:pt x="146776" y="116768"/>
                        <a:pt x="150296" y="108410"/>
                        <a:pt x="152007" y="99424"/>
                      </a:cubicBezTo>
                      <a:lnTo>
                        <a:pt x="173835" y="96317"/>
                      </a:lnTo>
                      <a:close/>
                      <a:moveTo>
                        <a:pt x="111773" y="93288"/>
                      </a:moveTo>
                      <a:cubicBezTo>
                        <a:pt x="109610" y="102255"/>
                        <a:pt x="102255" y="109610"/>
                        <a:pt x="93289" y="111773"/>
                      </a:cubicBezTo>
                      <a:cubicBezTo>
                        <a:pt x="74195" y="116375"/>
                        <a:pt x="57440" y="99620"/>
                        <a:pt x="62042" y="80526"/>
                      </a:cubicBezTo>
                      <a:cubicBezTo>
                        <a:pt x="64205" y="71559"/>
                        <a:pt x="71559" y="64205"/>
                        <a:pt x="80527" y="62042"/>
                      </a:cubicBezTo>
                      <a:cubicBezTo>
                        <a:pt x="99621" y="57440"/>
                        <a:pt x="116375" y="74194"/>
                        <a:pt x="111773" y="93288"/>
                      </a:cubicBezTo>
                      <a:close/>
                    </a:path>
                  </a:pathLst>
                </a:custGeom>
                <a:solidFill>
                  <a:srgbClr val="F2F3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779" name="Graphic 10">
                <a:extLst>
                  <a:ext uri="{FF2B5EF4-FFF2-40B4-BE49-F238E27FC236}">
                    <a16:creationId xmlns:a16="http://schemas.microsoft.com/office/drawing/2014/main" id="{5E5B4C0C-C466-4604-879E-B5EA54B2BAB3}"/>
                  </a:ext>
                </a:extLst>
              </p:cNvPr>
              <p:cNvGrpSpPr/>
              <p:nvPr/>
            </p:nvGrpSpPr>
            <p:grpSpPr>
              <a:xfrm>
                <a:off x="6845411" y="8914547"/>
                <a:ext cx="1211714" cy="1268045"/>
                <a:chOff x="6845411" y="8914547"/>
                <a:chExt cx="1211714" cy="1268045"/>
              </a:xfrm>
            </p:grpSpPr>
            <p:sp>
              <p:nvSpPr>
                <p:cNvPr id="1418" name="Freeform: Shape 1417">
                  <a:extLst>
                    <a:ext uri="{FF2B5EF4-FFF2-40B4-BE49-F238E27FC236}">
                      <a16:creationId xmlns:a16="http://schemas.microsoft.com/office/drawing/2014/main" id="{88D4ADE3-7488-497C-9CD2-6BEC4E2DC7BE}"/>
                    </a:ext>
                  </a:extLst>
                </p:cNvPr>
                <p:cNvSpPr/>
                <p:nvPr/>
              </p:nvSpPr>
              <p:spPr>
                <a:xfrm>
                  <a:off x="7212700" y="9556185"/>
                  <a:ext cx="203811" cy="259086"/>
                </a:xfrm>
                <a:custGeom>
                  <a:avLst/>
                  <a:gdLst>
                    <a:gd name="connsiteX0" fmla="*/ 58707 w 203811"/>
                    <a:gd name="connsiteY0" fmla="*/ 200435 h 259086"/>
                    <a:gd name="connsiteX1" fmla="*/ 6812 w 203811"/>
                    <a:gd name="connsiteY1" fmla="*/ 6799 h 259086"/>
                    <a:gd name="connsiteX2" fmla="*/ 118546 w 203811"/>
                    <a:gd name="connsiteY2" fmla="*/ 9080 h 259086"/>
                    <a:gd name="connsiteX3" fmla="*/ 197381 w 203811"/>
                    <a:gd name="connsiteY3" fmla="*/ 55685 h 259086"/>
                    <a:gd name="connsiteX4" fmla="*/ 197381 w 203811"/>
                    <a:gd name="connsiteY4" fmla="*/ 204624 h 259086"/>
                    <a:gd name="connsiteX5" fmla="*/ 203811 w 203811"/>
                    <a:gd name="connsiteY5" fmla="*/ 259055 h 259086"/>
                    <a:gd name="connsiteX6" fmla="*/ 58726 w 203811"/>
                    <a:gd name="connsiteY6" fmla="*/ 200435 h 2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811" h="259086">
                      <a:moveTo>
                        <a:pt x="58707" y="200435"/>
                      </a:moveTo>
                      <a:cubicBezTo>
                        <a:pt x="6242" y="147970"/>
                        <a:pt x="-11063" y="73658"/>
                        <a:pt x="6812" y="6799"/>
                      </a:cubicBezTo>
                      <a:cubicBezTo>
                        <a:pt x="43427" y="-2975"/>
                        <a:pt x="82265" y="-2208"/>
                        <a:pt x="118546" y="9080"/>
                      </a:cubicBezTo>
                      <a:cubicBezTo>
                        <a:pt x="147236" y="18027"/>
                        <a:pt x="174295" y="33562"/>
                        <a:pt x="197381" y="55685"/>
                      </a:cubicBezTo>
                      <a:lnTo>
                        <a:pt x="197381" y="204624"/>
                      </a:lnTo>
                      <a:cubicBezTo>
                        <a:pt x="197381" y="223108"/>
                        <a:pt x="199584" y="241357"/>
                        <a:pt x="203811" y="259055"/>
                      </a:cubicBezTo>
                      <a:cubicBezTo>
                        <a:pt x="151405" y="259979"/>
                        <a:pt x="98724" y="240433"/>
                        <a:pt x="58726" y="200435"/>
                      </a:cubicBezTo>
                      <a:close/>
                    </a:path>
                  </a:pathLst>
                </a:custGeom>
                <a:solidFill>
                  <a:schemeClr val="accent3">
                    <a:lumMod val="40000"/>
                    <a:lumOff val="60000"/>
                  </a:schemeClr>
                </a:solidFill>
                <a:ln w="196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19" name="Freeform: Shape 1418">
                  <a:extLst>
                    <a:ext uri="{FF2B5EF4-FFF2-40B4-BE49-F238E27FC236}">
                      <a16:creationId xmlns:a16="http://schemas.microsoft.com/office/drawing/2014/main" id="{9779FF66-1C9E-4A07-B44F-1CAB50A721C8}"/>
                    </a:ext>
                  </a:extLst>
                </p:cNvPr>
                <p:cNvSpPr/>
                <p:nvPr/>
              </p:nvSpPr>
              <p:spPr>
                <a:xfrm>
                  <a:off x="7048391" y="9133137"/>
                  <a:ext cx="686547" cy="1049455"/>
                </a:xfrm>
                <a:custGeom>
                  <a:avLst/>
                  <a:gdLst>
                    <a:gd name="connsiteX0" fmla="*/ 301123 w 686547"/>
                    <a:gd name="connsiteY0" fmla="*/ 285116 h 1049455"/>
                    <a:gd name="connsiteX1" fmla="*/ 16007 w 686547"/>
                    <a:gd name="connsiteY1" fmla="*/ 0 h 1049455"/>
                    <a:gd name="connsiteX2" fmla="*/ 0 w 686547"/>
                    <a:gd name="connsiteY2" fmla="*/ 16007 h 1049455"/>
                    <a:gd name="connsiteX3" fmla="*/ 285116 w 686547"/>
                    <a:gd name="connsiteY3" fmla="*/ 301123 h 1049455"/>
                    <a:gd name="connsiteX4" fmla="*/ 350363 w 686547"/>
                    <a:gd name="connsiteY4" fmla="*/ 458616 h 1049455"/>
                    <a:gd name="connsiteX5" fmla="*/ 350363 w 686547"/>
                    <a:gd name="connsiteY5" fmla="*/ 627652 h 1049455"/>
                    <a:gd name="connsiteX6" fmla="*/ 422236 w 686547"/>
                    <a:gd name="connsiteY6" fmla="*/ 801152 h 1049455"/>
                    <a:gd name="connsiteX7" fmla="*/ 670540 w 686547"/>
                    <a:gd name="connsiteY7" fmla="*/ 1049456 h 1049455"/>
                    <a:gd name="connsiteX8" fmla="*/ 686547 w 686547"/>
                    <a:gd name="connsiteY8" fmla="*/ 1033449 h 1049455"/>
                    <a:gd name="connsiteX9" fmla="*/ 438243 w 686547"/>
                    <a:gd name="connsiteY9" fmla="*/ 785145 h 1049455"/>
                    <a:gd name="connsiteX10" fmla="*/ 372996 w 686547"/>
                    <a:gd name="connsiteY10" fmla="*/ 627652 h 1049455"/>
                    <a:gd name="connsiteX11" fmla="*/ 372996 w 686547"/>
                    <a:gd name="connsiteY11" fmla="*/ 458616 h 1049455"/>
                    <a:gd name="connsiteX12" fmla="*/ 301123 w 686547"/>
                    <a:gd name="connsiteY12" fmla="*/ 285096 h 104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6547" h="1049455">
                      <a:moveTo>
                        <a:pt x="301123" y="285116"/>
                      </a:moveTo>
                      <a:lnTo>
                        <a:pt x="16007" y="0"/>
                      </a:lnTo>
                      <a:lnTo>
                        <a:pt x="0" y="16007"/>
                      </a:lnTo>
                      <a:lnTo>
                        <a:pt x="285116" y="301123"/>
                      </a:lnTo>
                      <a:cubicBezTo>
                        <a:pt x="327178" y="343185"/>
                        <a:pt x="350363" y="399131"/>
                        <a:pt x="350363" y="458616"/>
                      </a:cubicBezTo>
                      <a:lnTo>
                        <a:pt x="350363" y="627652"/>
                      </a:lnTo>
                      <a:cubicBezTo>
                        <a:pt x="350363" y="693194"/>
                        <a:pt x="375887" y="754822"/>
                        <a:pt x="422236" y="801152"/>
                      </a:cubicBezTo>
                      <a:lnTo>
                        <a:pt x="670540" y="1049456"/>
                      </a:lnTo>
                      <a:lnTo>
                        <a:pt x="686547" y="1033449"/>
                      </a:lnTo>
                      <a:lnTo>
                        <a:pt x="438243" y="785145"/>
                      </a:lnTo>
                      <a:cubicBezTo>
                        <a:pt x="396181" y="743083"/>
                        <a:pt x="372996" y="687137"/>
                        <a:pt x="372996" y="627652"/>
                      </a:cubicBezTo>
                      <a:lnTo>
                        <a:pt x="372996" y="458616"/>
                      </a:lnTo>
                      <a:cubicBezTo>
                        <a:pt x="372996" y="393074"/>
                        <a:pt x="347472" y="331445"/>
                        <a:pt x="301123" y="285096"/>
                      </a:cubicBezTo>
                      <a:close/>
                    </a:path>
                  </a:pathLst>
                </a:custGeom>
                <a:solidFill>
                  <a:schemeClr val="accent3">
                    <a:lumMod val="40000"/>
                    <a:lumOff val="60000"/>
                  </a:schemeClr>
                </a:solidFill>
                <a:ln w="196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20" name="Freeform: Shape 1419">
                  <a:extLst>
                    <a:ext uri="{FF2B5EF4-FFF2-40B4-BE49-F238E27FC236}">
                      <a16:creationId xmlns:a16="http://schemas.microsoft.com/office/drawing/2014/main" id="{618AF294-6A27-4ECE-B944-9E76ECA16200}"/>
                    </a:ext>
                  </a:extLst>
                </p:cNvPr>
                <p:cNvSpPr/>
                <p:nvPr/>
              </p:nvSpPr>
              <p:spPr>
                <a:xfrm>
                  <a:off x="7542364" y="9263847"/>
                  <a:ext cx="214087" cy="742197"/>
                </a:xfrm>
                <a:custGeom>
                  <a:avLst/>
                  <a:gdLst>
                    <a:gd name="connsiteX0" fmla="*/ 214087 w 214087"/>
                    <a:gd name="connsiteY0" fmla="*/ 0 h 742197"/>
                    <a:gd name="connsiteX1" fmla="*/ 191453 w 214087"/>
                    <a:gd name="connsiteY1" fmla="*/ 0 h 742197"/>
                    <a:gd name="connsiteX2" fmla="*/ 191453 w 214087"/>
                    <a:gd name="connsiteY2" fmla="*/ 442491 h 742197"/>
                    <a:gd name="connsiteX3" fmla="*/ 126207 w 214087"/>
                    <a:gd name="connsiteY3" fmla="*/ 599984 h 742197"/>
                    <a:gd name="connsiteX4" fmla="*/ 0 w 214087"/>
                    <a:gd name="connsiteY4" fmla="*/ 726191 h 742197"/>
                    <a:gd name="connsiteX5" fmla="*/ 16007 w 214087"/>
                    <a:gd name="connsiteY5" fmla="*/ 742198 h 742197"/>
                    <a:gd name="connsiteX6" fmla="*/ 142214 w 214087"/>
                    <a:gd name="connsiteY6" fmla="*/ 615991 h 742197"/>
                    <a:gd name="connsiteX7" fmla="*/ 214087 w 214087"/>
                    <a:gd name="connsiteY7" fmla="*/ 442491 h 742197"/>
                    <a:gd name="connsiteX8" fmla="*/ 214087 w 214087"/>
                    <a:gd name="connsiteY8" fmla="*/ 0 h 74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087" h="742197">
                      <a:moveTo>
                        <a:pt x="214087" y="0"/>
                      </a:moveTo>
                      <a:lnTo>
                        <a:pt x="191453" y="0"/>
                      </a:lnTo>
                      <a:lnTo>
                        <a:pt x="191453" y="442491"/>
                      </a:lnTo>
                      <a:cubicBezTo>
                        <a:pt x="191453" y="501996"/>
                        <a:pt x="168289" y="557922"/>
                        <a:pt x="126207" y="599984"/>
                      </a:cubicBezTo>
                      <a:lnTo>
                        <a:pt x="0" y="726191"/>
                      </a:lnTo>
                      <a:lnTo>
                        <a:pt x="16007" y="742198"/>
                      </a:lnTo>
                      <a:lnTo>
                        <a:pt x="142214" y="615991"/>
                      </a:lnTo>
                      <a:cubicBezTo>
                        <a:pt x="188563" y="569642"/>
                        <a:pt x="214087" y="508033"/>
                        <a:pt x="214087" y="442491"/>
                      </a:cubicBezTo>
                      <a:lnTo>
                        <a:pt x="214087" y="0"/>
                      </a:lnTo>
                      <a:close/>
                    </a:path>
                  </a:pathLst>
                </a:custGeom>
                <a:solidFill>
                  <a:schemeClr val="accent3">
                    <a:lumMod val="40000"/>
                    <a:lumOff val="60000"/>
                  </a:schemeClr>
                </a:solidFill>
                <a:ln w="196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21" name="Freeform: Shape 1420">
                  <a:extLst>
                    <a:ext uri="{FF2B5EF4-FFF2-40B4-BE49-F238E27FC236}">
                      <a16:creationId xmlns:a16="http://schemas.microsoft.com/office/drawing/2014/main" id="{FA7BA0F7-2C49-4778-9DD8-9A71F80AB79A}"/>
                    </a:ext>
                  </a:extLst>
                </p:cNvPr>
                <p:cNvSpPr/>
                <p:nvPr/>
              </p:nvSpPr>
              <p:spPr>
                <a:xfrm>
                  <a:off x="6845411" y="8930157"/>
                  <a:ext cx="316152" cy="316152"/>
                </a:xfrm>
                <a:custGeom>
                  <a:avLst/>
                  <a:gdLst>
                    <a:gd name="connsiteX0" fmla="*/ 71621 w 316152"/>
                    <a:gd name="connsiteY0" fmla="*/ 244531 h 316152"/>
                    <a:gd name="connsiteX1" fmla="*/ 8301 w 316152"/>
                    <a:gd name="connsiteY1" fmla="*/ 8301 h 316152"/>
                    <a:gd name="connsiteX2" fmla="*/ 244531 w 316152"/>
                    <a:gd name="connsiteY2" fmla="*/ 71621 h 316152"/>
                    <a:gd name="connsiteX3" fmla="*/ 307851 w 316152"/>
                    <a:gd name="connsiteY3" fmla="*/ 307851 h 316152"/>
                    <a:gd name="connsiteX4" fmla="*/ 71621 w 316152"/>
                    <a:gd name="connsiteY4" fmla="*/ 244531 h 316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152" h="316152">
                      <a:moveTo>
                        <a:pt x="71621" y="244531"/>
                      </a:moveTo>
                      <a:cubicBezTo>
                        <a:pt x="7613" y="180523"/>
                        <a:pt x="-13487" y="89889"/>
                        <a:pt x="8301" y="8301"/>
                      </a:cubicBezTo>
                      <a:cubicBezTo>
                        <a:pt x="89870" y="-13487"/>
                        <a:pt x="180523" y="7613"/>
                        <a:pt x="244531" y="71621"/>
                      </a:cubicBezTo>
                      <a:cubicBezTo>
                        <a:pt x="308539" y="135629"/>
                        <a:pt x="329639" y="226263"/>
                        <a:pt x="307851" y="307851"/>
                      </a:cubicBezTo>
                      <a:cubicBezTo>
                        <a:pt x="226282" y="329639"/>
                        <a:pt x="135629" y="308539"/>
                        <a:pt x="71621" y="244531"/>
                      </a:cubicBezTo>
                      <a:close/>
                    </a:path>
                  </a:pathLst>
                </a:custGeom>
                <a:solidFill>
                  <a:schemeClr val="accent3">
                    <a:lumMod val="40000"/>
                    <a:lumOff val="60000"/>
                  </a:schemeClr>
                </a:solidFill>
                <a:ln w="196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22" name="Freeform: Shape 1421">
                  <a:extLst>
                    <a:ext uri="{FF2B5EF4-FFF2-40B4-BE49-F238E27FC236}">
                      <a16:creationId xmlns:a16="http://schemas.microsoft.com/office/drawing/2014/main" id="{F3EE1965-B316-44E0-A4E9-C25BFF87E125}"/>
                    </a:ext>
                  </a:extLst>
                </p:cNvPr>
                <p:cNvSpPr/>
                <p:nvPr/>
              </p:nvSpPr>
              <p:spPr>
                <a:xfrm>
                  <a:off x="7740973" y="9247995"/>
                  <a:ext cx="316152" cy="316152"/>
                </a:xfrm>
                <a:custGeom>
                  <a:avLst/>
                  <a:gdLst>
                    <a:gd name="connsiteX0" fmla="*/ 71621 w 316152"/>
                    <a:gd name="connsiteY0" fmla="*/ 71621 h 316152"/>
                    <a:gd name="connsiteX1" fmla="*/ 307851 w 316152"/>
                    <a:gd name="connsiteY1" fmla="*/ 8301 h 316152"/>
                    <a:gd name="connsiteX2" fmla="*/ 244532 w 316152"/>
                    <a:gd name="connsiteY2" fmla="*/ 244531 h 316152"/>
                    <a:gd name="connsiteX3" fmla="*/ 8301 w 316152"/>
                    <a:gd name="connsiteY3" fmla="*/ 307851 h 316152"/>
                    <a:gd name="connsiteX4" fmla="*/ 71621 w 316152"/>
                    <a:gd name="connsiteY4" fmla="*/ 71621 h 316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152" h="316152">
                      <a:moveTo>
                        <a:pt x="71621" y="71621"/>
                      </a:moveTo>
                      <a:cubicBezTo>
                        <a:pt x="135629" y="7613"/>
                        <a:pt x="226263" y="-13487"/>
                        <a:pt x="307851" y="8301"/>
                      </a:cubicBezTo>
                      <a:cubicBezTo>
                        <a:pt x="329639" y="89870"/>
                        <a:pt x="308539" y="180523"/>
                        <a:pt x="244532" y="244531"/>
                      </a:cubicBezTo>
                      <a:cubicBezTo>
                        <a:pt x="180523" y="308539"/>
                        <a:pt x="89890" y="329639"/>
                        <a:pt x="8301" y="307851"/>
                      </a:cubicBezTo>
                      <a:cubicBezTo>
                        <a:pt x="-13487" y="226283"/>
                        <a:pt x="7613" y="135629"/>
                        <a:pt x="71621" y="71621"/>
                      </a:cubicBezTo>
                      <a:close/>
                    </a:path>
                  </a:pathLst>
                </a:custGeom>
                <a:solidFill>
                  <a:schemeClr val="accent3">
                    <a:lumMod val="40000"/>
                    <a:lumOff val="60000"/>
                  </a:schemeClr>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23" name="Freeform: Shape 1422">
                  <a:extLst>
                    <a:ext uri="{FF2B5EF4-FFF2-40B4-BE49-F238E27FC236}">
                      <a16:creationId xmlns:a16="http://schemas.microsoft.com/office/drawing/2014/main" id="{EAD4434C-81EC-4F16-8AE1-4B40E6741000}"/>
                    </a:ext>
                  </a:extLst>
                </p:cNvPr>
                <p:cNvSpPr/>
                <p:nvPr/>
              </p:nvSpPr>
              <p:spPr>
                <a:xfrm>
                  <a:off x="7622870" y="8914547"/>
                  <a:ext cx="244508" cy="423612"/>
                </a:xfrm>
                <a:custGeom>
                  <a:avLst/>
                  <a:gdLst>
                    <a:gd name="connsiteX0" fmla="*/ 0 w 244508"/>
                    <a:gd name="connsiteY0" fmla="*/ 211806 h 423612"/>
                    <a:gd name="connsiteX1" fmla="*/ 122254 w 244508"/>
                    <a:gd name="connsiteY1" fmla="*/ 0 h 423612"/>
                    <a:gd name="connsiteX2" fmla="*/ 244509 w 244508"/>
                    <a:gd name="connsiteY2" fmla="*/ 211806 h 423612"/>
                    <a:gd name="connsiteX3" fmla="*/ 122254 w 244508"/>
                    <a:gd name="connsiteY3" fmla="*/ 423613 h 423612"/>
                    <a:gd name="connsiteX4" fmla="*/ 0 w 244508"/>
                    <a:gd name="connsiteY4" fmla="*/ 211806 h 423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508" h="423612">
                      <a:moveTo>
                        <a:pt x="0" y="211806"/>
                      </a:moveTo>
                      <a:cubicBezTo>
                        <a:pt x="0" y="121291"/>
                        <a:pt x="49181" y="42279"/>
                        <a:pt x="122254" y="0"/>
                      </a:cubicBezTo>
                      <a:cubicBezTo>
                        <a:pt x="195347" y="42279"/>
                        <a:pt x="244509" y="121291"/>
                        <a:pt x="244509" y="211806"/>
                      </a:cubicBezTo>
                      <a:cubicBezTo>
                        <a:pt x="244509" y="302322"/>
                        <a:pt x="195328" y="381334"/>
                        <a:pt x="122254" y="423613"/>
                      </a:cubicBezTo>
                      <a:cubicBezTo>
                        <a:pt x="49161" y="381334"/>
                        <a:pt x="0" y="302322"/>
                        <a:pt x="0" y="211806"/>
                      </a:cubicBezTo>
                      <a:close/>
                    </a:path>
                  </a:pathLst>
                </a:custGeom>
                <a:solidFill>
                  <a:srgbClr val="DAAD8F"/>
                </a:solidFill>
                <a:ln w="77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24" name="Freeform: Shape 1423">
                  <a:extLst>
                    <a:ext uri="{FF2B5EF4-FFF2-40B4-BE49-F238E27FC236}">
                      <a16:creationId xmlns:a16="http://schemas.microsoft.com/office/drawing/2014/main" id="{A6148003-8C5D-41EF-B658-E9554956CDA1}"/>
                    </a:ext>
                  </a:extLst>
                </p:cNvPr>
                <p:cNvSpPr/>
                <p:nvPr/>
              </p:nvSpPr>
              <p:spPr>
                <a:xfrm>
                  <a:off x="7529468" y="9300034"/>
                  <a:ext cx="219806" cy="256928"/>
                </a:xfrm>
                <a:custGeom>
                  <a:avLst/>
                  <a:gdLst>
                    <a:gd name="connsiteX0" fmla="*/ 58204 w 219806"/>
                    <a:gd name="connsiteY0" fmla="*/ 198726 h 256928"/>
                    <a:gd name="connsiteX1" fmla="*/ 6741 w 219806"/>
                    <a:gd name="connsiteY1" fmla="*/ 6741 h 256928"/>
                    <a:gd name="connsiteX2" fmla="*/ 198726 w 219806"/>
                    <a:gd name="connsiteY2" fmla="*/ 58203 h 256928"/>
                    <a:gd name="connsiteX3" fmla="*/ 219806 w 219806"/>
                    <a:gd name="connsiteY3" fmla="*/ 83040 h 256928"/>
                    <a:gd name="connsiteX4" fmla="*/ 219806 w 219806"/>
                    <a:gd name="connsiteY4" fmla="*/ 255812 h 256928"/>
                    <a:gd name="connsiteX5" fmla="*/ 58184 w 219806"/>
                    <a:gd name="connsiteY5" fmla="*/ 198726 h 256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806" h="256928">
                      <a:moveTo>
                        <a:pt x="58204" y="198726"/>
                      </a:moveTo>
                      <a:cubicBezTo>
                        <a:pt x="6191" y="146713"/>
                        <a:pt x="-10957" y="73050"/>
                        <a:pt x="6741" y="6741"/>
                      </a:cubicBezTo>
                      <a:cubicBezTo>
                        <a:pt x="73050" y="-10957"/>
                        <a:pt x="146714" y="6191"/>
                        <a:pt x="198726" y="58203"/>
                      </a:cubicBezTo>
                      <a:cubicBezTo>
                        <a:pt x="206553" y="66030"/>
                        <a:pt x="213573" y="74328"/>
                        <a:pt x="219806" y="83040"/>
                      </a:cubicBezTo>
                      <a:lnTo>
                        <a:pt x="219806" y="255812"/>
                      </a:lnTo>
                      <a:cubicBezTo>
                        <a:pt x="162170" y="261928"/>
                        <a:pt x="102370" y="242912"/>
                        <a:pt x="58184" y="198726"/>
                      </a:cubicBezTo>
                      <a:close/>
                    </a:path>
                  </a:pathLst>
                </a:custGeom>
                <a:solidFill>
                  <a:schemeClr val="accent3">
                    <a:lumMod val="20000"/>
                    <a:lumOff val="80000"/>
                  </a:schemeClr>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25" name="Freeform: Shape 1424">
                  <a:extLst>
                    <a:ext uri="{FF2B5EF4-FFF2-40B4-BE49-F238E27FC236}">
                      <a16:creationId xmlns:a16="http://schemas.microsoft.com/office/drawing/2014/main" id="{2CE461AE-0211-4B62-AF47-D7580C72D417}"/>
                    </a:ext>
                  </a:extLst>
                </p:cNvPr>
                <p:cNvSpPr/>
                <p:nvPr/>
              </p:nvSpPr>
              <p:spPr>
                <a:xfrm>
                  <a:off x="7179691" y="9010470"/>
                  <a:ext cx="244508" cy="404499"/>
                </a:xfrm>
                <a:custGeom>
                  <a:avLst/>
                  <a:gdLst>
                    <a:gd name="connsiteX0" fmla="*/ 4444 w 244508"/>
                    <a:gd name="connsiteY0" fmla="*/ 258411 h 404499"/>
                    <a:gd name="connsiteX1" fmla="*/ 0 w 244508"/>
                    <a:gd name="connsiteY1" fmla="*/ 211806 h 404499"/>
                    <a:gd name="connsiteX2" fmla="*/ 122254 w 244508"/>
                    <a:gd name="connsiteY2" fmla="*/ 0 h 404499"/>
                    <a:gd name="connsiteX3" fmla="*/ 244508 w 244508"/>
                    <a:gd name="connsiteY3" fmla="*/ 211806 h 404499"/>
                    <a:gd name="connsiteX4" fmla="*/ 150512 w 244508"/>
                    <a:gd name="connsiteY4" fmla="*/ 404499 h 404499"/>
                    <a:gd name="connsiteX5" fmla="*/ 4425 w 244508"/>
                    <a:gd name="connsiteY5" fmla="*/ 258411 h 404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508" h="404499">
                      <a:moveTo>
                        <a:pt x="4444" y="258411"/>
                      </a:moveTo>
                      <a:cubicBezTo>
                        <a:pt x="1534" y="243329"/>
                        <a:pt x="0" y="227735"/>
                        <a:pt x="0" y="211806"/>
                      </a:cubicBezTo>
                      <a:cubicBezTo>
                        <a:pt x="0" y="121291"/>
                        <a:pt x="49181" y="42279"/>
                        <a:pt x="122254" y="0"/>
                      </a:cubicBezTo>
                      <a:cubicBezTo>
                        <a:pt x="195347" y="42279"/>
                        <a:pt x="244508" y="121291"/>
                        <a:pt x="244508" y="211806"/>
                      </a:cubicBezTo>
                      <a:cubicBezTo>
                        <a:pt x="244508" y="290071"/>
                        <a:pt x="207736" y="359743"/>
                        <a:pt x="150512" y="404499"/>
                      </a:cubicBezTo>
                      <a:lnTo>
                        <a:pt x="4425" y="258411"/>
                      </a:lnTo>
                      <a:close/>
                    </a:path>
                  </a:pathLst>
                </a:custGeom>
                <a:solidFill>
                  <a:schemeClr val="accent3">
                    <a:lumMod val="20000"/>
                    <a:lumOff val="80000"/>
                  </a:schemeClr>
                </a:solidFill>
                <a:ln w="1966"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26" name="Freeform: Shape 1425">
                  <a:extLst>
                    <a:ext uri="{FF2B5EF4-FFF2-40B4-BE49-F238E27FC236}">
                      <a16:creationId xmlns:a16="http://schemas.microsoft.com/office/drawing/2014/main" id="{5FF9A61D-0B48-48DC-95F6-D685F5533722}"/>
                    </a:ext>
                  </a:extLst>
                </p:cNvPr>
                <p:cNvSpPr/>
                <p:nvPr/>
              </p:nvSpPr>
              <p:spPr>
                <a:xfrm>
                  <a:off x="6982968" y="9314739"/>
                  <a:ext cx="347275" cy="200460"/>
                </a:xfrm>
                <a:custGeom>
                  <a:avLst/>
                  <a:gdLst>
                    <a:gd name="connsiteX0" fmla="*/ 173638 w 347275"/>
                    <a:gd name="connsiteY0" fmla="*/ 200460 h 200460"/>
                    <a:gd name="connsiteX1" fmla="*/ 0 w 347275"/>
                    <a:gd name="connsiteY1" fmla="*/ 100230 h 200460"/>
                    <a:gd name="connsiteX2" fmla="*/ 173638 w 347275"/>
                    <a:gd name="connsiteY2" fmla="*/ 0 h 200460"/>
                    <a:gd name="connsiteX3" fmla="*/ 347275 w 347275"/>
                    <a:gd name="connsiteY3" fmla="*/ 100230 h 200460"/>
                    <a:gd name="connsiteX4" fmla="*/ 173638 w 347275"/>
                    <a:gd name="connsiteY4" fmla="*/ 200460 h 200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275" h="200460">
                      <a:moveTo>
                        <a:pt x="173638" y="200460"/>
                      </a:moveTo>
                      <a:cubicBezTo>
                        <a:pt x="99444" y="200460"/>
                        <a:pt x="34668" y="160148"/>
                        <a:pt x="0" y="100230"/>
                      </a:cubicBezTo>
                      <a:cubicBezTo>
                        <a:pt x="34668" y="40312"/>
                        <a:pt x="99444" y="0"/>
                        <a:pt x="173638" y="0"/>
                      </a:cubicBezTo>
                      <a:cubicBezTo>
                        <a:pt x="247832" y="0"/>
                        <a:pt x="312607" y="40312"/>
                        <a:pt x="347275" y="100230"/>
                      </a:cubicBezTo>
                      <a:cubicBezTo>
                        <a:pt x="312607" y="160148"/>
                        <a:pt x="247832" y="200460"/>
                        <a:pt x="173638" y="200460"/>
                      </a:cubicBezTo>
                      <a:close/>
                    </a:path>
                  </a:pathLst>
                </a:custGeom>
                <a:solidFill>
                  <a:srgbClr val="DAAD8F"/>
                </a:solidFill>
                <a:ln w="77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780" name="Freeform: Shape 779">
                <a:extLst>
                  <a:ext uri="{FF2B5EF4-FFF2-40B4-BE49-F238E27FC236}">
                    <a16:creationId xmlns:a16="http://schemas.microsoft.com/office/drawing/2014/main" id="{5510DDE9-7546-49CE-92A6-AE4CBD7EA628}"/>
                  </a:ext>
                </a:extLst>
              </p:cNvPr>
              <p:cNvSpPr/>
              <p:nvPr/>
            </p:nvSpPr>
            <p:spPr>
              <a:xfrm>
                <a:off x="8825789" y="8830402"/>
                <a:ext cx="1894832" cy="933572"/>
              </a:xfrm>
              <a:custGeom>
                <a:avLst/>
                <a:gdLst>
                  <a:gd name="connsiteX0" fmla="*/ 1723830 w 1894832"/>
                  <a:gd name="connsiteY0" fmla="*/ 933573 h 933572"/>
                  <a:gd name="connsiteX1" fmla="*/ 1894833 w 1894832"/>
                  <a:gd name="connsiteY1" fmla="*/ 762570 h 933572"/>
                  <a:gd name="connsiteX2" fmla="*/ 1723830 w 1894832"/>
                  <a:gd name="connsiteY2" fmla="*/ 591568 h 933572"/>
                  <a:gd name="connsiteX3" fmla="*/ 1653786 w 1894832"/>
                  <a:gd name="connsiteY3" fmla="*/ 606690 h 933572"/>
                  <a:gd name="connsiteX4" fmla="*/ 1654552 w 1894832"/>
                  <a:gd name="connsiteY4" fmla="*/ 591568 h 933572"/>
                  <a:gd name="connsiteX5" fmla="*/ 1312547 w 1894832"/>
                  <a:gd name="connsiteY5" fmla="*/ 249562 h 933572"/>
                  <a:gd name="connsiteX6" fmla="*/ 1085855 w 1894832"/>
                  <a:gd name="connsiteY6" fmla="*/ 335968 h 933572"/>
                  <a:gd name="connsiteX7" fmla="*/ 637778 w 1894832"/>
                  <a:gd name="connsiteY7" fmla="*/ 0 h 933572"/>
                  <a:gd name="connsiteX8" fmla="*/ 171003 w 1894832"/>
                  <a:gd name="connsiteY8" fmla="*/ 466777 h 933572"/>
                  <a:gd name="connsiteX9" fmla="*/ 188248 w 1894832"/>
                  <a:gd name="connsiteY9" fmla="*/ 592433 h 933572"/>
                  <a:gd name="connsiteX10" fmla="*/ 171003 w 1894832"/>
                  <a:gd name="connsiteY10" fmla="*/ 591568 h 933572"/>
                  <a:gd name="connsiteX11" fmla="*/ 0 w 1894832"/>
                  <a:gd name="connsiteY11" fmla="*/ 762570 h 933572"/>
                  <a:gd name="connsiteX12" fmla="*/ 171003 w 1894832"/>
                  <a:gd name="connsiteY12" fmla="*/ 933573 h 933572"/>
                  <a:gd name="connsiteX13" fmla="*/ 1723830 w 1894832"/>
                  <a:gd name="connsiteY13" fmla="*/ 933573 h 93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94832" h="933572">
                    <a:moveTo>
                      <a:pt x="1723830" y="933573"/>
                    </a:moveTo>
                    <a:cubicBezTo>
                      <a:pt x="1818279" y="933573"/>
                      <a:pt x="1894833" y="857019"/>
                      <a:pt x="1894833" y="762570"/>
                    </a:cubicBezTo>
                    <a:cubicBezTo>
                      <a:pt x="1894833" y="668122"/>
                      <a:pt x="1818279" y="591568"/>
                      <a:pt x="1723830" y="591568"/>
                    </a:cubicBezTo>
                    <a:cubicBezTo>
                      <a:pt x="1698837" y="591568"/>
                      <a:pt x="1675181" y="597054"/>
                      <a:pt x="1653786" y="606690"/>
                    </a:cubicBezTo>
                    <a:cubicBezTo>
                      <a:pt x="1654002" y="601636"/>
                      <a:pt x="1654552" y="596680"/>
                      <a:pt x="1654552" y="591568"/>
                    </a:cubicBezTo>
                    <a:cubicBezTo>
                      <a:pt x="1654552" y="402690"/>
                      <a:pt x="1501444" y="249562"/>
                      <a:pt x="1312547" y="249562"/>
                    </a:cubicBezTo>
                    <a:cubicBezTo>
                      <a:pt x="1225473" y="249562"/>
                      <a:pt x="1146224" y="282382"/>
                      <a:pt x="1085855" y="335968"/>
                    </a:cubicBezTo>
                    <a:cubicBezTo>
                      <a:pt x="1029280" y="141860"/>
                      <a:pt x="850155" y="0"/>
                      <a:pt x="637778" y="0"/>
                    </a:cubicBezTo>
                    <a:cubicBezTo>
                      <a:pt x="379977" y="0"/>
                      <a:pt x="171003" y="208994"/>
                      <a:pt x="171003" y="466777"/>
                    </a:cubicBezTo>
                    <a:cubicBezTo>
                      <a:pt x="171003" y="510333"/>
                      <a:pt x="177099" y="552435"/>
                      <a:pt x="188248" y="592433"/>
                    </a:cubicBezTo>
                    <a:cubicBezTo>
                      <a:pt x="182584" y="591863"/>
                      <a:pt x="176823" y="591568"/>
                      <a:pt x="171003" y="591568"/>
                    </a:cubicBezTo>
                    <a:cubicBezTo>
                      <a:pt x="76553" y="591568"/>
                      <a:pt x="0" y="668122"/>
                      <a:pt x="0" y="762570"/>
                    </a:cubicBezTo>
                    <a:cubicBezTo>
                      <a:pt x="0" y="857019"/>
                      <a:pt x="76553" y="933573"/>
                      <a:pt x="171003" y="933573"/>
                    </a:cubicBezTo>
                    <a:lnTo>
                      <a:pt x="1723830" y="933573"/>
                    </a:lnTo>
                    <a:close/>
                  </a:path>
                </a:pathLst>
              </a:custGeom>
              <a:solidFill>
                <a:srgbClr val="ABC48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781" name="Graphic 10">
                <a:extLst>
                  <a:ext uri="{FF2B5EF4-FFF2-40B4-BE49-F238E27FC236}">
                    <a16:creationId xmlns:a16="http://schemas.microsoft.com/office/drawing/2014/main" id="{E718165D-0073-431D-8258-5F42050EFE03}"/>
                  </a:ext>
                </a:extLst>
              </p:cNvPr>
              <p:cNvGrpSpPr/>
              <p:nvPr/>
            </p:nvGrpSpPr>
            <p:grpSpPr>
              <a:xfrm>
                <a:off x="1438479" y="10557851"/>
                <a:ext cx="9313153" cy="481289"/>
                <a:chOff x="1438479" y="10557851"/>
                <a:chExt cx="9313153" cy="481289"/>
              </a:xfrm>
            </p:grpSpPr>
            <p:grpSp>
              <p:nvGrpSpPr>
                <p:cNvPr id="1379" name="Graphic 10">
                  <a:extLst>
                    <a:ext uri="{FF2B5EF4-FFF2-40B4-BE49-F238E27FC236}">
                      <a16:creationId xmlns:a16="http://schemas.microsoft.com/office/drawing/2014/main" id="{18EFAA5E-E1A0-434B-AE46-E3001E66AF77}"/>
                    </a:ext>
                  </a:extLst>
                </p:cNvPr>
                <p:cNvGrpSpPr/>
                <p:nvPr/>
              </p:nvGrpSpPr>
              <p:grpSpPr>
                <a:xfrm>
                  <a:off x="1438479" y="10936098"/>
                  <a:ext cx="3600808" cy="103042"/>
                  <a:chOff x="1438479" y="10936098"/>
                  <a:chExt cx="3600808" cy="103042"/>
                </a:xfrm>
              </p:grpSpPr>
              <p:sp>
                <p:nvSpPr>
                  <p:cNvPr id="1415" name="Freeform: Shape 1414">
                    <a:extLst>
                      <a:ext uri="{FF2B5EF4-FFF2-40B4-BE49-F238E27FC236}">
                        <a16:creationId xmlns:a16="http://schemas.microsoft.com/office/drawing/2014/main" id="{BF460DE3-72F3-4558-9202-94D73367B031}"/>
                      </a:ext>
                    </a:extLst>
                  </p:cNvPr>
                  <p:cNvSpPr/>
                  <p:nvPr/>
                </p:nvSpPr>
                <p:spPr>
                  <a:xfrm>
                    <a:off x="1438479" y="10936098"/>
                    <a:ext cx="3588990" cy="103042"/>
                  </a:xfrm>
                  <a:custGeom>
                    <a:avLst/>
                    <a:gdLst>
                      <a:gd name="connsiteX0" fmla="*/ 51521 w 3588990"/>
                      <a:gd name="connsiteY0" fmla="*/ 20 h 103042"/>
                      <a:gd name="connsiteX1" fmla="*/ 3588991 w 3588990"/>
                      <a:gd name="connsiteY1" fmla="*/ 20 h 103042"/>
                      <a:gd name="connsiteX2" fmla="*/ 3588991 w 3588990"/>
                      <a:gd name="connsiteY2" fmla="*/ 103042 h 103042"/>
                      <a:gd name="connsiteX3" fmla="*/ 51521 w 3588990"/>
                      <a:gd name="connsiteY3" fmla="*/ 103042 h 103042"/>
                      <a:gd name="connsiteX4" fmla="*/ 0 w 3588990"/>
                      <a:gd name="connsiteY4" fmla="*/ 51521 h 103042"/>
                      <a:gd name="connsiteX5" fmla="*/ 51521 w 3588990"/>
                      <a:gd name="connsiteY5" fmla="*/ 0 h 10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8990" h="103042">
                        <a:moveTo>
                          <a:pt x="51521" y="20"/>
                        </a:moveTo>
                        <a:lnTo>
                          <a:pt x="3588991" y="20"/>
                        </a:lnTo>
                        <a:lnTo>
                          <a:pt x="3588991" y="103042"/>
                        </a:lnTo>
                        <a:lnTo>
                          <a:pt x="51521" y="103042"/>
                        </a:lnTo>
                        <a:cubicBezTo>
                          <a:pt x="23066" y="103042"/>
                          <a:pt x="0" y="79976"/>
                          <a:pt x="0" y="51521"/>
                        </a:cubicBezTo>
                        <a:cubicBezTo>
                          <a:pt x="0" y="23066"/>
                          <a:pt x="23066" y="0"/>
                          <a:pt x="51521" y="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16" name="Freeform: Shape 1415">
                    <a:extLst>
                      <a:ext uri="{FF2B5EF4-FFF2-40B4-BE49-F238E27FC236}">
                        <a16:creationId xmlns:a16="http://schemas.microsoft.com/office/drawing/2014/main" id="{767E9F58-4524-431B-8A81-E6880F536357}"/>
                      </a:ext>
                    </a:extLst>
                  </p:cNvPr>
                  <p:cNvSpPr/>
                  <p:nvPr/>
                </p:nvSpPr>
                <p:spPr>
                  <a:xfrm>
                    <a:off x="1456865" y="10954484"/>
                    <a:ext cx="3582422" cy="66308"/>
                  </a:xfrm>
                  <a:custGeom>
                    <a:avLst/>
                    <a:gdLst>
                      <a:gd name="connsiteX0" fmla="*/ 3582403 w 3582422"/>
                      <a:gd name="connsiteY0" fmla="*/ 66289 h 66308"/>
                      <a:gd name="connsiteX1" fmla="*/ 3582403 w 3582422"/>
                      <a:gd name="connsiteY1" fmla="*/ 0 h 66308"/>
                      <a:gd name="connsiteX2" fmla="*/ 33154 w 3582422"/>
                      <a:gd name="connsiteY2" fmla="*/ 0 h 66308"/>
                      <a:gd name="connsiteX3" fmla="*/ 0 w 3582422"/>
                      <a:gd name="connsiteY3" fmla="*/ 33154 h 66308"/>
                      <a:gd name="connsiteX4" fmla="*/ 33154 w 3582422"/>
                      <a:gd name="connsiteY4" fmla="*/ 66309 h 66308"/>
                      <a:gd name="connsiteX5" fmla="*/ 3582422 w 3582422"/>
                      <a:gd name="connsiteY5" fmla="*/ 66309 h 6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2422" h="66308">
                        <a:moveTo>
                          <a:pt x="3582403" y="66289"/>
                        </a:moveTo>
                        <a:lnTo>
                          <a:pt x="3582403" y="0"/>
                        </a:lnTo>
                        <a:lnTo>
                          <a:pt x="33154" y="0"/>
                        </a:lnTo>
                        <a:cubicBezTo>
                          <a:pt x="14886" y="0"/>
                          <a:pt x="0" y="14866"/>
                          <a:pt x="0" y="33154"/>
                        </a:cubicBezTo>
                        <a:cubicBezTo>
                          <a:pt x="0" y="51442"/>
                          <a:pt x="14866" y="66309"/>
                          <a:pt x="33154" y="66309"/>
                        </a:cubicBezTo>
                        <a:lnTo>
                          <a:pt x="3582422" y="66309"/>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17" name="Freeform: Shape 1416">
                    <a:extLst>
                      <a:ext uri="{FF2B5EF4-FFF2-40B4-BE49-F238E27FC236}">
                        <a16:creationId xmlns:a16="http://schemas.microsoft.com/office/drawing/2014/main" id="{30875A4A-AA1C-477F-A670-BCBB128D497D}"/>
                      </a:ext>
                    </a:extLst>
                  </p:cNvPr>
                  <p:cNvSpPr/>
                  <p:nvPr/>
                </p:nvSpPr>
                <p:spPr>
                  <a:xfrm>
                    <a:off x="1502644" y="10974404"/>
                    <a:ext cx="3490845" cy="26429"/>
                  </a:xfrm>
                  <a:custGeom>
                    <a:avLst/>
                    <a:gdLst>
                      <a:gd name="connsiteX0" fmla="*/ 3002496 w 3490845"/>
                      <a:gd name="connsiteY0" fmla="*/ 13214 h 26429"/>
                      <a:gd name="connsiteX1" fmla="*/ 3015711 w 3490845"/>
                      <a:gd name="connsiteY1" fmla="*/ 26429 h 26429"/>
                      <a:gd name="connsiteX2" fmla="*/ 3028925 w 3490845"/>
                      <a:gd name="connsiteY2" fmla="*/ 13214 h 26429"/>
                      <a:gd name="connsiteX3" fmla="*/ 3015711 w 3490845"/>
                      <a:gd name="connsiteY3" fmla="*/ 0 h 26429"/>
                      <a:gd name="connsiteX4" fmla="*/ 3002496 w 3490845"/>
                      <a:gd name="connsiteY4" fmla="*/ 13214 h 26429"/>
                      <a:gd name="connsiteX5" fmla="*/ 3233456 w 3490845"/>
                      <a:gd name="connsiteY5" fmla="*/ 13214 h 26429"/>
                      <a:gd name="connsiteX6" fmla="*/ 3246671 w 3490845"/>
                      <a:gd name="connsiteY6" fmla="*/ 26429 h 26429"/>
                      <a:gd name="connsiteX7" fmla="*/ 3259885 w 3490845"/>
                      <a:gd name="connsiteY7" fmla="*/ 13214 h 26429"/>
                      <a:gd name="connsiteX8" fmla="*/ 3246671 w 3490845"/>
                      <a:gd name="connsiteY8" fmla="*/ 0 h 26429"/>
                      <a:gd name="connsiteX9" fmla="*/ 3233456 w 3490845"/>
                      <a:gd name="connsiteY9" fmla="*/ 13214 h 26429"/>
                      <a:gd name="connsiteX10" fmla="*/ 3117966 w 3490845"/>
                      <a:gd name="connsiteY10" fmla="*/ 13214 h 26429"/>
                      <a:gd name="connsiteX11" fmla="*/ 3131181 w 3490845"/>
                      <a:gd name="connsiteY11" fmla="*/ 26429 h 26429"/>
                      <a:gd name="connsiteX12" fmla="*/ 3144395 w 3490845"/>
                      <a:gd name="connsiteY12" fmla="*/ 13214 h 26429"/>
                      <a:gd name="connsiteX13" fmla="*/ 3131181 w 3490845"/>
                      <a:gd name="connsiteY13" fmla="*/ 0 h 26429"/>
                      <a:gd name="connsiteX14" fmla="*/ 3117966 w 3490845"/>
                      <a:gd name="connsiteY14" fmla="*/ 13214 h 26429"/>
                      <a:gd name="connsiteX15" fmla="*/ 3348926 w 3490845"/>
                      <a:gd name="connsiteY15" fmla="*/ 13214 h 26429"/>
                      <a:gd name="connsiteX16" fmla="*/ 3362141 w 3490845"/>
                      <a:gd name="connsiteY16" fmla="*/ 26429 h 26429"/>
                      <a:gd name="connsiteX17" fmla="*/ 3375356 w 3490845"/>
                      <a:gd name="connsiteY17" fmla="*/ 13214 h 26429"/>
                      <a:gd name="connsiteX18" fmla="*/ 3362141 w 3490845"/>
                      <a:gd name="connsiteY18" fmla="*/ 0 h 26429"/>
                      <a:gd name="connsiteX19" fmla="*/ 3348926 w 3490845"/>
                      <a:gd name="connsiteY19" fmla="*/ 13214 h 26429"/>
                      <a:gd name="connsiteX20" fmla="*/ 3464416 w 3490845"/>
                      <a:gd name="connsiteY20" fmla="*/ 13214 h 26429"/>
                      <a:gd name="connsiteX21" fmla="*/ 3477631 w 3490845"/>
                      <a:gd name="connsiteY21" fmla="*/ 26429 h 26429"/>
                      <a:gd name="connsiteX22" fmla="*/ 3490845 w 3490845"/>
                      <a:gd name="connsiteY22" fmla="*/ 13214 h 26429"/>
                      <a:gd name="connsiteX23" fmla="*/ 3477631 w 3490845"/>
                      <a:gd name="connsiteY23" fmla="*/ 0 h 26429"/>
                      <a:gd name="connsiteX24" fmla="*/ 3464416 w 3490845"/>
                      <a:gd name="connsiteY24" fmla="*/ 13214 h 26429"/>
                      <a:gd name="connsiteX25" fmla="*/ 692860 w 3490845"/>
                      <a:gd name="connsiteY25" fmla="*/ 13214 h 26429"/>
                      <a:gd name="connsiteX26" fmla="*/ 706074 w 3490845"/>
                      <a:gd name="connsiteY26" fmla="*/ 26429 h 26429"/>
                      <a:gd name="connsiteX27" fmla="*/ 719289 w 3490845"/>
                      <a:gd name="connsiteY27" fmla="*/ 13214 h 26429"/>
                      <a:gd name="connsiteX28" fmla="*/ 706074 w 3490845"/>
                      <a:gd name="connsiteY28" fmla="*/ 0 h 26429"/>
                      <a:gd name="connsiteX29" fmla="*/ 692860 w 3490845"/>
                      <a:gd name="connsiteY29" fmla="*/ 13214 h 26429"/>
                      <a:gd name="connsiteX30" fmla="*/ 1039309 w 3490845"/>
                      <a:gd name="connsiteY30" fmla="*/ 13214 h 26429"/>
                      <a:gd name="connsiteX31" fmla="*/ 1052524 w 3490845"/>
                      <a:gd name="connsiteY31" fmla="*/ 26429 h 26429"/>
                      <a:gd name="connsiteX32" fmla="*/ 1065738 w 3490845"/>
                      <a:gd name="connsiteY32" fmla="*/ 13214 h 26429"/>
                      <a:gd name="connsiteX33" fmla="*/ 1052524 w 3490845"/>
                      <a:gd name="connsiteY33" fmla="*/ 0 h 26429"/>
                      <a:gd name="connsiteX34" fmla="*/ 1039309 w 3490845"/>
                      <a:gd name="connsiteY34" fmla="*/ 13214 h 26429"/>
                      <a:gd name="connsiteX35" fmla="*/ 808349 w 3490845"/>
                      <a:gd name="connsiteY35" fmla="*/ 13214 h 26429"/>
                      <a:gd name="connsiteX36" fmla="*/ 821564 w 3490845"/>
                      <a:gd name="connsiteY36" fmla="*/ 26429 h 26429"/>
                      <a:gd name="connsiteX37" fmla="*/ 834778 w 3490845"/>
                      <a:gd name="connsiteY37" fmla="*/ 13214 h 26429"/>
                      <a:gd name="connsiteX38" fmla="*/ 821564 w 3490845"/>
                      <a:gd name="connsiteY38" fmla="*/ 0 h 26429"/>
                      <a:gd name="connsiteX39" fmla="*/ 808349 w 3490845"/>
                      <a:gd name="connsiteY39" fmla="*/ 13214 h 26429"/>
                      <a:gd name="connsiteX40" fmla="*/ 923839 w 3490845"/>
                      <a:gd name="connsiteY40" fmla="*/ 13214 h 26429"/>
                      <a:gd name="connsiteX41" fmla="*/ 937054 w 3490845"/>
                      <a:gd name="connsiteY41" fmla="*/ 26429 h 26429"/>
                      <a:gd name="connsiteX42" fmla="*/ 950268 w 3490845"/>
                      <a:gd name="connsiteY42" fmla="*/ 13214 h 26429"/>
                      <a:gd name="connsiteX43" fmla="*/ 937054 w 3490845"/>
                      <a:gd name="connsiteY43" fmla="*/ 0 h 26429"/>
                      <a:gd name="connsiteX44" fmla="*/ 923839 w 3490845"/>
                      <a:gd name="connsiteY44" fmla="*/ 13214 h 26429"/>
                      <a:gd name="connsiteX45" fmla="*/ 1270288 w 3490845"/>
                      <a:gd name="connsiteY45" fmla="*/ 13214 h 26429"/>
                      <a:gd name="connsiteX46" fmla="*/ 1283503 w 3490845"/>
                      <a:gd name="connsiteY46" fmla="*/ 26429 h 26429"/>
                      <a:gd name="connsiteX47" fmla="*/ 1296718 w 3490845"/>
                      <a:gd name="connsiteY47" fmla="*/ 13214 h 26429"/>
                      <a:gd name="connsiteX48" fmla="*/ 1283503 w 3490845"/>
                      <a:gd name="connsiteY48" fmla="*/ 0 h 26429"/>
                      <a:gd name="connsiteX49" fmla="*/ 1270288 w 3490845"/>
                      <a:gd name="connsiteY49" fmla="*/ 13214 h 26429"/>
                      <a:gd name="connsiteX50" fmla="*/ 1154799 w 3490845"/>
                      <a:gd name="connsiteY50" fmla="*/ 13214 h 26429"/>
                      <a:gd name="connsiteX51" fmla="*/ 1168013 w 3490845"/>
                      <a:gd name="connsiteY51" fmla="*/ 26429 h 26429"/>
                      <a:gd name="connsiteX52" fmla="*/ 1181228 w 3490845"/>
                      <a:gd name="connsiteY52" fmla="*/ 13214 h 26429"/>
                      <a:gd name="connsiteX53" fmla="*/ 1168013 w 3490845"/>
                      <a:gd name="connsiteY53" fmla="*/ 0 h 26429"/>
                      <a:gd name="connsiteX54" fmla="*/ 1154799 w 3490845"/>
                      <a:gd name="connsiteY54" fmla="*/ 13214 h 26429"/>
                      <a:gd name="connsiteX55" fmla="*/ 461919 w 3490845"/>
                      <a:gd name="connsiteY55" fmla="*/ 13214 h 26429"/>
                      <a:gd name="connsiteX56" fmla="*/ 475134 w 3490845"/>
                      <a:gd name="connsiteY56" fmla="*/ 26429 h 26429"/>
                      <a:gd name="connsiteX57" fmla="*/ 488349 w 3490845"/>
                      <a:gd name="connsiteY57" fmla="*/ 13214 h 26429"/>
                      <a:gd name="connsiteX58" fmla="*/ 475134 w 3490845"/>
                      <a:gd name="connsiteY58" fmla="*/ 0 h 26429"/>
                      <a:gd name="connsiteX59" fmla="*/ 461919 w 3490845"/>
                      <a:gd name="connsiteY59" fmla="*/ 13214 h 26429"/>
                      <a:gd name="connsiteX60" fmla="*/ 115470 w 3490845"/>
                      <a:gd name="connsiteY60" fmla="*/ 13214 h 26429"/>
                      <a:gd name="connsiteX61" fmla="*/ 128704 w 3490845"/>
                      <a:gd name="connsiteY61" fmla="*/ 26429 h 26429"/>
                      <a:gd name="connsiteX62" fmla="*/ 141919 w 3490845"/>
                      <a:gd name="connsiteY62" fmla="*/ 13214 h 26429"/>
                      <a:gd name="connsiteX63" fmla="*/ 128704 w 3490845"/>
                      <a:gd name="connsiteY63" fmla="*/ 0 h 26429"/>
                      <a:gd name="connsiteX64" fmla="*/ 115470 w 3490845"/>
                      <a:gd name="connsiteY64" fmla="*/ 13214 h 26429"/>
                      <a:gd name="connsiteX65" fmla="*/ 230960 w 3490845"/>
                      <a:gd name="connsiteY65" fmla="*/ 13214 h 26429"/>
                      <a:gd name="connsiteX66" fmla="*/ 244194 w 3490845"/>
                      <a:gd name="connsiteY66" fmla="*/ 26429 h 26429"/>
                      <a:gd name="connsiteX67" fmla="*/ 257408 w 3490845"/>
                      <a:gd name="connsiteY67" fmla="*/ 13214 h 26429"/>
                      <a:gd name="connsiteX68" fmla="*/ 244194 w 3490845"/>
                      <a:gd name="connsiteY68" fmla="*/ 0 h 26429"/>
                      <a:gd name="connsiteX69" fmla="*/ 230960 w 3490845"/>
                      <a:gd name="connsiteY69" fmla="*/ 13214 h 26429"/>
                      <a:gd name="connsiteX70" fmla="*/ 2887026 w 3490845"/>
                      <a:gd name="connsiteY70" fmla="*/ 13214 h 26429"/>
                      <a:gd name="connsiteX71" fmla="*/ 2900261 w 3490845"/>
                      <a:gd name="connsiteY71" fmla="*/ 26429 h 26429"/>
                      <a:gd name="connsiteX72" fmla="*/ 2913475 w 3490845"/>
                      <a:gd name="connsiteY72" fmla="*/ 13214 h 26429"/>
                      <a:gd name="connsiteX73" fmla="*/ 2900261 w 3490845"/>
                      <a:gd name="connsiteY73" fmla="*/ 0 h 26429"/>
                      <a:gd name="connsiteX74" fmla="*/ 2887026 w 3490845"/>
                      <a:gd name="connsiteY74" fmla="*/ 13214 h 26429"/>
                      <a:gd name="connsiteX75" fmla="*/ 577409 w 3490845"/>
                      <a:gd name="connsiteY75" fmla="*/ 13214 h 26429"/>
                      <a:gd name="connsiteX76" fmla="*/ 590624 w 3490845"/>
                      <a:gd name="connsiteY76" fmla="*/ 26429 h 26429"/>
                      <a:gd name="connsiteX77" fmla="*/ 603838 w 3490845"/>
                      <a:gd name="connsiteY77" fmla="*/ 13214 h 26429"/>
                      <a:gd name="connsiteX78" fmla="*/ 590624 w 3490845"/>
                      <a:gd name="connsiteY78" fmla="*/ 0 h 26429"/>
                      <a:gd name="connsiteX79" fmla="*/ 577409 w 3490845"/>
                      <a:gd name="connsiteY79" fmla="*/ 13214 h 26429"/>
                      <a:gd name="connsiteX80" fmla="*/ 1385778 w 3490845"/>
                      <a:gd name="connsiteY80" fmla="*/ 13214 h 26429"/>
                      <a:gd name="connsiteX81" fmla="*/ 1399012 w 3490845"/>
                      <a:gd name="connsiteY81" fmla="*/ 26429 h 26429"/>
                      <a:gd name="connsiteX82" fmla="*/ 1412227 w 3490845"/>
                      <a:gd name="connsiteY82" fmla="*/ 13214 h 26429"/>
                      <a:gd name="connsiteX83" fmla="*/ 1399012 w 3490845"/>
                      <a:gd name="connsiteY83" fmla="*/ 0 h 26429"/>
                      <a:gd name="connsiteX84" fmla="*/ 1385778 w 3490845"/>
                      <a:gd name="connsiteY84" fmla="*/ 13214 h 26429"/>
                      <a:gd name="connsiteX85" fmla="*/ 346449 w 3490845"/>
                      <a:gd name="connsiteY85" fmla="*/ 13214 h 26429"/>
                      <a:gd name="connsiteX86" fmla="*/ 359664 w 3490845"/>
                      <a:gd name="connsiteY86" fmla="*/ 26429 h 26429"/>
                      <a:gd name="connsiteX87" fmla="*/ 372879 w 3490845"/>
                      <a:gd name="connsiteY87" fmla="*/ 13214 h 26429"/>
                      <a:gd name="connsiteX88" fmla="*/ 359664 w 3490845"/>
                      <a:gd name="connsiteY88" fmla="*/ 0 h 26429"/>
                      <a:gd name="connsiteX89" fmla="*/ 346449 w 3490845"/>
                      <a:gd name="connsiteY89" fmla="*/ 13214 h 26429"/>
                      <a:gd name="connsiteX90" fmla="*/ 0 w 3490845"/>
                      <a:gd name="connsiteY90" fmla="*/ 13214 h 26429"/>
                      <a:gd name="connsiteX91" fmla="*/ 13234 w 3490845"/>
                      <a:gd name="connsiteY91" fmla="*/ 26429 h 26429"/>
                      <a:gd name="connsiteX92" fmla="*/ 26449 w 3490845"/>
                      <a:gd name="connsiteY92" fmla="*/ 13214 h 26429"/>
                      <a:gd name="connsiteX93" fmla="*/ 13234 w 3490845"/>
                      <a:gd name="connsiteY93" fmla="*/ 0 h 26429"/>
                      <a:gd name="connsiteX94" fmla="*/ 0 w 3490845"/>
                      <a:gd name="connsiteY94" fmla="*/ 13214 h 26429"/>
                      <a:gd name="connsiteX95" fmla="*/ 2425107 w 3490845"/>
                      <a:gd name="connsiteY95" fmla="*/ 13214 h 26429"/>
                      <a:gd name="connsiteX96" fmla="*/ 2438341 w 3490845"/>
                      <a:gd name="connsiteY96" fmla="*/ 26429 h 26429"/>
                      <a:gd name="connsiteX97" fmla="*/ 2451556 w 3490845"/>
                      <a:gd name="connsiteY97" fmla="*/ 13214 h 26429"/>
                      <a:gd name="connsiteX98" fmla="*/ 2438341 w 3490845"/>
                      <a:gd name="connsiteY98" fmla="*/ 0 h 26429"/>
                      <a:gd name="connsiteX99" fmla="*/ 2425107 w 3490845"/>
                      <a:gd name="connsiteY99" fmla="*/ 13214 h 26429"/>
                      <a:gd name="connsiteX100" fmla="*/ 2309617 w 3490845"/>
                      <a:gd name="connsiteY100" fmla="*/ 13214 h 26429"/>
                      <a:gd name="connsiteX101" fmla="*/ 2322851 w 3490845"/>
                      <a:gd name="connsiteY101" fmla="*/ 26429 h 26429"/>
                      <a:gd name="connsiteX102" fmla="*/ 2336066 w 3490845"/>
                      <a:gd name="connsiteY102" fmla="*/ 13214 h 26429"/>
                      <a:gd name="connsiteX103" fmla="*/ 2322851 w 3490845"/>
                      <a:gd name="connsiteY103" fmla="*/ 0 h 26429"/>
                      <a:gd name="connsiteX104" fmla="*/ 2309617 w 3490845"/>
                      <a:gd name="connsiteY104" fmla="*/ 13214 h 26429"/>
                      <a:gd name="connsiteX105" fmla="*/ 2540577 w 3490845"/>
                      <a:gd name="connsiteY105" fmla="*/ 13214 h 26429"/>
                      <a:gd name="connsiteX106" fmla="*/ 2553811 w 3490845"/>
                      <a:gd name="connsiteY106" fmla="*/ 26429 h 26429"/>
                      <a:gd name="connsiteX107" fmla="*/ 2567026 w 3490845"/>
                      <a:gd name="connsiteY107" fmla="*/ 13214 h 26429"/>
                      <a:gd name="connsiteX108" fmla="*/ 2553811 w 3490845"/>
                      <a:gd name="connsiteY108" fmla="*/ 0 h 26429"/>
                      <a:gd name="connsiteX109" fmla="*/ 2540577 w 3490845"/>
                      <a:gd name="connsiteY109" fmla="*/ 13214 h 26429"/>
                      <a:gd name="connsiteX110" fmla="*/ 2771537 w 3490845"/>
                      <a:gd name="connsiteY110" fmla="*/ 13214 h 26429"/>
                      <a:gd name="connsiteX111" fmla="*/ 2784751 w 3490845"/>
                      <a:gd name="connsiteY111" fmla="*/ 26429 h 26429"/>
                      <a:gd name="connsiteX112" fmla="*/ 2797966 w 3490845"/>
                      <a:gd name="connsiteY112" fmla="*/ 13214 h 26429"/>
                      <a:gd name="connsiteX113" fmla="*/ 2784751 w 3490845"/>
                      <a:gd name="connsiteY113" fmla="*/ 0 h 26429"/>
                      <a:gd name="connsiteX114" fmla="*/ 2771537 w 3490845"/>
                      <a:gd name="connsiteY114" fmla="*/ 13214 h 26429"/>
                      <a:gd name="connsiteX115" fmla="*/ 2194128 w 3490845"/>
                      <a:gd name="connsiteY115" fmla="*/ 13214 h 26429"/>
                      <a:gd name="connsiteX116" fmla="*/ 2207362 w 3490845"/>
                      <a:gd name="connsiteY116" fmla="*/ 26429 h 26429"/>
                      <a:gd name="connsiteX117" fmla="*/ 2220576 w 3490845"/>
                      <a:gd name="connsiteY117" fmla="*/ 13214 h 26429"/>
                      <a:gd name="connsiteX118" fmla="*/ 2207362 w 3490845"/>
                      <a:gd name="connsiteY118" fmla="*/ 0 h 26429"/>
                      <a:gd name="connsiteX119" fmla="*/ 2194128 w 3490845"/>
                      <a:gd name="connsiteY119" fmla="*/ 13214 h 26429"/>
                      <a:gd name="connsiteX120" fmla="*/ 1501248 w 3490845"/>
                      <a:gd name="connsiteY120" fmla="*/ 13214 h 26429"/>
                      <a:gd name="connsiteX121" fmla="*/ 1514463 w 3490845"/>
                      <a:gd name="connsiteY121" fmla="*/ 26429 h 26429"/>
                      <a:gd name="connsiteX122" fmla="*/ 1527677 w 3490845"/>
                      <a:gd name="connsiteY122" fmla="*/ 13214 h 26429"/>
                      <a:gd name="connsiteX123" fmla="*/ 1514463 w 3490845"/>
                      <a:gd name="connsiteY123" fmla="*/ 0 h 26429"/>
                      <a:gd name="connsiteX124" fmla="*/ 1501248 w 3490845"/>
                      <a:gd name="connsiteY124" fmla="*/ 13214 h 26429"/>
                      <a:gd name="connsiteX125" fmla="*/ 2656067 w 3490845"/>
                      <a:gd name="connsiteY125" fmla="*/ 13214 h 26429"/>
                      <a:gd name="connsiteX126" fmla="*/ 2669301 w 3490845"/>
                      <a:gd name="connsiteY126" fmla="*/ 26429 h 26429"/>
                      <a:gd name="connsiteX127" fmla="*/ 2682515 w 3490845"/>
                      <a:gd name="connsiteY127" fmla="*/ 13214 h 26429"/>
                      <a:gd name="connsiteX128" fmla="*/ 2669301 w 3490845"/>
                      <a:gd name="connsiteY128" fmla="*/ 0 h 26429"/>
                      <a:gd name="connsiteX129" fmla="*/ 2656067 w 3490845"/>
                      <a:gd name="connsiteY129" fmla="*/ 13214 h 26429"/>
                      <a:gd name="connsiteX130" fmla="*/ 1732208 w 3490845"/>
                      <a:gd name="connsiteY130" fmla="*/ 13214 h 26429"/>
                      <a:gd name="connsiteX131" fmla="*/ 1745442 w 3490845"/>
                      <a:gd name="connsiteY131" fmla="*/ 26429 h 26429"/>
                      <a:gd name="connsiteX132" fmla="*/ 1758657 w 3490845"/>
                      <a:gd name="connsiteY132" fmla="*/ 13214 h 26429"/>
                      <a:gd name="connsiteX133" fmla="*/ 1745442 w 3490845"/>
                      <a:gd name="connsiteY133" fmla="*/ 0 h 26429"/>
                      <a:gd name="connsiteX134" fmla="*/ 1732208 w 3490845"/>
                      <a:gd name="connsiteY134" fmla="*/ 13214 h 26429"/>
                      <a:gd name="connsiteX135" fmla="*/ 2078657 w 3490845"/>
                      <a:gd name="connsiteY135" fmla="*/ 13214 h 26429"/>
                      <a:gd name="connsiteX136" fmla="*/ 2091892 w 3490845"/>
                      <a:gd name="connsiteY136" fmla="*/ 26429 h 26429"/>
                      <a:gd name="connsiteX137" fmla="*/ 2105106 w 3490845"/>
                      <a:gd name="connsiteY137" fmla="*/ 13214 h 26429"/>
                      <a:gd name="connsiteX138" fmla="*/ 2091892 w 3490845"/>
                      <a:gd name="connsiteY138" fmla="*/ 0 h 26429"/>
                      <a:gd name="connsiteX139" fmla="*/ 2078657 w 3490845"/>
                      <a:gd name="connsiteY139" fmla="*/ 13214 h 26429"/>
                      <a:gd name="connsiteX140" fmla="*/ 1616738 w 3490845"/>
                      <a:gd name="connsiteY140" fmla="*/ 13214 h 26429"/>
                      <a:gd name="connsiteX141" fmla="*/ 1629972 w 3490845"/>
                      <a:gd name="connsiteY141" fmla="*/ 26429 h 26429"/>
                      <a:gd name="connsiteX142" fmla="*/ 1643187 w 3490845"/>
                      <a:gd name="connsiteY142" fmla="*/ 13214 h 26429"/>
                      <a:gd name="connsiteX143" fmla="*/ 1629972 w 3490845"/>
                      <a:gd name="connsiteY143" fmla="*/ 0 h 26429"/>
                      <a:gd name="connsiteX144" fmla="*/ 1616738 w 3490845"/>
                      <a:gd name="connsiteY144" fmla="*/ 13214 h 26429"/>
                      <a:gd name="connsiteX145" fmla="*/ 1963187 w 3490845"/>
                      <a:gd name="connsiteY145" fmla="*/ 13214 h 26429"/>
                      <a:gd name="connsiteX146" fmla="*/ 1976421 w 3490845"/>
                      <a:gd name="connsiteY146" fmla="*/ 26429 h 26429"/>
                      <a:gd name="connsiteX147" fmla="*/ 1989636 w 3490845"/>
                      <a:gd name="connsiteY147" fmla="*/ 13214 h 26429"/>
                      <a:gd name="connsiteX148" fmla="*/ 1976421 w 3490845"/>
                      <a:gd name="connsiteY148" fmla="*/ 0 h 26429"/>
                      <a:gd name="connsiteX149" fmla="*/ 1963187 w 3490845"/>
                      <a:gd name="connsiteY149" fmla="*/ 13214 h 26429"/>
                      <a:gd name="connsiteX150" fmla="*/ 1847698 w 3490845"/>
                      <a:gd name="connsiteY150" fmla="*/ 13214 h 26429"/>
                      <a:gd name="connsiteX151" fmla="*/ 1860932 w 3490845"/>
                      <a:gd name="connsiteY151" fmla="*/ 26429 h 26429"/>
                      <a:gd name="connsiteX152" fmla="*/ 1874146 w 3490845"/>
                      <a:gd name="connsiteY152" fmla="*/ 13214 h 26429"/>
                      <a:gd name="connsiteX153" fmla="*/ 1860932 w 3490845"/>
                      <a:gd name="connsiteY153" fmla="*/ 0 h 26429"/>
                      <a:gd name="connsiteX154" fmla="*/ 1847698 w 3490845"/>
                      <a:gd name="connsiteY154" fmla="*/ 13214 h 2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3490845" h="26429">
                        <a:moveTo>
                          <a:pt x="3002496" y="13214"/>
                        </a:moveTo>
                        <a:cubicBezTo>
                          <a:pt x="3002496" y="20510"/>
                          <a:pt x="3008415" y="26429"/>
                          <a:pt x="3015711" y="26429"/>
                        </a:cubicBezTo>
                        <a:cubicBezTo>
                          <a:pt x="3023006" y="26429"/>
                          <a:pt x="3028925" y="20510"/>
                          <a:pt x="3028925" y="13214"/>
                        </a:cubicBezTo>
                        <a:cubicBezTo>
                          <a:pt x="3028925" y="5919"/>
                          <a:pt x="3023006" y="0"/>
                          <a:pt x="3015711" y="0"/>
                        </a:cubicBezTo>
                        <a:cubicBezTo>
                          <a:pt x="3008415" y="0"/>
                          <a:pt x="3002496" y="5919"/>
                          <a:pt x="3002496" y="13214"/>
                        </a:cubicBezTo>
                        <a:close/>
                        <a:moveTo>
                          <a:pt x="3233456" y="13214"/>
                        </a:moveTo>
                        <a:cubicBezTo>
                          <a:pt x="3233456" y="20510"/>
                          <a:pt x="3239375" y="26429"/>
                          <a:pt x="3246671" y="26429"/>
                        </a:cubicBezTo>
                        <a:cubicBezTo>
                          <a:pt x="3253966" y="26429"/>
                          <a:pt x="3259885" y="20510"/>
                          <a:pt x="3259885" y="13214"/>
                        </a:cubicBezTo>
                        <a:cubicBezTo>
                          <a:pt x="3259885" y="5919"/>
                          <a:pt x="3253966" y="0"/>
                          <a:pt x="3246671" y="0"/>
                        </a:cubicBezTo>
                        <a:cubicBezTo>
                          <a:pt x="3239375" y="0"/>
                          <a:pt x="3233456" y="5919"/>
                          <a:pt x="3233456" y="13214"/>
                        </a:cubicBezTo>
                        <a:close/>
                        <a:moveTo>
                          <a:pt x="3117966" y="13214"/>
                        </a:moveTo>
                        <a:cubicBezTo>
                          <a:pt x="3117966" y="20510"/>
                          <a:pt x="3123885" y="26429"/>
                          <a:pt x="3131181" y="26429"/>
                        </a:cubicBezTo>
                        <a:cubicBezTo>
                          <a:pt x="3138476" y="26429"/>
                          <a:pt x="3144395" y="20510"/>
                          <a:pt x="3144395" y="13214"/>
                        </a:cubicBezTo>
                        <a:cubicBezTo>
                          <a:pt x="3144395" y="5919"/>
                          <a:pt x="3138476" y="0"/>
                          <a:pt x="3131181" y="0"/>
                        </a:cubicBezTo>
                        <a:cubicBezTo>
                          <a:pt x="3123885" y="0"/>
                          <a:pt x="3117966" y="5919"/>
                          <a:pt x="3117966" y="13214"/>
                        </a:cubicBezTo>
                        <a:close/>
                        <a:moveTo>
                          <a:pt x="3348926" y="13214"/>
                        </a:moveTo>
                        <a:cubicBezTo>
                          <a:pt x="3348926" y="20510"/>
                          <a:pt x="3354845" y="26429"/>
                          <a:pt x="3362141" y="26429"/>
                        </a:cubicBezTo>
                        <a:cubicBezTo>
                          <a:pt x="3369436" y="26429"/>
                          <a:pt x="3375356" y="20510"/>
                          <a:pt x="3375356" y="13214"/>
                        </a:cubicBezTo>
                        <a:cubicBezTo>
                          <a:pt x="3375356" y="5919"/>
                          <a:pt x="3369436" y="0"/>
                          <a:pt x="3362141" y="0"/>
                        </a:cubicBezTo>
                        <a:cubicBezTo>
                          <a:pt x="3354845" y="0"/>
                          <a:pt x="3348926" y="5919"/>
                          <a:pt x="3348926" y="13214"/>
                        </a:cubicBezTo>
                        <a:close/>
                        <a:moveTo>
                          <a:pt x="3464416" y="13214"/>
                        </a:moveTo>
                        <a:cubicBezTo>
                          <a:pt x="3464416" y="20510"/>
                          <a:pt x="3470335" y="26429"/>
                          <a:pt x="3477631" y="26429"/>
                        </a:cubicBezTo>
                        <a:cubicBezTo>
                          <a:pt x="3484926" y="26429"/>
                          <a:pt x="3490845" y="20510"/>
                          <a:pt x="3490845" y="13214"/>
                        </a:cubicBezTo>
                        <a:cubicBezTo>
                          <a:pt x="3490845" y="5919"/>
                          <a:pt x="3484926" y="0"/>
                          <a:pt x="3477631" y="0"/>
                        </a:cubicBezTo>
                        <a:cubicBezTo>
                          <a:pt x="3470335" y="0"/>
                          <a:pt x="3464416" y="5919"/>
                          <a:pt x="3464416" y="13214"/>
                        </a:cubicBezTo>
                        <a:close/>
                        <a:moveTo>
                          <a:pt x="692860" y="13214"/>
                        </a:moveTo>
                        <a:cubicBezTo>
                          <a:pt x="692860" y="20510"/>
                          <a:pt x="698779" y="26429"/>
                          <a:pt x="706074" y="26429"/>
                        </a:cubicBezTo>
                        <a:cubicBezTo>
                          <a:pt x="713370" y="26429"/>
                          <a:pt x="719289" y="20510"/>
                          <a:pt x="719289" y="13214"/>
                        </a:cubicBezTo>
                        <a:cubicBezTo>
                          <a:pt x="719289" y="5919"/>
                          <a:pt x="713370" y="0"/>
                          <a:pt x="706074" y="0"/>
                        </a:cubicBezTo>
                        <a:cubicBezTo>
                          <a:pt x="698779" y="0"/>
                          <a:pt x="692860" y="5919"/>
                          <a:pt x="692860" y="13214"/>
                        </a:cubicBezTo>
                        <a:close/>
                        <a:moveTo>
                          <a:pt x="1039309" y="13214"/>
                        </a:moveTo>
                        <a:cubicBezTo>
                          <a:pt x="1039309" y="20510"/>
                          <a:pt x="1045228" y="26429"/>
                          <a:pt x="1052524" y="26429"/>
                        </a:cubicBezTo>
                        <a:cubicBezTo>
                          <a:pt x="1059819" y="26429"/>
                          <a:pt x="1065738" y="20510"/>
                          <a:pt x="1065738" y="13214"/>
                        </a:cubicBezTo>
                        <a:cubicBezTo>
                          <a:pt x="1065738" y="5919"/>
                          <a:pt x="1059819" y="0"/>
                          <a:pt x="1052524" y="0"/>
                        </a:cubicBezTo>
                        <a:cubicBezTo>
                          <a:pt x="1045228" y="0"/>
                          <a:pt x="1039309" y="5919"/>
                          <a:pt x="1039309" y="13214"/>
                        </a:cubicBezTo>
                        <a:close/>
                        <a:moveTo>
                          <a:pt x="808349" y="13214"/>
                        </a:moveTo>
                        <a:cubicBezTo>
                          <a:pt x="808349" y="20510"/>
                          <a:pt x="814268" y="26429"/>
                          <a:pt x="821564" y="26429"/>
                        </a:cubicBezTo>
                        <a:cubicBezTo>
                          <a:pt x="828859" y="26429"/>
                          <a:pt x="834778" y="20510"/>
                          <a:pt x="834778" y="13214"/>
                        </a:cubicBezTo>
                        <a:cubicBezTo>
                          <a:pt x="834778" y="5919"/>
                          <a:pt x="828859" y="0"/>
                          <a:pt x="821564" y="0"/>
                        </a:cubicBezTo>
                        <a:cubicBezTo>
                          <a:pt x="814268" y="0"/>
                          <a:pt x="808349" y="5919"/>
                          <a:pt x="808349" y="13214"/>
                        </a:cubicBezTo>
                        <a:close/>
                        <a:moveTo>
                          <a:pt x="923839" y="13214"/>
                        </a:moveTo>
                        <a:cubicBezTo>
                          <a:pt x="923839" y="20510"/>
                          <a:pt x="929758" y="26429"/>
                          <a:pt x="937054" y="26429"/>
                        </a:cubicBezTo>
                        <a:cubicBezTo>
                          <a:pt x="944349" y="26429"/>
                          <a:pt x="950268" y="20510"/>
                          <a:pt x="950268" y="13214"/>
                        </a:cubicBezTo>
                        <a:cubicBezTo>
                          <a:pt x="950268" y="5919"/>
                          <a:pt x="944349" y="0"/>
                          <a:pt x="937054" y="0"/>
                        </a:cubicBezTo>
                        <a:cubicBezTo>
                          <a:pt x="929758" y="0"/>
                          <a:pt x="923839" y="5919"/>
                          <a:pt x="923839" y="13214"/>
                        </a:cubicBezTo>
                        <a:close/>
                        <a:moveTo>
                          <a:pt x="1270288" y="13214"/>
                        </a:moveTo>
                        <a:cubicBezTo>
                          <a:pt x="1270288" y="20510"/>
                          <a:pt x="1276207" y="26429"/>
                          <a:pt x="1283503" y="26429"/>
                        </a:cubicBezTo>
                        <a:cubicBezTo>
                          <a:pt x="1290799" y="26429"/>
                          <a:pt x="1296718" y="20510"/>
                          <a:pt x="1296718" y="13214"/>
                        </a:cubicBezTo>
                        <a:cubicBezTo>
                          <a:pt x="1296718" y="5919"/>
                          <a:pt x="1290799" y="0"/>
                          <a:pt x="1283503" y="0"/>
                        </a:cubicBezTo>
                        <a:cubicBezTo>
                          <a:pt x="1276207" y="0"/>
                          <a:pt x="1270288" y="5919"/>
                          <a:pt x="1270288" y="13214"/>
                        </a:cubicBezTo>
                        <a:close/>
                        <a:moveTo>
                          <a:pt x="1154799" y="13214"/>
                        </a:moveTo>
                        <a:cubicBezTo>
                          <a:pt x="1154799" y="20510"/>
                          <a:pt x="1160718" y="26429"/>
                          <a:pt x="1168013" y="26429"/>
                        </a:cubicBezTo>
                        <a:cubicBezTo>
                          <a:pt x="1175309" y="26429"/>
                          <a:pt x="1181228" y="20510"/>
                          <a:pt x="1181228" y="13214"/>
                        </a:cubicBezTo>
                        <a:cubicBezTo>
                          <a:pt x="1181228" y="5919"/>
                          <a:pt x="1175309" y="0"/>
                          <a:pt x="1168013" y="0"/>
                        </a:cubicBezTo>
                        <a:cubicBezTo>
                          <a:pt x="1160718" y="0"/>
                          <a:pt x="1154799" y="5919"/>
                          <a:pt x="1154799" y="13214"/>
                        </a:cubicBezTo>
                        <a:close/>
                        <a:moveTo>
                          <a:pt x="461919" y="13214"/>
                        </a:moveTo>
                        <a:cubicBezTo>
                          <a:pt x="461919" y="20510"/>
                          <a:pt x="467838" y="26429"/>
                          <a:pt x="475134" y="26429"/>
                        </a:cubicBezTo>
                        <a:cubicBezTo>
                          <a:pt x="482430" y="26429"/>
                          <a:pt x="488349" y="20510"/>
                          <a:pt x="488349" y="13214"/>
                        </a:cubicBezTo>
                        <a:cubicBezTo>
                          <a:pt x="488349" y="5919"/>
                          <a:pt x="482430" y="0"/>
                          <a:pt x="475134" y="0"/>
                        </a:cubicBezTo>
                        <a:cubicBezTo>
                          <a:pt x="467838" y="0"/>
                          <a:pt x="461919" y="5919"/>
                          <a:pt x="461919" y="13214"/>
                        </a:cubicBezTo>
                        <a:close/>
                        <a:moveTo>
                          <a:pt x="115470" y="13214"/>
                        </a:moveTo>
                        <a:cubicBezTo>
                          <a:pt x="115470" y="20510"/>
                          <a:pt x="121389" y="26429"/>
                          <a:pt x="128704" y="26429"/>
                        </a:cubicBezTo>
                        <a:cubicBezTo>
                          <a:pt x="136019" y="26429"/>
                          <a:pt x="141919" y="20510"/>
                          <a:pt x="141919" y="13214"/>
                        </a:cubicBezTo>
                        <a:cubicBezTo>
                          <a:pt x="141919" y="5919"/>
                          <a:pt x="136000" y="0"/>
                          <a:pt x="128704" y="0"/>
                        </a:cubicBezTo>
                        <a:cubicBezTo>
                          <a:pt x="121409" y="0"/>
                          <a:pt x="115470" y="5919"/>
                          <a:pt x="115470" y="13214"/>
                        </a:cubicBezTo>
                        <a:close/>
                        <a:moveTo>
                          <a:pt x="230960" y="13214"/>
                        </a:moveTo>
                        <a:cubicBezTo>
                          <a:pt x="230960" y="20510"/>
                          <a:pt x="236879" y="26429"/>
                          <a:pt x="244194" y="26429"/>
                        </a:cubicBezTo>
                        <a:cubicBezTo>
                          <a:pt x="251509" y="26429"/>
                          <a:pt x="257408" y="20510"/>
                          <a:pt x="257408" y="13214"/>
                        </a:cubicBezTo>
                        <a:cubicBezTo>
                          <a:pt x="257408" y="5919"/>
                          <a:pt x="251490" y="0"/>
                          <a:pt x="244194" y="0"/>
                        </a:cubicBezTo>
                        <a:cubicBezTo>
                          <a:pt x="236898" y="0"/>
                          <a:pt x="230960" y="5919"/>
                          <a:pt x="230960" y="13214"/>
                        </a:cubicBezTo>
                        <a:close/>
                        <a:moveTo>
                          <a:pt x="2887026" y="13214"/>
                        </a:moveTo>
                        <a:cubicBezTo>
                          <a:pt x="2887026" y="20510"/>
                          <a:pt x="2892945" y="26429"/>
                          <a:pt x="2900261" y="26429"/>
                        </a:cubicBezTo>
                        <a:cubicBezTo>
                          <a:pt x="2907576" y="26429"/>
                          <a:pt x="2913475" y="20510"/>
                          <a:pt x="2913475" y="13214"/>
                        </a:cubicBezTo>
                        <a:cubicBezTo>
                          <a:pt x="2913475" y="5919"/>
                          <a:pt x="2907556" y="0"/>
                          <a:pt x="2900261" y="0"/>
                        </a:cubicBezTo>
                        <a:cubicBezTo>
                          <a:pt x="2892965" y="0"/>
                          <a:pt x="2887026" y="5919"/>
                          <a:pt x="2887026" y="13214"/>
                        </a:cubicBezTo>
                        <a:close/>
                        <a:moveTo>
                          <a:pt x="577409" y="13214"/>
                        </a:moveTo>
                        <a:cubicBezTo>
                          <a:pt x="577409" y="20510"/>
                          <a:pt x="583328" y="26429"/>
                          <a:pt x="590624" y="26429"/>
                        </a:cubicBezTo>
                        <a:cubicBezTo>
                          <a:pt x="597919" y="26429"/>
                          <a:pt x="603838" y="20510"/>
                          <a:pt x="603838" y="13214"/>
                        </a:cubicBezTo>
                        <a:cubicBezTo>
                          <a:pt x="603838" y="5919"/>
                          <a:pt x="597919" y="0"/>
                          <a:pt x="590624" y="0"/>
                        </a:cubicBezTo>
                        <a:cubicBezTo>
                          <a:pt x="583328" y="0"/>
                          <a:pt x="577409" y="5919"/>
                          <a:pt x="577409" y="13214"/>
                        </a:cubicBezTo>
                        <a:close/>
                        <a:moveTo>
                          <a:pt x="1385778" y="13214"/>
                        </a:moveTo>
                        <a:cubicBezTo>
                          <a:pt x="1385778" y="20510"/>
                          <a:pt x="1391697" y="26429"/>
                          <a:pt x="1399012" y="26429"/>
                        </a:cubicBezTo>
                        <a:cubicBezTo>
                          <a:pt x="1406328" y="26429"/>
                          <a:pt x="1412227" y="20510"/>
                          <a:pt x="1412227" y="13214"/>
                        </a:cubicBezTo>
                        <a:cubicBezTo>
                          <a:pt x="1412227" y="5919"/>
                          <a:pt x="1406308" y="0"/>
                          <a:pt x="1399012" y="0"/>
                        </a:cubicBezTo>
                        <a:cubicBezTo>
                          <a:pt x="1391717" y="0"/>
                          <a:pt x="1385778" y="5919"/>
                          <a:pt x="1385778" y="13214"/>
                        </a:cubicBezTo>
                        <a:close/>
                        <a:moveTo>
                          <a:pt x="346449" y="13214"/>
                        </a:moveTo>
                        <a:cubicBezTo>
                          <a:pt x="346449" y="20510"/>
                          <a:pt x="352368" y="26429"/>
                          <a:pt x="359664" y="26429"/>
                        </a:cubicBezTo>
                        <a:cubicBezTo>
                          <a:pt x="366960" y="26429"/>
                          <a:pt x="372879" y="20510"/>
                          <a:pt x="372879" y="13214"/>
                        </a:cubicBezTo>
                        <a:cubicBezTo>
                          <a:pt x="372879" y="5919"/>
                          <a:pt x="366960" y="0"/>
                          <a:pt x="359664" y="0"/>
                        </a:cubicBezTo>
                        <a:cubicBezTo>
                          <a:pt x="352368" y="0"/>
                          <a:pt x="346449" y="5919"/>
                          <a:pt x="346449" y="13214"/>
                        </a:cubicBezTo>
                        <a:close/>
                        <a:moveTo>
                          <a:pt x="0" y="13214"/>
                        </a:moveTo>
                        <a:cubicBezTo>
                          <a:pt x="0" y="20510"/>
                          <a:pt x="5919" y="26429"/>
                          <a:pt x="13234" y="26429"/>
                        </a:cubicBezTo>
                        <a:cubicBezTo>
                          <a:pt x="20549" y="26429"/>
                          <a:pt x="26449" y="20510"/>
                          <a:pt x="26449" y="13214"/>
                        </a:cubicBezTo>
                        <a:cubicBezTo>
                          <a:pt x="26449" y="5919"/>
                          <a:pt x="20530" y="0"/>
                          <a:pt x="13234" y="0"/>
                        </a:cubicBezTo>
                        <a:cubicBezTo>
                          <a:pt x="5939" y="0"/>
                          <a:pt x="0" y="5919"/>
                          <a:pt x="0" y="13214"/>
                        </a:cubicBezTo>
                        <a:close/>
                        <a:moveTo>
                          <a:pt x="2425107" y="13214"/>
                        </a:moveTo>
                        <a:cubicBezTo>
                          <a:pt x="2425107" y="20510"/>
                          <a:pt x="2431026" y="26429"/>
                          <a:pt x="2438341" y="26429"/>
                        </a:cubicBezTo>
                        <a:cubicBezTo>
                          <a:pt x="2445656" y="26429"/>
                          <a:pt x="2451556" y="20510"/>
                          <a:pt x="2451556" y="13214"/>
                        </a:cubicBezTo>
                        <a:cubicBezTo>
                          <a:pt x="2451556" y="5919"/>
                          <a:pt x="2445637" y="0"/>
                          <a:pt x="2438341" y="0"/>
                        </a:cubicBezTo>
                        <a:cubicBezTo>
                          <a:pt x="2431046" y="0"/>
                          <a:pt x="2425107" y="5919"/>
                          <a:pt x="2425107" y="13214"/>
                        </a:cubicBezTo>
                        <a:close/>
                        <a:moveTo>
                          <a:pt x="2309617" y="13214"/>
                        </a:moveTo>
                        <a:cubicBezTo>
                          <a:pt x="2309617" y="20510"/>
                          <a:pt x="2315536" y="26429"/>
                          <a:pt x="2322851" y="26429"/>
                        </a:cubicBezTo>
                        <a:cubicBezTo>
                          <a:pt x="2330167" y="26429"/>
                          <a:pt x="2336066" y="20510"/>
                          <a:pt x="2336066" y="13214"/>
                        </a:cubicBezTo>
                        <a:cubicBezTo>
                          <a:pt x="2336066" y="5919"/>
                          <a:pt x="2330147" y="0"/>
                          <a:pt x="2322851" y="0"/>
                        </a:cubicBezTo>
                        <a:cubicBezTo>
                          <a:pt x="2315556" y="0"/>
                          <a:pt x="2309617" y="5919"/>
                          <a:pt x="2309617" y="13214"/>
                        </a:cubicBezTo>
                        <a:close/>
                        <a:moveTo>
                          <a:pt x="2540577" y="13214"/>
                        </a:moveTo>
                        <a:cubicBezTo>
                          <a:pt x="2540577" y="20510"/>
                          <a:pt x="2546496" y="26429"/>
                          <a:pt x="2553811" y="26429"/>
                        </a:cubicBezTo>
                        <a:cubicBezTo>
                          <a:pt x="2561126" y="26429"/>
                          <a:pt x="2567026" y="20510"/>
                          <a:pt x="2567026" y="13214"/>
                        </a:cubicBezTo>
                        <a:cubicBezTo>
                          <a:pt x="2567026" y="5919"/>
                          <a:pt x="2561107" y="0"/>
                          <a:pt x="2553811" y="0"/>
                        </a:cubicBezTo>
                        <a:cubicBezTo>
                          <a:pt x="2546516" y="0"/>
                          <a:pt x="2540577" y="5919"/>
                          <a:pt x="2540577" y="13214"/>
                        </a:cubicBezTo>
                        <a:close/>
                        <a:moveTo>
                          <a:pt x="2771537" y="13214"/>
                        </a:moveTo>
                        <a:cubicBezTo>
                          <a:pt x="2771537" y="20510"/>
                          <a:pt x="2777456" y="26429"/>
                          <a:pt x="2784751" y="26429"/>
                        </a:cubicBezTo>
                        <a:cubicBezTo>
                          <a:pt x="2792047" y="26429"/>
                          <a:pt x="2797966" y="20510"/>
                          <a:pt x="2797966" y="13214"/>
                        </a:cubicBezTo>
                        <a:cubicBezTo>
                          <a:pt x="2797966" y="5919"/>
                          <a:pt x="2792047" y="0"/>
                          <a:pt x="2784751" y="0"/>
                        </a:cubicBezTo>
                        <a:cubicBezTo>
                          <a:pt x="2777456" y="0"/>
                          <a:pt x="2771537" y="5919"/>
                          <a:pt x="2771537" y="13214"/>
                        </a:cubicBezTo>
                        <a:close/>
                        <a:moveTo>
                          <a:pt x="2194128" y="13214"/>
                        </a:moveTo>
                        <a:cubicBezTo>
                          <a:pt x="2194128" y="20510"/>
                          <a:pt x="2200047" y="26429"/>
                          <a:pt x="2207362" y="26429"/>
                        </a:cubicBezTo>
                        <a:cubicBezTo>
                          <a:pt x="2214677" y="26429"/>
                          <a:pt x="2220576" y="20510"/>
                          <a:pt x="2220576" y="13214"/>
                        </a:cubicBezTo>
                        <a:cubicBezTo>
                          <a:pt x="2220576" y="5919"/>
                          <a:pt x="2214657" y="0"/>
                          <a:pt x="2207362" y="0"/>
                        </a:cubicBezTo>
                        <a:cubicBezTo>
                          <a:pt x="2200066" y="0"/>
                          <a:pt x="2194128" y="5919"/>
                          <a:pt x="2194128" y="13214"/>
                        </a:cubicBezTo>
                        <a:close/>
                        <a:moveTo>
                          <a:pt x="1501248" y="13214"/>
                        </a:moveTo>
                        <a:cubicBezTo>
                          <a:pt x="1501248" y="20510"/>
                          <a:pt x="1507167" y="26429"/>
                          <a:pt x="1514463" y="26429"/>
                        </a:cubicBezTo>
                        <a:cubicBezTo>
                          <a:pt x="1521758" y="26429"/>
                          <a:pt x="1527677" y="20510"/>
                          <a:pt x="1527677" y="13214"/>
                        </a:cubicBezTo>
                        <a:cubicBezTo>
                          <a:pt x="1527677" y="5919"/>
                          <a:pt x="1521758" y="0"/>
                          <a:pt x="1514463" y="0"/>
                        </a:cubicBezTo>
                        <a:cubicBezTo>
                          <a:pt x="1507167" y="0"/>
                          <a:pt x="1501248" y="5919"/>
                          <a:pt x="1501248" y="13214"/>
                        </a:cubicBezTo>
                        <a:close/>
                        <a:moveTo>
                          <a:pt x="2656067" y="13214"/>
                        </a:moveTo>
                        <a:cubicBezTo>
                          <a:pt x="2656067" y="20510"/>
                          <a:pt x="2661986" y="26429"/>
                          <a:pt x="2669301" y="26429"/>
                        </a:cubicBezTo>
                        <a:cubicBezTo>
                          <a:pt x="2676616" y="26429"/>
                          <a:pt x="2682515" y="20510"/>
                          <a:pt x="2682515" y="13214"/>
                        </a:cubicBezTo>
                        <a:cubicBezTo>
                          <a:pt x="2682515" y="5919"/>
                          <a:pt x="2676596" y="0"/>
                          <a:pt x="2669301" y="0"/>
                        </a:cubicBezTo>
                        <a:cubicBezTo>
                          <a:pt x="2662006" y="0"/>
                          <a:pt x="2656067" y="5919"/>
                          <a:pt x="2656067" y="13214"/>
                        </a:cubicBezTo>
                        <a:close/>
                        <a:moveTo>
                          <a:pt x="1732208" y="13214"/>
                        </a:moveTo>
                        <a:cubicBezTo>
                          <a:pt x="1732208" y="20510"/>
                          <a:pt x="1738127" y="26429"/>
                          <a:pt x="1745442" y="26429"/>
                        </a:cubicBezTo>
                        <a:cubicBezTo>
                          <a:pt x="1752757" y="26429"/>
                          <a:pt x="1758657" y="20510"/>
                          <a:pt x="1758657" y="13214"/>
                        </a:cubicBezTo>
                        <a:cubicBezTo>
                          <a:pt x="1758657" y="5919"/>
                          <a:pt x="1752738" y="0"/>
                          <a:pt x="1745442" y="0"/>
                        </a:cubicBezTo>
                        <a:cubicBezTo>
                          <a:pt x="1738147" y="0"/>
                          <a:pt x="1732208" y="5919"/>
                          <a:pt x="1732208" y="13214"/>
                        </a:cubicBezTo>
                        <a:close/>
                        <a:moveTo>
                          <a:pt x="2078657" y="13214"/>
                        </a:moveTo>
                        <a:cubicBezTo>
                          <a:pt x="2078657" y="20510"/>
                          <a:pt x="2084576" y="26429"/>
                          <a:pt x="2091892" y="26429"/>
                        </a:cubicBezTo>
                        <a:cubicBezTo>
                          <a:pt x="2099207" y="26429"/>
                          <a:pt x="2105106" y="20510"/>
                          <a:pt x="2105106" y="13214"/>
                        </a:cubicBezTo>
                        <a:cubicBezTo>
                          <a:pt x="2105106" y="5919"/>
                          <a:pt x="2099187" y="0"/>
                          <a:pt x="2091892" y="0"/>
                        </a:cubicBezTo>
                        <a:cubicBezTo>
                          <a:pt x="2084596" y="0"/>
                          <a:pt x="2078657" y="5919"/>
                          <a:pt x="2078657" y="13214"/>
                        </a:cubicBezTo>
                        <a:close/>
                        <a:moveTo>
                          <a:pt x="1616738" y="13214"/>
                        </a:moveTo>
                        <a:cubicBezTo>
                          <a:pt x="1616738" y="20510"/>
                          <a:pt x="1622657" y="26429"/>
                          <a:pt x="1629972" y="26429"/>
                        </a:cubicBezTo>
                        <a:cubicBezTo>
                          <a:pt x="1637287" y="26429"/>
                          <a:pt x="1643187" y="20510"/>
                          <a:pt x="1643187" y="13214"/>
                        </a:cubicBezTo>
                        <a:cubicBezTo>
                          <a:pt x="1643187" y="5919"/>
                          <a:pt x="1637268" y="0"/>
                          <a:pt x="1629972" y="0"/>
                        </a:cubicBezTo>
                        <a:cubicBezTo>
                          <a:pt x="1622676" y="0"/>
                          <a:pt x="1616738" y="5919"/>
                          <a:pt x="1616738" y="13214"/>
                        </a:cubicBezTo>
                        <a:close/>
                        <a:moveTo>
                          <a:pt x="1963187" y="13214"/>
                        </a:moveTo>
                        <a:cubicBezTo>
                          <a:pt x="1963187" y="20510"/>
                          <a:pt x="1969106" y="26429"/>
                          <a:pt x="1976421" y="26429"/>
                        </a:cubicBezTo>
                        <a:cubicBezTo>
                          <a:pt x="1983737" y="26429"/>
                          <a:pt x="1989636" y="20510"/>
                          <a:pt x="1989636" y="13214"/>
                        </a:cubicBezTo>
                        <a:cubicBezTo>
                          <a:pt x="1989636" y="5919"/>
                          <a:pt x="1983717" y="0"/>
                          <a:pt x="1976421" y="0"/>
                        </a:cubicBezTo>
                        <a:cubicBezTo>
                          <a:pt x="1969126" y="0"/>
                          <a:pt x="1963187" y="5919"/>
                          <a:pt x="1963187" y="13214"/>
                        </a:cubicBezTo>
                        <a:close/>
                        <a:moveTo>
                          <a:pt x="1847698" y="13214"/>
                        </a:moveTo>
                        <a:cubicBezTo>
                          <a:pt x="1847698" y="20510"/>
                          <a:pt x="1853617" y="26429"/>
                          <a:pt x="1860932" y="26429"/>
                        </a:cubicBezTo>
                        <a:cubicBezTo>
                          <a:pt x="1868247" y="26429"/>
                          <a:pt x="1874146" y="20510"/>
                          <a:pt x="1874146" y="13214"/>
                        </a:cubicBezTo>
                        <a:cubicBezTo>
                          <a:pt x="1874146" y="5919"/>
                          <a:pt x="1868227" y="0"/>
                          <a:pt x="1860932" y="0"/>
                        </a:cubicBezTo>
                        <a:cubicBezTo>
                          <a:pt x="1853636" y="0"/>
                          <a:pt x="1847698" y="5919"/>
                          <a:pt x="1847698" y="13214"/>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380" name="Graphic 10">
                  <a:extLst>
                    <a:ext uri="{FF2B5EF4-FFF2-40B4-BE49-F238E27FC236}">
                      <a16:creationId xmlns:a16="http://schemas.microsoft.com/office/drawing/2014/main" id="{996F152D-D477-40E6-905B-A32458AA5A55}"/>
                    </a:ext>
                  </a:extLst>
                </p:cNvPr>
                <p:cNvGrpSpPr/>
                <p:nvPr/>
              </p:nvGrpSpPr>
              <p:grpSpPr>
                <a:xfrm>
                  <a:off x="1726505" y="10557851"/>
                  <a:ext cx="8851332" cy="378266"/>
                  <a:chOff x="1726505" y="10557851"/>
                  <a:chExt cx="8851332" cy="378266"/>
                </a:xfrm>
              </p:grpSpPr>
              <p:grpSp>
                <p:nvGrpSpPr>
                  <p:cNvPr id="1385" name="Graphic 10">
                    <a:extLst>
                      <a:ext uri="{FF2B5EF4-FFF2-40B4-BE49-F238E27FC236}">
                        <a16:creationId xmlns:a16="http://schemas.microsoft.com/office/drawing/2014/main" id="{E4F3C717-013C-4834-BE5E-BD1968824070}"/>
                      </a:ext>
                    </a:extLst>
                  </p:cNvPr>
                  <p:cNvGrpSpPr/>
                  <p:nvPr/>
                </p:nvGrpSpPr>
                <p:grpSpPr>
                  <a:xfrm>
                    <a:off x="8543661" y="10557851"/>
                    <a:ext cx="500009" cy="356163"/>
                    <a:chOff x="8543661" y="10557851"/>
                    <a:chExt cx="500009" cy="356163"/>
                  </a:xfrm>
                </p:grpSpPr>
                <p:sp>
                  <p:nvSpPr>
                    <p:cNvPr id="1411" name="Freeform: Shape 1410">
                      <a:extLst>
                        <a:ext uri="{FF2B5EF4-FFF2-40B4-BE49-F238E27FC236}">
                          <a16:creationId xmlns:a16="http://schemas.microsoft.com/office/drawing/2014/main" id="{EFB835DD-C2D2-4CDC-A606-B145AE05FAB1}"/>
                        </a:ext>
                      </a:extLst>
                    </p:cNvPr>
                    <p:cNvSpPr/>
                    <p:nvPr/>
                  </p:nvSpPr>
                  <p:spPr>
                    <a:xfrm rot="10800000">
                      <a:off x="8582617" y="10637296"/>
                      <a:ext cx="276719" cy="276719"/>
                    </a:xfrm>
                    <a:custGeom>
                      <a:avLst/>
                      <a:gdLst>
                        <a:gd name="connsiteX0" fmla="*/ 0 w 276719"/>
                        <a:gd name="connsiteY0" fmla="*/ 0 h 276719"/>
                        <a:gd name="connsiteX1" fmla="*/ 276719 w 276719"/>
                        <a:gd name="connsiteY1" fmla="*/ 0 h 276719"/>
                        <a:gd name="connsiteX2" fmla="*/ 276719 w 276719"/>
                        <a:gd name="connsiteY2" fmla="*/ 276719 h 276719"/>
                        <a:gd name="connsiteX3" fmla="*/ 0 w 276719"/>
                        <a:gd name="connsiteY3" fmla="*/ 276719 h 276719"/>
                      </a:gdLst>
                      <a:ahLst/>
                      <a:cxnLst>
                        <a:cxn ang="0">
                          <a:pos x="connsiteX0" y="connsiteY0"/>
                        </a:cxn>
                        <a:cxn ang="0">
                          <a:pos x="connsiteX1" y="connsiteY1"/>
                        </a:cxn>
                        <a:cxn ang="0">
                          <a:pos x="connsiteX2" y="connsiteY2"/>
                        </a:cxn>
                        <a:cxn ang="0">
                          <a:pos x="connsiteX3" y="connsiteY3"/>
                        </a:cxn>
                      </a:cxnLst>
                      <a:rect l="l" t="t" r="r" b="b"/>
                      <a:pathLst>
                        <a:path w="276719" h="276719">
                          <a:moveTo>
                            <a:pt x="0" y="0"/>
                          </a:moveTo>
                          <a:lnTo>
                            <a:pt x="276719" y="0"/>
                          </a:lnTo>
                          <a:lnTo>
                            <a:pt x="276719" y="276719"/>
                          </a:lnTo>
                          <a:lnTo>
                            <a:pt x="0" y="276719"/>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12" name="Freeform: Shape 1411">
                      <a:extLst>
                        <a:ext uri="{FF2B5EF4-FFF2-40B4-BE49-F238E27FC236}">
                          <a16:creationId xmlns:a16="http://schemas.microsoft.com/office/drawing/2014/main" id="{59253282-C645-433C-A9C8-3436B0F66E0D}"/>
                        </a:ext>
                      </a:extLst>
                    </p:cNvPr>
                    <p:cNvSpPr/>
                    <p:nvPr/>
                  </p:nvSpPr>
                  <p:spPr>
                    <a:xfrm>
                      <a:off x="8727918" y="10557851"/>
                      <a:ext cx="315752" cy="79444"/>
                    </a:xfrm>
                    <a:custGeom>
                      <a:avLst/>
                      <a:gdLst>
                        <a:gd name="connsiteX0" fmla="*/ 315753 w 315752"/>
                        <a:gd name="connsiteY0" fmla="*/ 0 h 79444"/>
                        <a:gd name="connsiteX1" fmla="*/ 39053 w 315752"/>
                        <a:gd name="connsiteY1" fmla="*/ 0 h 79444"/>
                        <a:gd name="connsiteX2" fmla="*/ 0 w 315752"/>
                        <a:gd name="connsiteY2" fmla="*/ 79445 h 79444"/>
                        <a:gd name="connsiteX3" fmla="*/ 276719 w 315752"/>
                        <a:gd name="connsiteY3" fmla="*/ 79445 h 79444"/>
                        <a:gd name="connsiteX4" fmla="*/ 315753 w 315752"/>
                        <a:gd name="connsiteY4" fmla="*/ 0 h 79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52" h="79444">
                          <a:moveTo>
                            <a:pt x="315753" y="0"/>
                          </a:moveTo>
                          <a:lnTo>
                            <a:pt x="39053" y="0"/>
                          </a:lnTo>
                          <a:lnTo>
                            <a:pt x="0" y="79445"/>
                          </a:lnTo>
                          <a:lnTo>
                            <a:pt x="276719" y="79445"/>
                          </a:lnTo>
                          <a:lnTo>
                            <a:pt x="315753" y="0"/>
                          </a:lnTo>
                          <a:close/>
                        </a:path>
                      </a:pathLst>
                    </a:custGeom>
                    <a:solidFill>
                      <a:srgbClr val="FFD2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13" name="Freeform: Shape 1412">
                      <a:extLst>
                        <a:ext uri="{FF2B5EF4-FFF2-40B4-BE49-F238E27FC236}">
                          <a16:creationId xmlns:a16="http://schemas.microsoft.com/office/drawing/2014/main" id="{0C3CDA89-0145-4E18-9EBD-24ED42497108}"/>
                        </a:ext>
                      </a:extLst>
                    </p:cNvPr>
                    <p:cNvSpPr/>
                    <p:nvPr/>
                  </p:nvSpPr>
                  <p:spPr>
                    <a:xfrm>
                      <a:off x="8543661" y="10557851"/>
                      <a:ext cx="315772" cy="79444"/>
                    </a:xfrm>
                    <a:custGeom>
                      <a:avLst/>
                      <a:gdLst>
                        <a:gd name="connsiteX0" fmla="*/ 0 w 315772"/>
                        <a:gd name="connsiteY0" fmla="*/ 0 h 79444"/>
                        <a:gd name="connsiteX1" fmla="*/ 250368 w 315772"/>
                        <a:gd name="connsiteY1" fmla="*/ 0 h 79444"/>
                        <a:gd name="connsiteX2" fmla="*/ 288341 w 315772"/>
                        <a:gd name="connsiteY2" fmla="*/ 23637 h 79444"/>
                        <a:gd name="connsiteX3" fmla="*/ 315773 w 315772"/>
                        <a:gd name="connsiteY3" fmla="*/ 79445 h 79444"/>
                        <a:gd name="connsiteX4" fmla="*/ 39053 w 315772"/>
                        <a:gd name="connsiteY4" fmla="*/ 79445 h 79444"/>
                        <a:gd name="connsiteX5" fmla="*/ 0 w 315772"/>
                        <a:gd name="connsiteY5" fmla="*/ 0 h 7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 h="79444">
                          <a:moveTo>
                            <a:pt x="0" y="0"/>
                          </a:moveTo>
                          <a:lnTo>
                            <a:pt x="250368" y="0"/>
                          </a:lnTo>
                          <a:cubicBezTo>
                            <a:pt x="266494" y="0"/>
                            <a:pt x="281223" y="9164"/>
                            <a:pt x="288341" y="23637"/>
                          </a:cubicBezTo>
                          <a:lnTo>
                            <a:pt x="315773" y="79445"/>
                          </a:lnTo>
                          <a:lnTo>
                            <a:pt x="39053" y="79445"/>
                          </a:lnTo>
                          <a:lnTo>
                            <a:pt x="0" y="0"/>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14" name="Freeform: Shape 1413">
                      <a:extLst>
                        <a:ext uri="{FF2B5EF4-FFF2-40B4-BE49-F238E27FC236}">
                          <a16:creationId xmlns:a16="http://schemas.microsoft.com/office/drawing/2014/main" id="{2F16BA30-6C16-47C8-A482-665A1A05E448}"/>
                        </a:ext>
                      </a:extLst>
                    </p:cNvPr>
                    <p:cNvSpPr/>
                    <p:nvPr/>
                  </p:nvSpPr>
                  <p:spPr>
                    <a:xfrm rot="10800000">
                      <a:off x="8859434" y="10637296"/>
                      <a:ext cx="145202" cy="276719"/>
                    </a:xfrm>
                    <a:custGeom>
                      <a:avLst/>
                      <a:gdLst>
                        <a:gd name="connsiteX0" fmla="*/ 0 w 145202"/>
                        <a:gd name="connsiteY0" fmla="*/ 0 h 276719"/>
                        <a:gd name="connsiteX1" fmla="*/ 145202 w 145202"/>
                        <a:gd name="connsiteY1" fmla="*/ 0 h 276719"/>
                        <a:gd name="connsiteX2" fmla="*/ 145202 w 145202"/>
                        <a:gd name="connsiteY2" fmla="*/ 276719 h 276719"/>
                        <a:gd name="connsiteX3" fmla="*/ 0 w 145202"/>
                        <a:gd name="connsiteY3" fmla="*/ 276719 h 276719"/>
                      </a:gdLst>
                      <a:ahLst/>
                      <a:cxnLst>
                        <a:cxn ang="0">
                          <a:pos x="connsiteX0" y="connsiteY0"/>
                        </a:cxn>
                        <a:cxn ang="0">
                          <a:pos x="connsiteX1" y="connsiteY1"/>
                        </a:cxn>
                        <a:cxn ang="0">
                          <a:pos x="connsiteX2" y="connsiteY2"/>
                        </a:cxn>
                        <a:cxn ang="0">
                          <a:pos x="connsiteX3" y="connsiteY3"/>
                        </a:cxn>
                      </a:cxnLst>
                      <a:rect l="l" t="t" r="r" b="b"/>
                      <a:pathLst>
                        <a:path w="145202" h="276719">
                          <a:moveTo>
                            <a:pt x="0" y="0"/>
                          </a:moveTo>
                          <a:lnTo>
                            <a:pt x="145202" y="0"/>
                          </a:lnTo>
                          <a:lnTo>
                            <a:pt x="145202" y="276719"/>
                          </a:lnTo>
                          <a:lnTo>
                            <a:pt x="0" y="276719"/>
                          </a:lnTo>
                          <a:close/>
                        </a:path>
                      </a:pathLst>
                    </a:custGeom>
                    <a:solidFill>
                      <a:srgbClr val="FFDD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386" name="Graphic 10">
                    <a:extLst>
                      <a:ext uri="{FF2B5EF4-FFF2-40B4-BE49-F238E27FC236}">
                        <a16:creationId xmlns:a16="http://schemas.microsoft.com/office/drawing/2014/main" id="{B0FB2859-8B41-4F28-BCC9-11506DA6DD99}"/>
                      </a:ext>
                    </a:extLst>
                  </p:cNvPr>
                  <p:cNvGrpSpPr/>
                  <p:nvPr/>
                </p:nvGrpSpPr>
                <p:grpSpPr>
                  <a:xfrm>
                    <a:off x="7795368" y="10557851"/>
                    <a:ext cx="500010" cy="356163"/>
                    <a:chOff x="7795368" y="10557851"/>
                    <a:chExt cx="500010" cy="356163"/>
                  </a:xfrm>
                </p:grpSpPr>
                <p:sp>
                  <p:nvSpPr>
                    <p:cNvPr id="1407" name="Freeform: Shape 1406">
                      <a:extLst>
                        <a:ext uri="{FF2B5EF4-FFF2-40B4-BE49-F238E27FC236}">
                          <a16:creationId xmlns:a16="http://schemas.microsoft.com/office/drawing/2014/main" id="{E77F5771-B5C2-47AE-B03D-FCED2AC7D7EF}"/>
                        </a:ext>
                      </a:extLst>
                    </p:cNvPr>
                    <p:cNvSpPr/>
                    <p:nvPr/>
                  </p:nvSpPr>
                  <p:spPr>
                    <a:xfrm rot="10800000">
                      <a:off x="7834323" y="10637296"/>
                      <a:ext cx="276719" cy="276719"/>
                    </a:xfrm>
                    <a:custGeom>
                      <a:avLst/>
                      <a:gdLst>
                        <a:gd name="connsiteX0" fmla="*/ 0 w 276719"/>
                        <a:gd name="connsiteY0" fmla="*/ 0 h 276719"/>
                        <a:gd name="connsiteX1" fmla="*/ 276719 w 276719"/>
                        <a:gd name="connsiteY1" fmla="*/ 0 h 276719"/>
                        <a:gd name="connsiteX2" fmla="*/ 276719 w 276719"/>
                        <a:gd name="connsiteY2" fmla="*/ 276719 h 276719"/>
                        <a:gd name="connsiteX3" fmla="*/ 0 w 276719"/>
                        <a:gd name="connsiteY3" fmla="*/ 276719 h 276719"/>
                      </a:gdLst>
                      <a:ahLst/>
                      <a:cxnLst>
                        <a:cxn ang="0">
                          <a:pos x="connsiteX0" y="connsiteY0"/>
                        </a:cxn>
                        <a:cxn ang="0">
                          <a:pos x="connsiteX1" y="connsiteY1"/>
                        </a:cxn>
                        <a:cxn ang="0">
                          <a:pos x="connsiteX2" y="connsiteY2"/>
                        </a:cxn>
                        <a:cxn ang="0">
                          <a:pos x="connsiteX3" y="connsiteY3"/>
                        </a:cxn>
                      </a:cxnLst>
                      <a:rect l="l" t="t" r="r" b="b"/>
                      <a:pathLst>
                        <a:path w="276719" h="276719">
                          <a:moveTo>
                            <a:pt x="0" y="0"/>
                          </a:moveTo>
                          <a:lnTo>
                            <a:pt x="276719" y="0"/>
                          </a:lnTo>
                          <a:lnTo>
                            <a:pt x="276719" y="276719"/>
                          </a:lnTo>
                          <a:lnTo>
                            <a:pt x="0" y="276719"/>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08" name="Freeform: Shape 1407">
                      <a:extLst>
                        <a:ext uri="{FF2B5EF4-FFF2-40B4-BE49-F238E27FC236}">
                          <a16:creationId xmlns:a16="http://schemas.microsoft.com/office/drawing/2014/main" id="{C4858B1C-768C-47B8-956A-01CF50AC14C4}"/>
                        </a:ext>
                      </a:extLst>
                    </p:cNvPr>
                    <p:cNvSpPr/>
                    <p:nvPr/>
                  </p:nvSpPr>
                  <p:spPr>
                    <a:xfrm>
                      <a:off x="7979624" y="10557851"/>
                      <a:ext cx="315753" cy="79444"/>
                    </a:xfrm>
                    <a:custGeom>
                      <a:avLst/>
                      <a:gdLst>
                        <a:gd name="connsiteX0" fmla="*/ 315754 w 315753"/>
                        <a:gd name="connsiteY0" fmla="*/ 0 h 79444"/>
                        <a:gd name="connsiteX1" fmla="*/ 39034 w 315753"/>
                        <a:gd name="connsiteY1" fmla="*/ 0 h 79444"/>
                        <a:gd name="connsiteX2" fmla="*/ 0 w 315753"/>
                        <a:gd name="connsiteY2" fmla="*/ 79445 h 79444"/>
                        <a:gd name="connsiteX3" fmla="*/ 276699 w 315753"/>
                        <a:gd name="connsiteY3" fmla="*/ 79445 h 79444"/>
                        <a:gd name="connsiteX4" fmla="*/ 315754 w 315753"/>
                        <a:gd name="connsiteY4" fmla="*/ 0 h 79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53" h="79444">
                          <a:moveTo>
                            <a:pt x="315754" y="0"/>
                          </a:moveTo>
                          <a:lnTo>
                            <a:pt x="39034" y="0"/>
                          </a:lnTo>
                          <a:lnTo>
                            <a:pt x="0" y="79445"/>
                          </a:lnTo>
                          <a:lnTo>
                            <a:pt x="276699" y="79445"/>
                          </a:lnTo>
                          <a:lnTo>
                            <a:pt x="315754" y="0"/>
                          </a:lnTo>
                          <a:close/>
                        </a:path>
                      </a:pathLst>
                    </a:custGeom>
                    <a:solidFill>
                      <a:srgbClr val="FFD2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09" name="Freeform: Shape 1408">
                      <a:extLst>
                        <a:ext uri="{FF2B5EF4-FFF2-40B4-BE49-F238E27FC236}">
                          <a16:creationId xmlns:a16="http://schemas.microsoft.com/office/drawing/2014/main" id="{7F10B2B4-EC06-4C2E-82A3-5EFEED3818E5}"/>
                        </a:ext>
                      </a:extLst>
                    </p:cNvPr>
                    <p:cNvSpPr/>
                    <p:nvPr/>
                  </p:nvSpPr>
                  <p:spPr>
                    <a:xfrm>
                      <a:off x="7795368" y="10557851"/>
                      <a:ext cx="315772" cy="79444"/>
                    </a:xfrm>
                    <a:custGeom>
                      <a:avLst/>
                      <a:gdLst>
                        <a:gd name="connsiteX0" fmla="*/ 0 w 315772"/>
                        <a:gd name="connsiteY0" fmla="*/ 0 h 79444"/>
                        <a:gd name="connsiteX1" fmla="*/ 250369 w 315772"/>
                        <a:gd name="connsiteY1" fmla="*/ 0 h 79444"/>
                        <a:gd name="connsiteX2" fmla="*/ 288341 w 315772"/>
                        <a:gd name="connsiteY2" fmla="*/ 23637 h 79444"/>
                        <a:gd name="connsiteX3" fmla="*/ 315772 w 315772"/>
                        <a:gd name="connsiteY3" fmla="*/ 79445 h 79444"/>
                        <a:gd name="connsiteX4" fmla="*/ 39054 w 315772"/>
                        <a:gd name="connsiteY4" fmla="*/ 79445 h 79444"/>
                        <a:gd name="connsiteX5" fmla="*/ 0 w 315772"/>
                        <a:gd name="connsiteY5" fmla="*/ 0 h 7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 h="79444">
                          <a:moveTo>
                            <a:pt x="0" y="0"/>
                          </a:moveTo>
                          <a:lnTo>
                            <a:pt x="250369" y="0"/>
                          </a:lnTo>
                          <a:cubicBezTo>
                            <a:pt x="266494" y="0"/>
                            <a:pt x="281222" y="9164"/>
                            <a:pt x="288341" y="23637"/>
                          </a:cubicBezTo>
                          <a:lnTo>
                            <a:pt x="315772" y="79445"/>
                          </a:lnTo>
                          <a:lnTo>
                            <a:pt x="39054" y="79445"/>
                          </a:lnTo>
                          <a:lnTo>
                            <a:pt x="0" y="0"/>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10" name="Freeform: Shape 1409">
                      <a:extLst>
                        <a:ext uri="{FF2B5EF4-FFF2-40B4-BE49-F238E27FC236}">
                          <a16:creationId xmlns:a16="http://schemas.microsoft.com/office/drawing/2014/main" id="{4041973C-B156-4DDB-A8F4-41B858526FC3}"/>
                        </a:ext>
                      </a:extLst>
                    </p:cNvPr>
                    <p:cNvSpPr/>
                    <p:nvPr/>
                  </p:nvSpPr>
                  <p:spPr>
                    <a:xfrm rot="10800000">
                      <a:off x="8111140" y="10637296"/>
                      <a:ext cx="145202" cy="276719"/>
                    </a:xfrm>
                    <a:custGeom>
                      <a:avLst/>
                      <a:gdLst>
                        <a:gd name="connsiteX0" fmla="*/ 0 w 145202"/>
                        <a:gd name="connsiteY0" fmla="*/ 0 h 276719"/>
                        <a:gd name="connsiteX1" fmla="*/ 145202 w 145202"/>
                        <a:gd name="connsiteY1" fmla="*/ 0 h 276719"/>
                        <a:gd name="connsiteX2" fmla="*/ 145202 w 145202"/>
                        <a:gd name="connsiteY2" fmla="*/ 276719 h 276719"/>
                        <a:gd name="connsiteX3" fmla="*/ 0 w 145202"/>
                        <a:gd name="connsiteY3" fmla="*/ 276719 h 276719"/>
                      </a:gdLst>
                      <a:ahLst/>
                      <a:cxnLst>
                        <a:cxn ang="0">
                          <a:pos x="connsiteX0" y="connsiteY0"/>
                        </a:cxn>
                        <a:cxn ang="0">
                          <a:pos x="connsiteX1" y="connsiteY1"/>
                        </a:cxn>
                        <a:cxn ang="0">
                          <a:pos x="connsiteX2" y="connsiteY2"/>
                        </a:cxn>
                        <a:cxn ang="0">
                          <a:pos x="connsiteX3" y="connsiteY3"/>
                        </a:cxn>
                      </a:cxnLst>
                      <a:rect l="l" t="t" r="r" b="b"/>
                      <a:pathLst>
                        <a:path w="145202" h="276719">
                          <a:moveTo>
                            <a:pt x="0" y="0"/>
                          </a:moveTo>
                          <a:lnTo>
                            <a:pt x="145202" y="0"/>
                          </a:lnTo>
                          <a:lnTo>
                            <a:pt x="145202" y="276719"/>
                          </a:lnTo>
                          <a:lnTo>
                            <a:pt x="0" y="276719"/>
                          </a:lnTo>
                          <a:close/>
                        </a:path>
                      </a:pathLst>
                    </a:custGeom>
                    <a:solidFill>
                      <a:srgbClr val="FFDD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387" name="Graphic 10">
                    <a:extLst>
                      <a:ext uri="{FF2B5EF4-FFF2-40B4-BE49-F238E27FC236}">
                        <a16:creationId xmlns:a16="http://schemas.microsoft.com/office/drawing/2014/main" id="{E429B2E0-C9EE-4A46-A49D-B67380C1B544}"/>
                      </a:ext>
                    </a:extLst>
                  </p:cNvPr>
                  <p:cNvGrpSpPr/>
                  <p:nvPr/>
                </p:nvGrpSpPr>
                <p:grpSpPr>
                  <a:xfrm>
                    <a:off x="10077828" y="10557851"/>
                    <a:ext cx="500009" cy="356163"/>
                    <a:chOff x="10077828" y="10557851"/>
                    <a:chExt cx="500009" cy="356163"/>
                  </a:xfrm>
                </p:grpSpPr>
                <p:sp>
                  <p:nvSpPr>
                    <p:cNvPr id="1403" name="Freeform: Shape 1402">
                      <a:extLst>
                        <a:ext uri="{FF2B5EF4-FFF2-40B4-BE49-F238E27FC236}">
                          <a16:creationId xmlns:a16="http://schemas.microsoft.com/office/drawing/2014/main" id="{24E9C42E-26C7-4BBB-8B72-BD492892AE18}"/>
                        </a:ext>
                      </a:extLst>
                    </p:cNvPr>
                    <p:cNvSpPr/>
                    <p:nvPr/>
                  </p:nvSpPr>
                  <p:spPr>
                    <a:xfrm rot="10800000">
                      <a:off x="10116803" y="10637296"/>
                      <a:ext cx="276719" cy="276719"/>
                    </a:xfrm>
                    <a:custGeom>
                      <a:avLst/>
                      <a:gdLst>
                        <a:gd name="connsiteX0" fmla="*/ 0 w 276719"/>
                        <a:gd name="connsiteY0" fmla="*/ 0 h 276719"/>
                        <a:gd name="connsiteX1" fmla="*/ 276720 w 276719"/>
                        <a:gd name="connsiteY1" fmla="*/ 0 h 276719"/>
                        <a:gd name="connsiteX2" fmla="*/ 276720 w 276719"/>
                        <a:gd name="connsiteY2" fmla="*/ 276719 h 276719"/>
                        <a:gd name="connsiteX3" fmla="*/ 0 w 276719"/>
                        <a:gd name="connsiteY3" fmla="*/ 276719 h 276719"/>
                      </a:gdLst>
                      <a:ahLst/>
                      <a:cxnLst>
                        <a:cxn ang="0">
                          <a:pos x="connsiteX0" y="connsiteY0"/>
                        </a:cxn>
                        <a:cxn ang="0">
                          <a:pos x="connsiteX1" y="connsiteY1"/>
                        </a:cxn>
                        <a:cxn ang="0">
                          <a:pos x="connsiteX2" y="connsiteY2"/>
                        </a:cxn>
                        <a:cxn ang="0">
                          <a:pos x="connsiteX3" y="connsiteY3"/>
                        </a:cxn>
                      </a:cxnLst>
                      <a:rect l="l" t="t" r="r" b="b"/>
                      <a:pathLst>
                        <a:path w="276719" h="276719">
                          <a:moveTo>
                            <a:pt x="0" y="0"/>
                          </a:moveTo>
                          <a:lnTo>
                            <a:pt x="276720" y="0"/>
                          </a:lnTo>
                          <a:lnTo>
                            <a:pt x="276720" y="276719"/>
                          </a:lnTo>
                          <a:lnTo>
                            <a:pt x="0" y="276719"/>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04" name="Freeform: Shape 1403">
                      <a:extLst>
                        <a:ext uri="{FF2B5EF4-FFF2-40B4-BE49-F238E27FC236}">
                          <a16:creationId xmlns:a16="http://schemas.microsoft.com/office/drawing/2014/main" id="{95B9A7D4-9AD3-4607-BA3B-DF87CC67231C}"/>
                        </a:ext>
                      </a:extLst>
                    </p:cNvPr>
                    <p:cNvSpPr/>
                    <p:nvPr/>
                  </p:nvSpPr>
                  <p:spPr>
                    <a:xfrm>
                      <a:off x="10262085" y="10557851"/>
                      <a:ext cx="315752" cy="79444"/>
                    </a:xfrm>
                    <a:custGeom>
                      <a:avLst/>
                      <a:gdLst>
                        <a:gd name="connsiteX0" fmla="*/ 315753 w 315752"/>
                        <a:gd name="connsiteY0" fmla="*/ 0 h 79444"/>
                        <a:gd name="connsiteX1" fmla="*/ 39053 w 315752"/>
                        <a:gd name="connsiteY1" fmla="*/ 0 h 79444"/>
                        <a:gd name="connsiteX2" fmla="*/ 0 w 315752"/>
                        <a:gd name="connsiteY2" fmla="*/ 79445 h 79444"/>
                        <a:gd name="connsiteX3" fmla="*/ 276719 w 315752"/>
                        <a:gd name="connsiteY3" fmla="*/ 79445 h 79444"/>
                        <a:gd name="connsiteX4" fmla="*/ 315753 w 315752"/>
                        <a:gd name="connsiteY4" fmla="*/ 0 h 79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52" h="79444">
                          <a:moveTo>
                            <a:pt x="315753" y="0"/>
                          </a:moveTo>
                          <a:lnTo>
                            <a:pt x="39053" y="0"/>
                          </a:lnTo>
                          <a:lnTo>
                            <a:pt x="0" y="79445"/>
                          </a:lnTo>
                          <a:lnTo>
                            <a:pt x="276719" y="79445"/>
                          </a:lnTo>
                          <a:lnTo>
                            <a:pt x="315753" y="0"/>
                          </a:lnTo>
                          <a:close/>
                        </a:path>
                      </a:pathLst>
                    </a:custGeom>
                    <a:solidFill>
                      <a:srgbClr val="FFD2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05" name="Freeform: Shape 1404">
                      <a:extLst>
                        <a:ext uri="{FF2B5EF4-FFF2-40B4-BE49-F238E27FC236}">
                          <a16:creationId xmlns:a16="http://schemas.microsoft.com/office/drawing/2014/main" id="{8AAD103E-7A74-4F4B-80EF-CB47526C45CB}"/>
                        </a:ext>
                      </a:extLst>
                    </p:cNvPr>
                    <p:cNvSpPr/>
                    <p:nvPr/>
                  </p:nvSpPr>
                  <p:spPr>
                    <a:xfrm>
                      <a:off x="10077828" y="10557851"/>
                      <a:ext cx="315772" cy="79444"/>
                    </a:xfrm>
                    <a:custGeom>
                      <a:avLst/>
                      <a:gdLst>
                        <a:gd name="connsiteX0" fmla="*/ 0 w 315772"/>
                        <a:gd name="connsiteY0" fmla="*/ 0 h 79444"/>
                        <a:gd name="connsiteX1" fmla="*/ 250369 w 315772"/>
                        <a:gd name="connsiteY1" fmla="*/ 0 h 79444"/>
                        <a:gd name="connsiteX2" fmla="*/ 288341 w 315772"/>
                        <a:gd name="connsiteY2" fmla="*/ 23637 h 79444"/>
                        <a:gd name="connsiteX3" fmla="*/ 315773 w 315772"/>
                        <a:gd name="connsiteY3" fmla="*/ 79445 h 79444"/>
                        <a:gd name="connsiteX4" fmla="*/ 39054 w 315772"/>
                        <a:gd name="connsiteY4" fmla="*/ 79445 h 79444"/>
                        <a:gd name="connsiteX5" fmla="*/ 0 w 315772"/>
                        <a:gd name="connsiteY5" fmla="*/ 0 h 7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 h="79444">
                          <a:moveTo>
                            <a:pt x="0" y="0"/>
                          </a:moveTo>
                          <a:lnTo>
                            <a:pt x="250369" y="0"/>
                          </a:lnTo>
                          <a:cubicBezTo>
                            <a:pt x="266494" y="0"/>
                            <a:pt x="281223" y="9164"/>
                            <a:pt x="288341" y="23637"/>
                          </a:cubicBezTo>
                          <a:lnTo>
                            <a:pt x="315773" y="79445"/>
                          </a:lnTo>
                          <a:lnTo>
                            <a:pt x="39054" y="79445"/>
                          </a:lnTo>
                          <a:lnTo>
                            <a:pt x="0" y="0"/>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06" name="Freeform: Shape 1405">
                      <a:extLst>
                        <a:ext uri="{FF2B5EF4-FFF2-40B4-BE49-F238E27FC236}">
                          <a16:creationId xmlns:a16="http://schemas.microsoft.com/office/drawing/2014/main" id="{2A509D66-32DF-4ED3-9434-27FC1F99468B}"/>
                        </a:ext>
                      </a:extLst>
                    </p:cNvPr>
                    <p:cNvSpPr/>
                    <p:nvPr/>
                  </p:nvSpPr>
                  <p:spPr>
                    <a:xfrm rot="10800000">
                      <a:off x="10393699" y="10637296"/>
                      <a:ext cx="145202" cy="276719"/>
                    </a:xfrm>
                    <a:custGeom>
                      <a:avLst/>
                      <a:gdLst>
                        <a:gd name="connsiteX0" fmla="*/ 0 w 145202"/>
                        <a:gd name="connsiteY0" fmla="*/ 0 h 276719"/>
                        <a:gd name="connsiteX1" fmla="*/ 145203 w 145202"/>
                        <a:gd name="connsiteY1" fmla="*/ 0 h 276719"/>
                        <a:gd name="connsiteX2" fmla="*/ 145203 w 145202"/>
                        <a:gd name="connsiteY2" fmla="*/ 276719 h 276719"/>
                        <a:gd name="connsiteX3" fmla="*/ 0 w 145202"/>
                        <a:gd name="connsiteY3" fmla="*/ 276719 h 276719"/>
                      </a:gdLst>
                      <a:ahLst/>
                      <a:cxnLst>
                        <a:cxn ang="0">
                          <a:pos x="connsiteX0" y="connsiteY0"/>
                        </a:cxn>
                        <a:cxn ang="0">
                          <a:pos x="connsiteX1" y="connsiteY1"/>
                        </a:cxn>
                        <a:cxn ang="0">
                          <a:pos x="connsiteX2" y="connsiteY2"/>
                        </a:cxn>
                        <a:cxn ang="0">
                          <a:pos x="connsiteX3" y="connsiteY3"/>
                        </a:cxn>
                      </a:cxnLst>
                      <a:rect l="l" t="t" r="r" b="b"/>
                      <a:pathLst>
                        <a:path w="145202" h="276719">
                          <a:moveTo>
                            <a:pt x="0" y="0"/>
                          </a:moveTo>
                          <a:lnTo>
                            <a:pt x="145203" y="0"/>
                          </a:lnTo>
                          <a:lnTo>
                            <a:pt x="145203" y="276719"/>
                          </a:lnTo>
                          <a:lnTo>
                            <a:pt x="0" y="276719"/>
                          </a:lnTo>
                          <a:close/>
                        </a:path>
                      </a:pathLst>
                    </a:custGeom>
                    <a:solidFill>
                      <a:srgbClr val="FFDD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388" name="Graphic 10">
                    <a:extLst>
                      <a:ext uri="{FF2B5EF4-FFF2-40B4-BE49-F238E27FC236}">
                        <a16:creationId xmlns:a16="http://schemas.microsoft.com/office/drawing/2014/main" id="{54F4CC1F-73AD-4587-8C62-E2C284AA63A9}"/>
                      </a:ext>
                    </a:extLst>
                  </p:cNvPr>
                  <p:cNvGrpSpPr/>
                  <p:nvPr/>
                </p:nvGrpSpPr>
                <p:grpSpPr>
                  <a:xfrm>
                    <a:off x="3481504" y="10579954"/>
                    <a:ext cx="500009" cy="356163"/>
                    <a:chOff x="3481504" y="10579954"/>
                    <a:chExt cx="500009" cy="356163"/>
                  </a:xfrm>
                </p:grpSpPr>
                <p:sp>
                  <p:nvSpPr>
                    <p:cNvPr id="1399" name="Freeform: Shape 1398">
                      <a:extLst>
                        <a:ext uri="{FF2B5EF4-FFF2-40B4-BE49-F238E27FC236}">
                          <a16:creationId xmlns:a16="http://schemas.microsoft.com/office/drawing/2014/main" id="{DF20B1F6-D811-4E6B-82D3-6B30B81DEC30}"/>
                        </a:ext>
                      </a:extLst>
                    </p:cNvPr>
                    <p:cNvSpPr/>
                    <p:nvPr/>
                  </p:nvSpPr>
                  <p:spPr>
                    <a:xfrm>
                      <a:off x="3665859" y="10659399"/>
                      <a:ext cx="276719" cy="276719"/>
                    </a:xfrm>
                    <a:custGeom>
                      <a:avLst/>
                      <a:gdLst>
                        <a:gd name="connsiteX0" fmla="*/ 0 w 276719"/>
                        <a:gd name="connsiteY0" fmla="*/ 0 h 276719"/>
                        <a:gd name="connsiteX1" fmla="*/ 276719 w 276719"/>
                        <a:gd name="connsiteY1" fmla="*/ 0 h 276719"/>
                        <a:gd name="connsiteX2" fmla="*/ 276719 w 276719"/>
                        <a:gd name="connsiteY2" fmla="*/ 276719 h 276719"/>
                        <a:gd name="connsiteX3" fmla="*/ 0 w 276719"/>
                        <a:gd name="connsiteY3" fmla="*/ 276719 h 276719"/>
                      </a:gdLst>
                      <a:ahLst/>
                      <a:cxnLst>
                        <a:cxn ang="0">
                          <a:pos x="connsiteX0" y="connsiteY0"/>
                        </a:cxn>
                        <a:cxn ang="0">
                          <a:pos x="connsiteX1" y="connsiteY1"/>
                        </a:cxn>
                        <a:cxn ang="0">
                          <a:pos x="connsiteX2" y="connsiteY2"/>
                        </a:cxn>
                        <a:cxn ang="0">
                          <a:pos x="connsiteX3" y="connsiteY3"/>
                        </a:cxn>
                      </a:cxnLst>
                      <a:rect l="l" t="t" r="r" b="b"/>
                      <a:pathLst>
                        <a:path w="276719" h="276719">
                          <a:moveTo>
                            <a:pt x="0" y="0"/>
                          </a:moveTo>
                          <a:lnTo>
                            <a:pt x="276719" y="0"/>
                          </a:lnTo>
                          <a:lnTo>
                            <a:pt x="276719" y="276719"/>
                          </a:lnTo>
                          <a:lnTo>
                            <a:pt x="0" y="276719"/>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00" name="Freeform: Shape 1399">
                      <a:extLst>
                        <a:ext uri="{FF2B5EF4-FFF2-40B4-BE49-F238E27FC236}">
                          <a16:creationId xmlns:a16="http://schemas.microsoft.com/office/drawing/2014/main" id="{63429BFD-52AD-4F8E-8A93-A5610C8B3657}"/>
                        </a:ext>
                      </a:extLst>
                    </p:cNvPr>
                    <p:cNvSpPr/>
                    <p:nvPr/>
                  </p:nvSpPr>
                  <p:spPr>
                    <a:xfrm>
                      <a:off x="3481504" y="10579954"/>
                      <a:ext cx="315753" cy="79444"/>
                    </a:xfrm>
                    <a:custGeom>
                      <a:avLst/>
                      <a:gdLst>
                        <a:gd name="connsiteX0" fmla="*/ 0 w 315753"/>
                        <a:gd name="connsiteY0" fmla="*/ 0 h 79444"/>
                        <a:gd name="connsiteX1" fmla="*/ 276700 w 315753"/>
                        <a:gd name="connsiteY1" fmla="*/ 0 h 79444"/>
                        <a:gd name="connsiteX2" fmla="*/ 315753 w 315753"/>
                        <a:gd name="connsiteY2" fmla="*/ 79445 h 79444"/>
                        <a:gd name="connsiteX3" fmla="*/ 39034 w 315753"/>
                        <a:gd name="connsiteY3" fmla="*/ 79445 h 79444"/>
                        <a:gd name="connsiteX4" fmla="*/ 0 w 315753"/>
                        <a:gd name="connsiteY4" fmla="*/ 0 h 79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53" h="79444">
                          <a:moveTo>
                            <a:pt x="0" y="0"/>
                          </a:moveTo>
                          <a:lnTo>
                            <a:pt x="276700" y="0"/>
                          </a:lnTo>
                          <a:lnTo>
                            <a:pt x="315753" y="79445"/>
                          </a:lnTo>
                          <a:lnTo>
                            <a:pt x="39034" y="79445"/>
                          </a:lnTo>
                          <a:lnTo>
                            <a:pt x="0" y="0"/>
                          </a:lnTo>
                          <a:close/>
                        </a:path>
                      </a:pathLst>
                    </a:custGeom>
                    <a:solidFill>
                      <a:srgbClr val="FFD2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01" name="Freeform: Shape 1400">
                      <a:extLst>
                        <a:ext uri="{FF2B5EF4-FFF2-40B4-BE49-F238E27FC236}">
                          <a16:creationId xmlns:a16="http://schemas.microsoft.com/office/drawing/2014/main" id="{8FC842C5-206A-46DE-A0D5-3565210D4F40}"/>
                        </a:ext>
                      </a:extLst>
                    </p:cNvPr>
                    <p:cNvSpPr/>
                    <p:nvPr/>
                  </p:nvSpPr>
                  <p:spPr>
                    <a:xfrm>
                      <a:off x="3665741" y="10579954"/>
                      <a:ext cx="315772" cy="79444"/>
                    </a:xfrm>
                    <a:custGeom>
                      <a:avLst/>
                      <a:gdLst>
                        <a:gd name="connsiteX0" fmla="*/ 315773 w 315772"/>
                        <a:gd name="connsiteY0" fmla="*/ 0 h 79444"/>
                        <a:gd name="connsiteX1" fmla="*/ 65404 w 315772"/>
                        <a:gd name="connsiteY1" fmla="*/ 0 h 79444"/>
                        <a:gd name="connsiteX2" fmla="*/ 27432 w 315772"/>
                        <a:gd name="connsiteY2" fmla="*/ 23637 h 79444"/>
                        <a:gd name="connsiteX3" fmla="*/ 0 w 315772"/>
                        <a:gd name="connsiteY3" fmla="*/ 79445 h 79444"/>
                        <a:gd name="connsiteX4" fmla="*/ 276719 w 315772"/>
                        <a:gd name="connsiteY4" fmla="*/ 79445 h 79444"/>
                        <a:gd name="connsiteX5" fmla="*/ 315773 w 315772"/>
                        <a:gd name="connsiteY5" fmla="*/ 0 h 7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 h="79444">
                          <a:moveTo>
                            <a:pt x="315773" y="0"/>
                          </a:moveTo>
                          <a:lnTo>
                            <a:pt x="65404" y="0"/>
                          </a:lnTo>
                          <a:cubicBezTo>
                            <a:pt x="49279" y="0"/>
                            <a:pt x="34550" y="9164"/>
                            <a:pt x="27432" y="23637"/>
                          </a:cubicBezTo>
                          <a:lnTo>
                            <a:pt x="0" y="79445"/>
                          </a:lnTo>
                          <a:lnTo>
                            <a:pt x="276719" y="79445"/>
                          </a:lnTo>
                          <a:lnTo>
                            <a:pt x="315773" y="0"/>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02" name="Freeform: Shape 1401">
                      <a:extLst>
                        <a:ext uri="{FF2B5EF4-FFF2-40B4-BE49-F238E27FC236}">
                          <a16:creationId xmlns:a16="http://schemas.microsoft.com/office/drawing/2014/main" id="{115F3521-E8E2-4829-83AB-896A1B1620A3}"/>
                        </a:ext>
                      </a:extLst>
                    </p:cNvPr>
                    <p:cNvSpPr/>
                    <p:nvPr/>
                  </p:nvSpPr>
                  <p:spPr>
                    <a:xfrm>
                      <a:off x="3520538" y="10659399"/>
                      <a:ext cx="145202" cy="276719"/>
                    </a:xfrm>
                    <a:custGeom>
                      <a:avLst/>
                      <a:gdLst>
                        <a:gd name="connsiteX0" fmla="*/ 0 w 145202"/>
                        <a:gd name="connsiteY0" fmla="*/ 0 h 276719"/>
                        <a:gd name="connsiteX1" fmla="*/ 145203 w 145202"/>
                        <a:gd name="connsiteY1" fmla="*/ 0 h 276719"/>
                        <a:gd name="connsiteX2" fmla="*/ 145203 w 145202"/>
                        <a:gd name="connsiteY2" fmla="*/ 276719 h 276719"/>
                        <a:gd name="connsiteX3" fmla="*/ 0 w 145202"/>
                        <a:gd name="connsiteY3" fmla="*/ 276719 h 276719"/>
                      </a:gdLst>
                      <a:ahLst/>
                      <a:cxnLst>
                        <a:cxn ang="0">
                          <a:pos x="connsiteX0" y="connsiteY0"/>
                        </a:cxn>
                        <a:cxn ang="0">
                          <a:pos x="connsiteX1" y="connsiteY1"/>
                        </a:cxn>
                        <a:cxn ang="0">
                          <a:pos x="connsiteX2" y="connsiteY2"/>
                        </a:cxn>
                        <a:cxn ang="0">
                          <a:pos x="connsiteX3" y="connsiteY3"/>
                        </a:cxn>
                      </a:cxnLst>
                      <a:rect l="l" t="t" r="r" b="b"/>
                      <a:pathLst>
                        <a:path w="145202" h="276719">
                          <a:moveTo>
                            <a:pt x="0" y="0"/>
                          </a:moveTo>
                          <a:lnTo>
                            <a:pt x="145203" y="0"/>
                          </a:lnTo>
                          <a:lnTo>
                            <a:pt x="145203" y="276719"/>
                          </a:lnTo>
                          <a:lnTo>
                            <a:pt x="0" y="276719"/>
                          </a:lnTo>
                          <a:close/>
                        </a:path>
                      </a:pathLst>
                    </a:custGeom>
                    <a:solidFill>
                      <a:srgbClr val="FFDD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389" name="Graphic 10">
                    <a:extLst>
                      <a:ext uri="{FF2B5EF4-FFF2-40B4-BE49-F238E27FC236}">
                        <a16:creationId xmlns:a16="http://schemas.microsoft.com/office/drawing/2014/main" id="{65AEE591-F75D-4E75-9042-11D20373D82D}"/>
                      </a:ext>
                    </a:extLst>
                  </p:cNvPr>
                  <p:cNvGrpSpPr/>
                  <p:nvPr/>
                </p:nvGrpSpPr>
                <p:grpSpPr>
                  <a:xfrm>
                    <a:off x="1726505" y="10579954"/>
                    <a:ext cx="500029" cy="356163"/>
                    <a:chOff x="1726505" y="10579954"/>
                    <a:chExt cx="500029" cy="356163"/>
                  </a:xfrm>
                </p:grpSpPr>
                <p:sp>
                  <p:nvSpPr>
                    <p:cNvPr id="1395" name="Freeform: Shape 1394">
                      <a:extLst>
                        <a:ext uri="{FF2B5EF4-FFF2-40B4-BE49-F238E27FC236}">
                          <a16:creationId xmlns:a16="http://schemas.microsoft.com/office/drawing/2014/main" id="{1E5B56E8-CBA0-4BC2-9529-74369553E931}"/>
                        </a:ext>
                      </a:extLst>
                    </p:cNvPr>
                    <p:cNvSpPr/>
                    <p:nvPr/>
                  </p:nvSpPr>
                  <p:spPr>
                    <a:xfrm>
                      <a:off x="1910860" y="10659399"/>
                      <a:ext cx="276719" cy="276719"/>
                    </a:xfrm>
                    <a:custGeom>
                      <a:avLst/>
                      <a:gdLst>
                        <a:gd name="connsiteX0" fmla="*/ 0 w 276719"/>
                        <a:gd name="connsiteY0" fmla="*/ 0 h 276719"/>
                        <a:gd name="connsiteX1" fmla="*/ 276719 w 276719"/>
                        <a:gd name="connsiteY1" fmla="*/ 0 h 276719"/>
                        <a:gd name="connsiteX2" fmla="*/ 276719 w 276719"/>
                        <a:gd name="connsiteY2" fmla="*/ 276719 h 276719"/>
                        <a:gd name="connsiteX3" fmla="*/ 0 w 276719"/>
                        <a:gd name="connsiteY3" fmla="*/ 276719 h 276719"/>
                      </a:gdLst>
                      <a:ahLst/>
                      <a:cxnLst>
                        <a:cxn ang="0">
                          <a:pos x="connsiteX0" y="connsiteY0"/>
                        </a:cxn>
                        <a:cxn ang="0">
                          <a:pos x="connsiteX1" y="connsiteY1"/>
                        </a:cxn>
                        <a:cxn ang="0">
                          <a:pos x="connsiteX2" y="connsiteY2"/>
                        </a:cxn>
                        <a:cxn ang="0">
                          <a:pos x="connsiteX3" y="connsiteY3"/>
                        </a:cxn>
                      </a:cxnLst>
                      <a:rect l="l" t="t" r="r" b="b"/>
                      <a:pathLst>
                        <a:path w="276719" h="276719">
                          <a:moveTo>
                            <a:pt x="0" y="0"/>
                          </a:moveTo>
                          <a:lnTo>
                            <a:pt x="276719" y="0"/>
                          </a:lnTo>
                          <a:lnTo>
                            <a:pt x="276719" y="276719"/>
                          </a:lnTo>
                          <a:lnTo>
                            <a:pt x="0" y="276719"/>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96" name="Freeform: Shape 1395">
                      <a:extLst>
                        <a:ext uri="{FF2B5EF4-FFF2-40B4-BE49-F238E27FC236}">
                          <a16:creationId xmlns:a16="http://schemas.microsoft.com/office/drawing/2014/main" id="{B151DD80-7AF0-4649-A1BC-6F0593023667}"/>
                        </a:ext>
                      </a:extLst>
                    </p:cNvPr>
                    <p:cNvSpPr/>
                    <p:nvPr/>
                  </p:nvSpPr>
                  <p:spPr>
                    <a:xfrm>
                      <a:off x="1726505" y="10579954"/>
                      <a:ext cx="315772" cy="79444"/>
                    </a:xfrm>
                    <a:custGeom>
                      <a:avLst/>
                      <a:gdLst>
                        <a:gd name="connsiteX0" fmla="*/ 0 w 315772"/>
                        <a:gd name="connsiteY0" fmla="*/ 0 h 79444"/>
                        <a:gd name="connsiteX1" fmla="*/ 276719 w 315772"/>
                        <a:gd name="connsiteY1" fmla="*/ 0 h 79444"/>
                        <a:gd name="connsiteX2" fmla="*/ 315773 w 315772"/>
                        <a:gd name="connsiteY2" fmla="*/ 79445 h 79444"/>
                        <a:gd name="connsiteX3" fmla="*/ 39054 w 315772"/>
                        <a:gd name="connsiteY3" fmla="*/ 79445 h 79444"/>
                        <a:gd name="connsiteX4" fmla="*/ 0 w 315772"/>
                        <a:gd name="connsiteY4" fmla="*/ 0 h 79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72" h="79444">
                          <a:moveTo>
                            <a:pt x="0" y="0"/>
                          </a:moveTo>
                          <a:lnTo>
                            <a:pt x="276719" y="0"/>
                          </a:lnTo>
                          <a:lnTo>
                            <a:pt x="315773" y="79445"/>
                          </a:lnTo>
                          <a:lnTo>
                            <a:pt x="39054" y="79445"/>
                          </a:lnTo>
                          <a:lnTo>
                            <a:pt x="0" y="0"/>
                          </a:lnTo>
                          <a:close/>
                        </a:path>
                      </a:pathLst>
                    </a:custGeom>
                    <a:solidFill>
                      <a:srgbClr val="FFD2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97" name="Freeform: Shape 1396">
                      <a:extLst>
                        <a:ext uri="{FF2B5EF4-FFF2-40B4-BE49-F238E27FC236}">
                          <a16:creationId xmlns:a16="http://schemas.microsoft.com/office/drawing/2014/main" id="{67B18D47-7994-4070-9BAE-C0993BC0CBBD}"/>
                        </a:ext>
                      </a:extLst>
                    </p:cNvPr>
                    <p:cNvSpPr/>
                    <p:nvPr/>
                  </p:nvSpPr>
                  <p:spPr>
                    <a:xfrm>
                      <a:off x="1910761" y="10579954"/>
                      <a:ext cx="315772" cy="79444"/>
                    </a:xfrm>
                    <a:custGeom>
                      <a:avLst/>
                      <a:gdLst>
                        <a:gd name="connsiteX0" fmla="*/ 315773 w 315772"/>
                        <a:gd name="connsiteY0" fmla="*/ 0 h 79444"/>
                        <a:gd name="connsiteX1" fmla="*/ 65404 w 315772"/>
                        <a:gd name="connsiteY1" fmla="*/ 0 h 79444"/>
                        <a:gd name="connsiteX2" fmla="*/ 27432 w 315772"/>
                        <a:gd name="connsiteY2" fmla="*/ 23637 h 79444"/>
                        <a:gd name="connsiteX3" fmla="*/ 0 w 315772"/>
                        <a:gd name="connsiteY3" fmla="*/ 79445 h 79444"/>
                        <a:gd name="connsiteX4" fmla="*/ 276719 w 315772"/>
                        <a:gd name="connsiteY4" fmla="*/ 79445 h 79444"/>
                        <a:gd name="connsiteX5" fmla="*/ 315773 w 315772"/>
                        <a:gd name="connsiteY5" fmla="*/ 0 h 7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 h="79444">
                          <a:moveTo>
                            <a:pt x="315773" y="0"/>
                          </a:moveTo>
                          <a:lnTo>
                            <a:pt x="65404" y="0"/>
                          </a:lnTo>
                          <a:cubicBezTo>
                            <a:pt x="49279" y="0"/>
                            <a:pt x="34551" y="9164"/>
                            <a:pt x="27432" y="23637"/>
                          </a:cubicBezTo>
                          <a:lnTo>
                            <a:pt x="0" y="79445"/>
                          </a:lnTo>
                          <a:lnTo>
                            <a:pt x="276719" y="79445"/>
                          </a:lnTo>
                          <a:lnTo>
                            <a:pt x="315773" y="0"/>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98" name="Freeform: Shape 1397">
                      <a:extLst>
                        <a:ext uri="{FF2B5EF4-FFF2-40B4-BE49-F238E27FC236}">
                          <a16:creationId xmlns:a16="http://schemas.microsoft.com/office/drawing/2014/main" id="{BA2293E5-FC36-408D-A673-CE0F366A013F}"/>
                        </a:ext>
                      </a:extLst>
                    </p:cNvPr>
                    <p:cNvSpPr/>
                    <p:nvPr/>
                  </p:nvSpPr>
                  <p:spPr>
                    <a:xfrm>
                      <a:off x="1765558" y="10659399"/>
                      <a:ext cx="145202" cy="276719"/>
                    </a:xfrm>
                    <a:custGeom>
                      <a:avLst/>
                      <a:gdLst>
                        <a:gd name="connsiteX0" fmla="*/ 0 w 145202"/>
                        <a:gd name="connsiteY0" fmla="*/ 0 h 276719"/>
                        <a:gd name="connsiteX1" fmla="*/ 145203 w 145202"/>
                        <a:gd name="connsiteY1" fmla="*/ 0 h 276719"/>
                        <a:gd name="connsiteX2" fmla="*/ 145203 w 145202"/>
                        <a:gd name="connsiteY2" fmla="*/ 276719 h 276719"/>
                        <a:gd name="connsiteX3" fmla="*/ 0 w 145202"/>
                        <a:gd name="connsiteY3" fmla="*/ 276719 h 276719"/>
                      </a:gdLst>
                      <a:ahLst/>
                      <a:cxnLst>
                        <a:cxn ang="0">
                          <a:pos x="connsiteX0" y="connsiteY0"/>
                        </a:cxn>
                        <a:cxn ang="0">
                          <a:pos x="connsiteX1" y="connsiteY1"/>
                        </a:cxn>
                        <a:cxn ang="0">
                          <a:pos x="connsiteX2" y="connsiteY2"/>
                        </a:cxn>
                        <a:cxn ang="0">
                          <a:pos x="connsiteX3" y="connsiteY3"/>
                        </a:cxn>
                      </a:cxnLst>
                      <a:rect l="l" t="t" r="r" b="b"/>
                      <a:pathLst>
                        <a:path w="145202" h="276719">
                          <a:moveTo>
                            <a:pt x="0" y="0"/>
                          </a:moveTo>
                          <a:lnTo>
                            <a:pt x="145203" y="0"/>
                          </a:lnTo>
                          <a:lnTo>
                            <a:pt x="145203" y="276719"/>
                          </a:lnTo>
                          <a:lnTo>
                            <a:pt x="0" y="276719"/>
                          </a:lnTo>
                          <a:close/>
                        </a:path>
                      </a:pathLst>
                    </a:custGeom>
                    <a:solidFill>
                      <a:srgbClr val="FFDD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390" name="Graphic 10">
                    <a:extLst>
                      <a:ext uri="{FF2B5EF4-FFF2-40B4-BE49-F238E27FC236}">
                        <a16:creationId xmlns:a16="http://schemas.microsoft.com/office/drawing/2014/main" id="{48F22708-F712-46C7-B96C-B8E8B9BD4E6F}"/>
                      </a:ext>
                    </a:extLst>
                  </p:cNvPr>
                  <p:cNvGrpSpPr/>
                  <p:nvPr/>
                </p:nvGrpSpPr>
                <p:grpSpPr>
                  <a:xfrm>
                    <a:off x="4347785" y="10579954"/>
                    <a:ext cx="500009" cy="356163"/>
                    <a:chOff x="4347785" y="10579954"/>
                    <a:chExt cx="500009" cy="356163"/>
                  </a:xfrm>
                </p:grpSpPr>
                <p:sp>
                  <p:nvSpPr>
                    <p:cNvPr id="1391" name="Freeform: Shape 1390">
                      <a:extLst>
                        <a:ext uri="{FF2B5EF4-FFF2-40B4-BE49-F238E27FC236}">
                          <a16:creationId xmlns:a16="http://schemas.microsoft.com/office/drawing/2014/main" id="{6C192E43-DE45-4AC9-B91A-EFBF70B6FFD0}"/>
                        </a:ext>
                      </a:extLst>
                    </p:cNvPr>
                    <p:cNvSpPr/>
                    <p:nvPr/>
                  </p:nvSpPr>
                  <p:spPr>
                    <a:xfrm>
                      <a:off x="4532140" y="10659399"/>
                      <a:ext cx="276719" cy="276719"/>
                    </a:xfrm>
                    <a:custGeom>
                      <a:avLst/>
                      <a:gdLst>
                        <a:gd name="connsiteX0" fmla="*/ 0 w 276719"/>
                        <a:gd name="connsiteY0" fmla="*/ 0 h 276719"/>
                        <a:gd name="connsiteX1" fmla="*/ 276719 w 276719"/>
                        <a:gd name="connsiteY1" fmla="*/ 0 h 276719"/>
                        <a:gd name="connsiteX2" fmla="*/ 276719 w 276719"/>
                        <a:gd name="connsiteY2" fmla="*/ 276719 h 276719"/>
                        <a:gd name="connsiteX3" fmla="*/ 0 w 276719"/>
                        <a:gd name="connsiteY3" fmla="*/ 276719 h 276719"/>
                      </a:gdLst>
                      <a:ahLst/>
                      <a:cxnLst>
                        <a:cxn ang="0">
                          <a:pos x="connsiteX0" y="connsiteY0"/>
                        </a:cxn>
                        <a:cxn ang="0">
                          <a:pos x="connsiteX1" y="connsiteY1"/>
                        </a:cxn>
                        <a:cxn ang="0">
                          <a:pos x="connsiteX2" y="connsiteY2"/>
                        </a:cxn>
                        <a:cxn ang="0">
                          <a:pos x="connsiteX3" y="connsiteY3"/>
                        </a:cxn>
                      </a:cxnLst>
                      <a:rect l="l" t="t" r="r" b="b"/>
                      <a:pathLst>
                        <a:path w="276719" h="276719">
                          <a:moveTo>
                            <a:pt x="0" y="0"/>
                          </a:moveTo>
                          <a:lnTo>
                            <a:pt x="276719" y="0"/>
                          </a:lnTo>
                          <a:lnTo>
                            <a:pt x="276719" y="276719"/>
                          </a:lnTo>
                          <a:lnTo>
                            <a:pt x="0" y="276719"/>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92" name="Freeform: Shape 1391">
                      <a:extLst>
                        <a:ext uri="{FF2B5EF4-FFF2-40B4-BE49-F238E27FC236}">
                          <a16:creationId xmlns:a16="http://schemas.microsoft.com/office/drawing/2014/main" id="{507E3E0B-2065-4449-9336-63A41612243D}"/>
                        </a:ext>
                      </a:extLst>
                    </p:cNvPr>
                    <p:cNvSpPr/>
                    <p:nvPr/>
                  </p:nvSpPr>
                  <p:spPr>
                    <a:xfrm>
                      <a:off x="4347785" y="10579954"/>
                      <a:ext cx="315753" cy="79444"/>
                    </a:xfrm>
                    <a:custGeom>
                      <a:avLst/>
                      <a:gdLst>
                        <a:gd name="connsiteX0" fmla="*/ 0 w 315753"/>
                        <a:gd name="connsiteY0" fmla="*/ 0 h 79444"/>
                        <a:gd name="connsiteX1" fmla="*/ 276699 w 315753"/>
                        <a:gd name="connsiteY1" fmla="*/ 0 h 79444"/>
                        <a:gd name="connsiteX2" fmla="*/ 315753 w 315753"/>
                        <a:gd name="connsiteY2" fmla="*/ 79445 h 79444"/>
                        <a:gd name="connsiteX3" fmla="*/ 39034 w 315753"/>
                        <a:gd name="connsiteY3" fmla="*/ 79445 h 79444"/>
                        <a:gd name="connsiteX4" fmla="*/ 0 w 315753"/>
                        <a:gd name="connsiteY4" fmla="*/ 0 h 79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53" h="79444">
                          <a:moveTo>
                            <a:pt x="0" y="0"/>
                          </a:moveTo>
                          <a:lnTo>
                            <a:pt x="276699" y="0"/>
                          </a:lnTo>
                          <a:lnTo>
                            <a:pt x="315753" y="79445"/>
                          </a:lnTo>
                          <a:lnTo>
                            <a:pt x="39034" y="79445"/>
                          </a:lnTo>
                          <a:lnTo>
                            <a:pt x="0" y="0"/>
                          </a:lnTo>
                          <a:close/>
                        </a:path>
                      </a:pathLst>
                    </a:custGeom>
                    <a:solidFill>
                      <a:srgbClr val="FFD2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93" name="Freeform: Shape 1392">
                      <a:extLst>
                        <a:ext uri="{FF2B5EF4-FFF2-40B4-BE49-F238E27FC236}">
                          <a16:creationId xmlns:a16="http://schemas.microsoft.com/office/drawing/2014/main" id="{2F0D55D7-5084-41DF-B24F-6B310A5819C5}"/>
                        </a:ext>
                      </a:extLst>
                    </p:cNvPr>
                    <p:cNvSpPr/>
                    <p:nvPr/>
                  </p:nvSpPr>
                  <p:spPr>
                    <a:xfrm>
                      <a:off x="4532021" y="10579954"/>
                      <a:ext cx="315772" cy="79444"/>
                    </a:xfrm>
                    <a:custGeom>
                      <a:avLst/>
                      <a:gdLst>
                        <a:gd name="connsiteX0" fmla="*/ 315773 w 315772"/>
                        <a:gd name="connsiteY0" fmla="*/ 0 h 79444"/>
                        <a:gd name="connsiteX1" fmla="*/ 65404 w 315772"/>
                        <a:gd name="connsiteY1" fmla="*/ 0 h 79444"/>
                        <a:gd name="connsiteX2" fmla="*/ 27432 w 315772"/>
                        <a:gd name="connsiteY2" fmla="*/ 23637 h 79444"/>
                        <a:gd name="connsiteX3" fmla="*/ 0 w 315772"/>
                        <a:gd name="connsiteY3" fmla="*/ 79445 h 79444"/>
                        <a:gd name="connsiteX4" fmla="*/ 276719 w 315772"/>
                        <a:gd name="connsiteY4" fmla="*/ 79445 h 79444"/>
                        <a:gd name="connsiteX5" fmla="*/ 315773 w 315772"/>
                        <a:gd name="connsiteY5" fmla="*/ 0 h 7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772" h="79444">
                          <a:moveTo>
                            <a:pt x="315773" y="0"/>
                          </a:moveTo>
                          <a:lnTo>
                            <a:pt x="65404" y="0"/>
                          </a:lnTo>
                          <a:cubicBezTo>
                            <a:pt x="49279" y="0"/>
                            <a:pt x="34551" y="9164"/>
                            <a:pt x="27432" y="23637"/>
                          </a:cubicBezTo>
                          <a:lnTo>
                            <a:pt x="0" y="79445"/>
                          </a:lnTo>
                          <a:lnTo>
                            <a:pt x="276719" y="79445"/>
                          </a:lnTo>
                          <a:lnTo>
                            <a:pt x="315773" y="0"/>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94" name="Freeform: Shape 1393">
                      <a:extLst>
                        <a:ext uri="{FF2B5EF4-FFF2-40B4-BE49-F238E27FC236}">
                          <a16:creationId xmlns:a16="http://schemas.microsoft.com/office/drawing/2014/main" id="{A2CC6CAB-E31E-4547-A7F8-CE924F0E1240}"/>
                        </a:ext>
                      </a:extLst>
                    </p:cNvPr>
                    <p:cNvSpPr/>
                    <p:nvPr/>
                  </p:nvSpPr>
                  <p:spPr>
                    <a:xfrm>
                      <a:off x="4386819" y="10659399"/>
                      <a:ext cx="145202" cy="276719"/>
                    </a:xfrm>
                    <a:custGeom>
                      <a:avLst/>
                      <a:gdLst>
                        <a:gd name="connsiteX0" fmla="*/ 0 w 145202"/>
                        <a:gd name="connsiteY0" fmla="*/ 0 h 276719"/>
                        <a:gd name="connsiteX1" fmla="*/ 145203 w 145202"/>
                        <a:gd name="connsiteY1" fmla="*/ 0 h 276719"/>
                        <a:gd name="connsiteX2" fmla="*/ 145203 w 145202"/>
                        <a:gd name="connsiteY2" fmla="*/ 276719 h 276719"/>
                        <a:gd name="connsiteX3" fmla="*/ 0 w 145202"/>
                        <a:gd name="connsiteY3" fmla="*/ 276719 h 276719"/>
                      </a:gdLst>
                      <a:ahLst/>
                      <a:cxnLst>
                        <a:cxn ang="0">
                          <a:pos x="connsiteX0" y="connsiteY0"/>
                        </a:cxn>
                        <a:cxn ang="0">
                          <a:pos x="connsiteX1" y="connsiteY1"/>
                        </a:cxn>
                        <a:cxn ang="0">
                          <a:pos x="connsiteX2" y="connsiteY2"/>
                        </a:cxn>
                        <a:cxn ang="0">
                          <a:pos x="connsiteX3" y="connsiteY3"/>
                        </a:cxn>
                      </a:cxnLst>
                      <a:rect l="l" t="t" r="r" b="b"/>
                      <a:pathLst>
                        <a:path w="145202" h="276719">
                          <a:moveTo>
                            <a:pt x="0" y="0"/>
                          </a:moveTo>
                          <a:lnTo>
                            <a:pt x="145203" y="0"/>
                          </a:lnTo>
                          <a:lnTo>
                            <a:pt x="145203" y="276719"/>
                          </a:lnTo>
                          <a:lnTo>
                            <a:pt x="0" y="276719"/>
                          </a:lnTo>
                          <a:close/>
                        </a:path>
                      </a:pathLst>
                    </a:custGeom>
                    <a:solidFill>
                      <a:srgbClr val="FFDD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1381" name="Graphic 10">
                  <a:extLst>
                    <a:ext uri="{FF2B5EF4-FFF2-40B4-BE49-F238E27FC236}">
                      <a16:creationId xmlns:a16="http://schemas.microsoft.com/office/drawing/2014/main" id="{33CA0434-C97F-4A5C-AF78-827A89893C8C}"/>
                    </a:ext>
                  </a:extLst>
                </p:cNvPr>
                <p:cNvGrpSpPr/>
                <p:nvPr/>
              </p:nvGrpSpPr>
              <p:grpSpPr>
                <a:xfrm>
                  <a:off x="7150843" y="10913995"/>
                  <a:ext cx="3600788" cy="103042"/>
                  <a:chOff x="7150843" y="10913995"/>
                  <a:chExt cx="3600788" cy="103042"/>
                </a:xfrm>
              </p:grpSpPr>
              <p:sp>
                <p:nvSpPr>
                  <p:cNvPr id="1382" name="Freeform: Shape 1381">
                    <a:extLst>
                      <a:ext uri="{FF2B5EF4-FFF2-40B4-BE49-F238E27FC236}">
                        <a16:creationId xmlns:a16="http://schemas.microsoft.com/office/drawing/2014/main" id="{FA28A3B6-1D56-4A05-8FE2-07CFCF89CCF6}"/>
                      </a:ext>
                    </a:extLst>
                  </p:cNvPr>
                  <p:cNvSpPr/>
                  <p:nvPr/>
                </p:nvSpPr>
                <p:spPr>
                  <a:xfrm>
                    <a:off x="7162642" y="10913995"/>
                    <a:ext cx="3588990" cy="103042"/>
                  </a:xfrm>
                  <a:custGeom>
                    <a:avLst/>
                    <a:gdLst>
                      <a:gd name="connsiteX0" fmla="*/ 3537470 w 3588990"/>
                      <a:gd name="connsiteY0" fmla="*/ 20 h 103042"/>
                      <a:gd name="connsiteX1" fmla="*/ 0 w 3588990"/>
                      <a:gd name="connsiteY1" fmla="*/ 20 h 103042"/>
                      <a:gd name="connsiteX2" fmla="*/ 0 w 3588990"/>
                      <a:gd name="connsiteY2" fmla="*/ 103042 h 103042"/>
                      <a:gd name="connsiteX3" fmla="*/ 3537470 w 3588990"/>
                      <a:gd name="connsiteY3" fmla="*/ 103042 h 103042"/>
                      <a:gd name="connsiteX4" fmla="*/ 3588990 w 3588990"/>
                      <a:gd name="connsiteY4" fmla="*/ 51521 h 103042"/>
                      <a:gd name="connsiteX5" fmla="*/ 3537470 w 3588990"/>
                      <a:gd name="connsiteY5" fmla="*/ 0 h 10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8990" h="103042">
                        <a:moveTo>
                          <a:pt x="3537470" y="20"/>
                        </a:moveTo>
                        <a:lnTo>
                          <a:pt x="0" y="20"/>
                        </a:lnTo>
                        <a:lnTo>
                          <a:pt x="0" y="103042"/>
                        </a:lnTo>
                        <a:lnTo>
                          <a:pt x="3537470" y="103042"/>
                        </a:lnTo>
                        <a:cubicBezTo>
                          <a:pt x="3565924" y="103042"/>
                          <a:pt x="3588990" y="79975"/>
                          <a:pt x="3588990" y="51521"/>
                        </a:cubicBezTo>
                        <a:cubicBezTo>
                          <a:pt x="3588990" y="23066"/>
                          <a:pt x="3565924" y="0"/>
                          <a:pt x="3537470" y="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83" name="Freeform: Shape 1382">
                    <a:extLst>
                      <a:ext uri="{FF2B5EF4-FFF2-40B4-BE49-F238E27FC236}">
                        <a16:creationId xmlns:a16="http://schemas.microsoft.com/office/drawing/2014/main" id="{AC9DAAD9-4A40-4BAF-8877-74E65D0D6CC6}"/>
                      </a:ext>
                    </a:extLst>
                  </p:cNvPr>
                  <p:cNvSpPr/>
                  <p:nvPr/>
                </p:nvSpPr>
                <p:spPr>
                  <a:xfrm>
                    <a:off x="7150843" y="10932381"/>
                    <a:ext cx="3582422" cy="66308"/>
                  </a:xfrm>
                  <a:custGeom>
                    <a:avLst/>
                    <a:gdLst>
                      <a:gd name="connsiteX0" fmla="*/ 0 w 3582422"/>
                      <a:gd name="connsiteY0" fmla="*/ 66289 h 66308"/>
                      <a:gd name="connsiteX1" fmla="*/ 0 w 3582422"/>
                      <a:gd name="connsiteY1" fmla="*/ 0 h 66308"/>
                      <a:gd name="connsiteX2" fmla="*/ 3549269 w 3582422"/>
                      <a:gd name="connsiteY2" fmla="*/ 0 h 66308"/>
                      <a:gd name="connsiteX3" fmla="*/ 3582423 w 3582422"/>
                      <a:gd name="connsiteY3" fmla="*/ 33154 h 66308"/>
                      <a:gd name="connsiteX4" fmla="*/ 3549269 w 3582422"/>
                      <a:gd name="connsiteY4" fmla="*/ 66309 h 66308"/>
                      <a:gd name="connsiteX5" fmla="*/ 0 w 3582422"/>
                      <a:gd name="connsiteY5" fmla="*/ 66309 h 6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2422" h="66308">
                        <a:moveTo>
                          <a:pt x="0" y="66289"/>
                        </a:moveTo>
                        <a:lnTo>
                          <a:pt x="0" y="0"/>
                        </a:lnTo>
                        <a:lnTo>
                          <a:pt x="3549269" y="0"/>
                        </a:lnTo>
                        <a:cubicBezTo>
                          <a:pt x="3567537" y="0"/>
                          <a:pt x="3582423" y="14866"/>
                          <a:pt x="3582423" y="33154"/>
                        </a:cubicBezTo>
                        <a:cubicBezTo>
                          <a:pt x="3582423" y="51442"/>
                          <a:pt x="3567556" y="66309"/>
                          <a:pt x="3549269" y="66309"/>
                        </a:cubicBezTo>
                        <a:lnTo>
                          <a:pt x="0" y="66309"/>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84" name="Freeform: Shape 1383">
                    <a:extLst>
                      <a:ext uri="{FF2B5EF4-FFF2-40B4-BE49-F238E27FC236}">
                        <a16:creationId xmlns:a16="http://schemas.microsoft.com/office/drawing/2014/main" id="{C20730D0-7F02-4775-8CA6-2D00B5AF7C59}"/>
                      </a:ext>
                    </a:extLst>
                  </p:cNvPr>
                  <p:cNvSpPr/>
                  <p:nvPr/>
                </p:nvSpPr>
                <p:spPr>
                  <a:xfrm>
                    <a:off x="7196622" y="10952302"/>
                    <a:ext cx="3490864" cy="26428"/>
                  </a:xfrm>
                  <a:custGeom>
                    <a:avLst/>
                    <a:gdLst>
                      <a:gd name="connsiteX0" fmla="*/ 475134 w 3490864"/>
                      <a:gd name="connsiteY0" fmla="*/ 0 h 26428"/>
                      <a:gd name="connsiteX1" fmla="*/ 461920 w 3490864"/>
                      <a:gd name="connsiteY1" fmla="*/ 13214 h 26428"/>
                      <a:gd name="connsiteX2" fmla="*/ 475134 w 3490864"/>
                      <a:gd name="connsiteY2" fmla="*/ 26429 h 26428"/>
                      <a:gd name="connsiteX3" fmla="*/ 488349 w 3490864"/>
                      <a:gd name="connsiteY3" fmla="*/ 13214 h 26428"/>
                      <a:gd name="connsiteX4" fmla="*/ 475134 w 3490864"/>
                      <a:gd name="connsiteY4" fmla="*/ 0 h 26428"/>
                      <a:gd name="connsiteX5" fmla="*/ 244175 w 3490864"/>
                      <a:gd name="connsiteY5" fmla="*/ 0 h 26428"/>
                      <a:gd name="connsiteX6" fmla="*/ 230960 w 3490864"/>
                      <a:gd name="connsiteY6" fmla="*/ 13214 h 26428"/>
                      <a:gd name="connsiteX7" fmla="*/ 244175 w 3490864"/>
                      <a:gd name="connsiteY7" fmla="*/ 26429 h 26428"/>
                      <a:gd name="connsiteX8" fmla="*/ 257389 w 3490864"/>
                      <a:gd name="connsiteY8" fmla="*/ 13214 h 26428"/>
                      <a:gd name="connsiteX9" fmla="*/ 244175 w 3490864"/>
                      <a:gd name="connsiteY9" fmla="*/ 0 h 26428"/>
                      <a:gd name="connsiteX10" fmla="*/ 359664 w 3490864"/>
                      <a:gd name="connsiteY10" fmla="*/ 0 h 26428"/>
                      <a:gd name="connsiteX11" fmla="*/ 346449 w 3490864"/>
                      <a:gd name="connsiteY11" fmla="*/ 13214 h 26428"/>
                      <a:gd name="connsiteX12" fmla="*/ 359664 w 3490864"/>
                      <a:gd name="connsiteY12" fmla="*/ 26429 h 26428"/>
                      <a:gd name="connsiteX13" fmla="*/ 372879 w 3490864"/>
                      <a:gd name="connsiteY13" fmla="*/ 13214 h 26428"/>
                      <a:gd name="connsiteX14" fmla="*/ 359664 w 3490864"/>
                      <a:gd name="connsiteY14" fmla="*/ 0 h 26428"/>
                      <a:gd name="connsiteX15" fmla="*/ 128704 w 3490864"/>
                      <a:gd name="connsiteY15" fmla="*/ 0 h 26428"/>
                      <a:gd name="connsiteX16" fmla="*/ 115490 w 3490864"/>
                      <a:gd name="connsiteY16" fmla="*/ 13214 h 26428"/>
                      <a:gd name="connsiteX17" fmla="*/ 128704 w 3490864"/>
                      <a:gd name="connsiteY17" fmla="*/ 26429 h 26428"/>
                      <a:gd name="connsiteX18" fmla="*/ 141919 w 3490864"/>
                      <a:gd name="connsiteY18" fmla="*/ 13214 h 26428"/>
                      <a:gd name="connsiteX19" fmla="*/ 128704 w 3490864"/>
                      <a:gd name="connsiteY19" fmla="*/ 0 h 26428"/>
                      <a:gd name="connsiteX20" fmla="*/ 13214 w 3490864"/>
                      <a:gd name="connsiteY20" fmla="*/ 0 h 26428"/>
                      <a:gd name="connsiteX21" fmla="*/ 0 w 3490864"/>
                      <a:gd name="connsiteY21" fmla="*/ 13214 h 26428"/>
                      <a:gd name="connsiteX22" fmla="*/ 13214 w 3490864"/>
                      <a:gd name="connsiteY22" fmla="*/ 26429 h 26428"/>
                      <a:gd name="connsiteX23" fmla="*/ 26429 w 3490864"/>
                      <a:gd name="connsiteY23" fmla="*/ 13214 h 26428"/>
                      <a:gd name="connsiteX24" fmla="*/ 13214 w 3490864"/>
                      <a:gd name="connsiteY24" fmla="*/ 0 h 26428"/>
                      <a:gd name="connsiteX25" fmla="*/ 2784771 w 3490864"/>
                      <a:gd name="connsiteY25" fmla="*/ 0 h 26428"/>
                      <a:gd name="connsiteX26" fmla="*/ 2771557 w 3490864"/>
                      <a:gd name="connsiteY26" fmla="*/ 13214 h 26428"/>
                      <a:gd name="connsiteX27" fmla="*/ 2784771 w 3490864"/>
                      <a:gd name="connsiteY27" fmla="*/ 26429 h 26428"/>
                      <a:gd name="connsiteX28" fmla="*/ 2797986 w 3490864"/>
                      <a:gd name="connsiteY28" fmla="*/ 13214 h 26428"/>
                      <a:gd name="connsiteX29" fmla="*/ 2784771 w 3490864"/>
                      <a:gd name="connsiteY29" fmla="*/ 0 h 26428"/>
                      <a:gd name="connsiteX30" fmla="*/ 2438322 w 3490864"/>
                      <a:gd name="connsiteY30" fmla="*/ 0 h 26428"/>
                      <a:gd name="connsiteX31" fmla="*/ 2425107 w 3490864"/>
                      <a:gd name="connsiteY31" fmla="*/ 13214 h 26428"/>
                      <a:gd name="connsiteX32" fmla="*/ 2438322 w 3490864"/>
                      <a:gd name="connsiteY32" fmla="*/ 26429 h 26428"/>
                      <a:gd name="connsiteX33" fmla="*/ 2451536 w 3490864"/>
                      <a:gd name="connsiteY33" fmla="*/ 13214 h 26428"/>
                      <a:gd name="connsiteX34" fmla="*/ 2438322 w 3490864"/>
                      <a:gd name="connsiteY34" fmla="*/ 0 h 26428"/>
                      <a:gd name="connsiteX35" fmla="*/ 2669281 w 3490864"/>
                      <a:gd name="connsiteY35" fmla="*/ 0 h 26428"/>
                      <a:gd name="connsiteX36" fmla="*/ 2656067 w 3490864"/>
                      <a:gd name="connsiteY36" fmla="*/ 13214 h 26428"/>
                      <a:gd name="connsiteX37" fmla="*/ 2669281 w 3490864"/>
                      <a:gd name="connsiteY37" fmla="*/ 26429 h 26428"/>
                      <a:gd name="connsiteX38" fmla="*/ 2682496 w 3490864"/>
                      <a:gd name="connsiteY38" fmla="*/ 13214 h 26428"/>
                      <a:gd name="connsiteX39" fmla="*/ 2669281 w 3490864"/>
                      <a:gd name="connsiteY39" fmla="*/ 0 h 26428"/>
                      <a:gd name="connsiteX40" fmla="*/ 2553791 w 3490864"/>
                      <a:gd name="connsiteY40" fmla="*/ 0 h 26428"/>
                      <a:gd name="connsiteX41" fmla="*/ 2540577 w 3490864"/>
                      <a:gd name="connsiteY41" fmla="*/ 13214 h 26428"/>
                      <a:gd name="connsiteX42" fmla="*/ 2553791 w 3490864"/>
                      <a:gd name="connsiteY42" fmla="*/ 26429 h 26428"/>
                      <a:gd name="connsiteX43" fmla="*/ 2567006 w 3490864"/>
                      <a:gd name="connsiteY43" fmla="*/ 13214 h 26428"/>
                      <a:gd name="connsiteX44" fmla="*/ 2553791 w 3490864"/>
                      <a:gd name="connsiteY44" fmla="*/ 0 h 26428"/>
                      <a:gd name="connsiteX45" fmla="*/ 2207343 w 3490864"/>
                      <a:gd name="connsiteY45" fmla="*/ 0 h 26428"/>
                      <a:gd name="connsiteX46" fmla="*/ 2194128 w 3490864"/>
                      <a:gd name="connsiteY46" fmla="*/ 13214 h 26428"/>
                      <a:gd name="connsiteX47" fmla="*/ 2207343 w 3490864"/>
                      <a:gd name="connsiteY47" fmla="*/ 26429 h 26428"/>
                      <a:gd name="connsiteX48" fmla="*/ 2220557 w 3490864"/>
                      <a:gd name="connsiteY48" fmla="*/ 13214 h 26428"/>
                      <a:gd name="connsiteX49" fmla="*/ 2207343 w 3490864"/>
                      <a:gd name="connsiteY49" fmla="*/ 0 h 26428"/>
                      <a:gd name="connsiteX50" fmla="*/ 2322832 w 3490864"/>
                      <a:gd name="connsiteY50" fmla="*/ 0 h 26428"/>
                      <a:gd name="connsiteX51" fmla="*/ 2309617 w 3490864"/>
                      <a:gd name="connsiteY51" fmla="*/ 13214 h 26428"/>
                      <a:gd name="connsiteX52" fmla="*/ 2322832 w 3490864"/>
                      <a:gd name="connsiteY52" fmla="*/ 26429 h 26428"/>
                      <a:gd name="connsiteX53" fmla="*/ 2336046 w 3490864"/>
                      <a:gd name="connsiteY53" fmla="*/ 13214 h 26428"/>
                      <a:gd name="connsiteX54" fmla="*/ 2322832 w 3490864"/>
                      <a:gd name="connsiteY54" fmla="*/ 0 h 26428"/>
                      <a:gd name="connsiteX55" fmla="*/ 3015711 w 3490864"/>
                      <a:gd name="connsiteY55" fmla="*/ 0 h 26428"/>
                      <a:gd name="connsiteX56" fmla="*/ 3002497 w 3490864"/>
                      <a:gd name="connsiteY56" fmla="*/ 13214 h 26428"/>
                      <a:gd name="connsiteX57" fmla="*/ 3015711 w 3490864"/>
                      <a:gd name="connsiteY57" fmla="*/ 26429 h 26428"/>
                      <a:gd name="connsiteX58" fmla="*/ 3028926 w 3490864"/>
                      <a:gd name="connsiteY58" fmla="*/ 13214 h 26428"/>
                      <a:gd name="connsiteX59" fmla="*/ 3015711 w 3490864"/>
                      <a:gd name="connsiteY59" fmla="*/ 0 h 26428"/>
                      <a:gd name="connsiteX60" fmla="*/ 3362160 w 3490864"/>
                      <a:gd name="connsiteY60" fmla="*/ 0 h 26428"/>
                      <a:gd name="connsiteX61" fmla="*/ 3348946 w 3490864"/>
                      <a:gd name="connsiteY61" fmla="*/ 13214 h 26428"/>
                      <a:gd name="connsiteX62" fmla="*/ 3362160 w 3490864"/>
                      <a:gd name="connsiteY62" fmla="*/ 26429 h 26428"/>
                      <a:gd name="connsiteX63" fmla="*/ 3375395 w 3490864"/>
                      <a:gd name="connsiteY63" fmla="*/ 13214 h 26428"/>
                      <a:gd name="connsiteX64" fmla="*/ 3362160 w 3490864"/>
                      <a:gd name="connsiteY64" fmla="*/ 0 h 26428"/>
                      <a:gd name="connsiteX65" fmla="*/ 3246671 w 3490864"/>
                      <a:gd name="connsiteY65" fmla="*/ 0 h 26428"/>
                      <a:gd name="connsiteX66" fmla="*/ 3233456 w 3490864"/>
                      <a:gd name="connsiteY66" fmla="*/ 13214 h 26428"/>
                      <a:gd name="connsiteX67" fmla="*/ 3246671 w 3490864"/>
                      <a:gd name="connsiteY67" fmla="*/ 26429 h 26428"/>
                      <a:gd name="connsiteX68" fmla="*/ 3259905 w 3490864"/>
                      <a:gd name="connsiteY68" fmla="*/ 13214 h 26428"/>
                      <a:gd name="connsiteX69" fmla="*/ 3246671 w 3490864"/>
                      <a:gd name="connsiteY69" fmla="*/ 0 h 26428"/>
                      <a:gd name="connsiteX70" fmla="*/ 590604 w 3490864"/>
                      <a:gd name="connsiteY70" fmla="*/ 0 h 26428"/>
                      <a:gd name="connsiteX71" fmla="*/ 577390 w 3490864"/>
                      <a:gd name="connsiteY71" fmla="*/ 13214 h 26428"/>
                      <a:gd name="connsiteX72" fmla="*/ 590604 w 3490864"/>
                      <a:gd name="connsiteY72" fmla="*/ 26429 h 26428"/>
                      <a:gd name="connsiteX73" fmla="*/ 603838 w 3490864"/>
                      <a:gd name="connsiteY73" fmla="*/ 13214 h 26428"/>
                      <a:gd name="connsiteX74" fmla="*/ 590604 w 3490864"/>
                      <a:gd name="connsiteY74" fmla="*/ 0 h 26428"/>
                      <a:gd name="connsiteX75" fmla="*/ 2900221 w 3490864"/>
                      <a:gd name="connsiteY75" fmla="*/ 0 h 26428"/>
                      <a:gd name="connsiteX76" fmla="*/ 2887007 w 3490864"/>
                      <a:gd name="connsiteY76" fmla="*/ 13214 h 26428"/>
                      <a:gd name="connsiteX77" fmla="*/ 2900221 w 3490864"/>
                      <a:gd name="connsiteY77" fmla="*/ 26429 h 26428"/>
                      <a:gd name="connsiteX78" fmla="*/ 2913436 w 3490864"/>
                      <a:gd name="connsiteY78" fmla="*/ 13214 h 26428"/>
                      <a:gd name="connsiteX79" fmla="*/ 2900221 w 3490864"/>
                      <a:gd name="connsiteY79" fmla="*/ 0 h 26428"/>
                      <a:gd name="connsiteX80" fmla="*/ 2091853 w 3490864"/>
                      <a:gd name="connsiteY80" fmla="*/ 0 h 26428"/>
                      <a:gd name="connsiteX81" fmla="*/ 2078638 w 3490864"/>
                      <a:gd name="connsiteY81" fmla="*/ 13214 h 26428"/>
                      <a:gd name="connsiteX82" fmla="*/ 2091853 w 3490864"/>
                      <a:gd name="connsiteY82" fmla="*/ 26429 h 26428"/>
                      <a:gd name="connsiteX83" fmla="*/ 2105087 w 3490864"/>
                      <a:gd name="connsiteY83" fmla="*/ 13214 h 26428"/>
                      <a:gd name="connsiteX84" fmla="*/ 2091853 w 3490864"/>
                      <a:gd name="connsiteY84" fmla="*/ 0 h 26428"/>
                      <a:gd name="connsiteX85" fmla="*/ 3131181 w 3490864"/>
                      <a:gd name="connsiteY85" fmla="*/ 0 h 26428"/>
                      <a:gd name="connsiteX86" fmla="*/ 3117966 w 3490864"/>
                      <a:gd name="connsiteY86" fmla="*/ 13214 h 26428"/>
                      <a:gd name="connsiteX87" fmla="*/ 3131181 w 3490864"/>
                      <a:gd name="connsiteY87" fmla="*/ 26429 h 26428"/>
                      <a:gd name="connsiteX88" fmla="*/ 3144396 w 3490864"/>
                      <a:gd name="connsiteY88" fmla="*/ 13214 h 26428"/>
                      <a:gd name="connsiteX89" fmla="*/ 3131181 w 3490864"/>
                      <a:gd name="connsiteY89" fmla="*/ 0 h 26428"/>
                      <a:gd name="connsiteX90" fmla="*/ 3477631 w 3490864"/>
                      <a:gd name="connsiteY90" fmla="*/ 0 h 26428"/>
                      <a:gd name="connsiteX91" fmla="*/ 3464416 w 3490864"/>
                      <a:gd name="connsiteY91" fmla="*/ 13214 h 26428"/>
                      <a:gd name="connsiteX92" fmla="*/ 3477631 w 3490864"/>
                      <a:gd name="connsiteY92" fmla="*/ 26429 h 26428"/>
                      <a:gd name="connsiteX93" fmla="*/ 3490865 w 3490864"/>
                      <a:gd name="connsiteY93" fmla="*/ 13214 h 26428"/>
                      <a:gd name="connsiteX94" fmla="*/ 3477631 w 3490864"/>
                      <a:gd name="connsiteY94" fmla="*/ 0 h 26428"/>
                      <a:gd name="connsiteX95" fmla="*/ 1052524 w 3490864"/>
                      <a:gd name="connsiteY95" fmla="*/ 0 h 26428"/>
                      <a:gd name="connsiteX96" fmla="*/ 1039310 w 3490864"/>
                      <a:gd name="connsiteY96" fmla="*/ 13214 h 26428"/>
                      <a:gd name="connsiteX97" fmla="*/ 1052524 w 3490864"/>
                      <a:gd name="connsiteY97" fmla="*/ 26429 h 26428"/>
                      <a:gd name="connsiteX98" fmla="*/ 1065758 w 3490864"/>
                      <a:gd name="connsiteY98" fmla="*/ 13214 h 26428"/>
                      <a:gd name="connsiteX99" fmla="*/ 1052524 w 3490864"/>
                      <a:gd name="connsiteY99" fmla="*/ 0 h 26428"/>
                      <a:gd name="connsiteX100" fmla="*/ 1168013 w 3490864"/>
                      <a:gd name="connsiteY100" fmla="*/ 0 h 26428"/>
                      <a:gd name="connsiteX101" fmla="*/ 1154799 w 3490864"/>
                      <a:gd name="connsiteY101" fmla="*/ 13214 h 26428"/>
                      <a:gd name="connsiteX102" fmla="*/ 1168013 w 3490864"/>
                      <a:gd name="connsiteY102" fmla="*/ 26429 h 26428"/>
                      <a:gd name="connsiteX103" fmla="*/ 1181247 w 3490864"/>
                      <a:gd name="connsiteY103" fmla="*/ 13214 h 26428"/>
                      <a:gd name="connsiteX104" fmla="*/ 1168013 w 3490864"/>
                      <a:gd name="connsiteY104" fmla="*/ 0 h 26428"/>
                      <a:gd name="connsiteX105" fmla="*/ 937054 w 3490864"/>
                      <a:gd name="connsiteY105" fmla="*/ 0 h 26428"/>
                      <a:gd name="connsiteX106" fmla="*/ 923839 w 3490864"/>
                      <a:gd name="connsiteY106" fmla="*/ 13214 h 26428"/>
                      <a:gd name="connsiteX107" fmla="*/ 937054 w 3490864"/>
                      <a:gd name="connsiteY107" fmla="*/ 26429 h 26428"/>
                      <a:gd name="connsiteX108" fmla="*/ 950288 w 3490864"/>
                      <a:gd name="connsiteY108" fmla="*/ 13214 h 26428"/>
                      <a:gd name="connsiteX109" fmla="*/ 937054 w 3490864"/>
                      <a:gd name="connsiteY109" fmla="*/ 0 h 26428"/>
                      <a:gd name="connsiteX110" fmla="*/ 706094 w 3490864"/>
                      <a:gd name="connsiteY110" fmla="*/ 0 h 26428"/>
                      <a:gd name="connsiteX111" fmla="*/ 692879 w 3490864"/>
                      <a:gd name="connsiteY111" fmla="*/ 13214 h 26428"/>
                      <a:gd name="connsiteX112" fmla="*/ 706094 w 3490864"/>
                      <a:gd name="connsiteY112" fmla="*/ 26429 h 26428"/>
                      <a:gd name="connsiteX113" fmla="*/ 719308 w 3490864"/>
                      <a:gd name="connsiteY113" fmla="*/ 13214 h 26428"/>
                      <a:gd name="connsiteX114" fmla="*/ 706094 w 3490864"/>
                      <a:gd name="connsiteY114" fmla="*/ 0 h 26428"/>
                      <a:gd name="connsiteX115" fmla="*/ 1283503 w 3490864"/>
                      <a:gd name="connsiteY115" fmla="*/ 0 h 26428"/>
                      <a:gd name="connsiteX116" fmla="*/ 1270289 w 3490864"/>
                      <a:gd name="connsiteY116" fmla="*/ 13214 h 26428"/>
                      <a:gd name="connsiteX117" fmla="*/ 1283503 w 3490864"/>
                      <a:gd name="connsiteY117" fmla="*/ 26429 h 26428"/>
                      <a:gd name="connsiteX118" fmla="*/ 1296737 w 3490864"/>
                      <a:gd name="connsiteY118" fmla="*/ 13214 h 26428"/>
                      <a:gd name="connsiteX119" fmla="*/ 1283503 w 3490864"/>
                      <a:gd name="connsiteY119" fmla="*/ 0 h 26428"/>
                      <a:gd name="connsiteX120" fmla="*/ 1976382 w 3490864"/>
                      <a:gd name="connsiteY120" fmla="*/ 0 h 26428"/>
                      <a:gd name="connsiteX121" fmla="*/ 1963167 w 3490864"/>
                      <a:gd name="connsiteY121" fmla="*/ 13214 h 26428"/>
                      <a:gd name="connsiteX122" fmla="*/ 1976382 w 3490864"/>
                      <a:gd name="connsiteY122" fmla="*/ 26429 h 26428"/>
                      <a:gd name="connsiteX123" fmla="*/ 1989597 w 3490864"/>
                      <a:gd name="connsiteY123" fmla="*/ 13214 h 26428"/>
                      <a:gd name="connsiteX124" fmla="*/ 1976382 w 3490864"/>
                      <a:gd name="connsiteY124" fmla="*/ 0 h 26428"/>
                      <a:gd name="connsiteX125" fmla="*/ 821564 w 3490864"/>
                      <a:gd name="connsiteY125" fmla="*/ 0 h 26428"/>
                      <a:gd name="connsiteX126" fmla="*/ 808349 w 3490864"/>
                      <a:gd name="connsiteY126" fmla="*/ 13214 h 26428"/>
                      <a:gd name="connsiteX127" fmla="*/ 821564 w 3490864"/>
                      <a:gd name="connsiteY127" fmla="*/ 26429 h 26428"/>
                      <a:gd name="connsiteX128" fmla="*/ 834798 w 3490864"/>
                      <a:gd name="connsiteY128" fmla="*/ 13214 h 26428"/>
                      <a:gd name="connsiteX129" fmla="*/ 821564 w 3490864"/>
                      <a:gd name="connsiteY129" fmla="*/ 0 h 26428"/>
                      <a:gd name="connsiteX130" fmla="*/ 1745422 w 3490864"/>
                      <a:gd name="connsiteY130" fmla="*/ 0 h 26428"/>
                      <a:gd name="connsiteX131" fmla="*/ 1732208 w 3490864"/>
                      <a:gd name="connsiteY131" fmla="*/ 13214 h 26428"/>
                      <a:gd name="connsiteX132" fmla="*/ 1745422 w 3490864"/>
                      <a:gd name="connsiteY132" fmla="*/ 26429 h 26428"/>
                      <a:gd name="connsiteX133" fmla="*/ 1758656 w 3490864"/>
                      <a:gd name="connsiteY133" fmla="*/ 13214 h 26428"/>
                      <a:gd name="connsiteX134" fmla="*/ 1745422 w 3490864"/>
                      <a:gd name="connsiteY134" fmla="*/ 0 h 26428"/>
                      <a:gd name="connsiteX135" fmla="*/ 1398973 w 3490864"/>
                      <a:gd name="connsiteY135" fmla="*/ 0 h 26428"/>
                      <a:gd name="connsiteX136" fmla="*/ 1385758 w 3490864"/>
                      <a:gd name="connsiteY136" fmla="*/ 13214 h 26428"/>
                      <a:gd name="connsiteX137" fmla="*/ 1398973 w 3490864"/>
                      <a:gd name="connsiteY137" fmla="*/ 26429 h 26428"/>
                      <a:gd name="connsiteX138" fmla="*/ 1412208 w 3490864"/>
                      <a:gd name="connsiteY138" fmla="*/ 13214 h 26428"/>
                      <a:gd name="connsiteX139" fmla="*/ 1398973 w 3490864"/>
                      <a:gd name="connsiteY139" fmla="*/ 0 h 26428"/>
                      <a:gd name="connsiteX140" fmla="*/ 1860893 w 3490864"/>
                      <a:gd name="connsiteY140" fmla="*/ 0 h 26428"/>
                      <a:gd name="connsiteX141" fmla="*/ 1847678 w 3490864"/>
                      <a:gd name="connsiteY141" fmla="*/ 13214 h 26428"/>
                      <a:gd name="connsiteX142" fmla="*/ 1860893 w 3490864"/>
                      <a:gd name="connsiteY142" fmla="*/ 26429 h 26428"/>
                      <a:gd name="connsiteX143" fmla="*/ 1874127 w 3490864"/>
                      <a:gd name="connsiteY143" fmla="*/ 13214 h 26428"/>
                      <a:gd name="connsiteX144" fmla="*/ 1860893 w 3490864"/>
                      <a:gd name="connsiteY144" fmla="*/ 0 h 26428"/>
                      <a:gd name="connsiteX145" fmla="*/ 1514443 w 3490864"/>
                      <a:gd name="connsiteY145" fmla="*/ 0 h 26428"/>
                      <a:gd name="connsiteX146" fmla="*/ 1501229 w 3490864"/>
                      <a:gd name="connsiteY146" fmla="*/ 13214 h 26428"/>
                      <a:gd name="connsiteX147" fmla="*/ 1514443 w 3490864"/>
                      <a:gd name="connsiteY147" fmla="*/ 26429 h 26428"/>
                      <a:gd name="connsiteX148" fmla="*/ 1527677 w 3490864"/>
                      <a:gd name="connsiteY148" fmla="*/ 13214 h 26428"/>
                      <a:gd name="connsiteX149" fmla="*/ 1514443 w 3490864"/>
                      <a:gd name="connsiteY149" fmla="*/ 0 h 26428"/>
                      <a:gd name="connsiteX150" fmla="*/ 1629933 w 3490864"/>
                      <a:gd name="connsiteY150" fmla="*/ 0 h 26428"/>
                      <a:gd name="connsiteX151" fmla="*/ 1616719 w 3490864"/>
                      <a:gd name="connsiteY151" fmla="*/ 13214 h 26428"/>
                      <a:gd name="connsiteX152" fmla="*/ 1629933 w 3490864"/>
                      <a:gd name="connsiteY152" fmla="*/ 26429 h 26428"/>
                      <a:gd name="connsiteX153" fmla="*/ 1643167 w 3490864"/>
                      <a:gd name="connsiteY153" fmla="*/ 13214 h 26428"/>
                      <a:gd name="connsiteX154" fmla="*/ 1629933 w 3490864"/>
                      <a:gd name="connsiteY154" fmla="*/ 0 h 2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3490864" h="26428">
                        <a:moveTo>
                          <a:pt x="475134" y="0"/>
                        </a:moveTo>
                        <a:cubicBezTo>
                          <a:pt x="467839" y="0"/>
                          <a:pt x="461920" y="5919"/>
                          <a:pt x="461920" y="13214"/>
                        </a:cubicBezTo>
                        <a:cubicBezTo>
                          <a:pt x="461920" y="20510"/>
                          <a:pt x="467839" y="26429"/>
                          <a:pt x="475134" y="26429"/>
                        </a:cubicBezTo>
                        <a:cubicBezTo>
                          <a:pt x="482430" y="26429"/>
                          <a:pt x="488349" y="20510"/>
                          <a:pt x="488349" y="13214"/>
                        </a:cubicBezTo>
                        <a:cubicBezTo>
                          <a:pt x="488349" y="5919"/>
                          <a:pt x="482430" y="0"/>
                          <a:pt x="475134" y="0"/>
                        </a:cubicBezTo>
                        <a:close/>
                        <a:moveTo>
                          <a:pt x="244175" y="0"/>
                        </a:moveTo>
                        <a:cubicBezTo>
                          <a:pt x="236879" y="0"/>
                          <a:pt x="230960" y="5919"/>
                          <a:pt x="230960" y="13214"/>
                        </a:cubicBezTo>
                        <a:cubicBezTo>
                          <a:pt x="230960" y="20510"/>
                          <a:pt x="236879" y="26429"/>
                          <a:pt x="244175" y="26429"/>
                        </a:cubicBezTo>
                        <a:cubicBezTo>
                          <a:pt x="251470" y="26429"/>
                          <a:pt x="257389" y="20510"/>
                          <a:pt x="257389" y="13214"/>
                        </a:cubicBezTo>
                        <a:cubicBezTo>
                          <a:pt x="257389" y="5919"/>
                          <a:pt x="251470" y="0"/>
                          <a:pt x="244175" y="0"/>
                        </a:cubicBezTo>
                        <a:close/>
                        <a:moveTo>
                          <a:pt x="359664" y="0"/>
                        </a:moveTo>
                        <a:cubicBezTo>
                          <a:pt x="352368" y="0"/>
                          <a:pt x="346449" y="5919"/>
                          <a:pt x="346449" y="13214"/>
                        </a:cubicBezTo>
                        <a:cubicBezTo>
                          <a:pt x="346449" y="20510"/>
                          <a:pt x="352368" y="26429"/>
                          <a:pt x="359664" y="26429"/>
                        </a:cubicBezTo>
                        <a:cubicBezTo>
                          <a:pt x="366960" y="26429"/>
                          <a:pt x="372879" y="20510"/>
                          <a:pt x="372879" y="13214"/>
                        </a:cubicBezTo>
                        <a:cubicBezTo>
                          <a:pt x="372879" y="5919"/>
                          <a:pt x="366960" y="0"/>
                          <a:pt x="359664" y="0"/>
                        </a:cubicBezTo>
                        <a:close/>
                        <a:moveTo>
                          <a:pt x="128704" y="0"/>
                        </a:moveTo>
                        <a:cubicBezTo>
                          <a:pt x="121409" y="0"/>
                          <a:pt x="115490" y="5919"/>
                          <a:pt x="115490" y="13214"/>
                        </a:cubicBezTo>
                        <a:cubicBezTo>
                          <a:pt x="115490" y="20510"/>
                          <a:pt x="121409" y="26429"/>
                          <a:pt x="128704" y="26429"/>
                        </a:cubicBezTo>
                        <a:cubicBezTo>
                          <a:pt x="136000" y="26429"/>
                          <a:pt x="141919" y="20510"/>
                          <a:pt x="141919" y="13214"/>
                        </a:cubicBezTo>
                        <a:cubicBezTo>
                          <a:pt x="141919" y="5919"/>
                          <a:pt x="136000" y="0"/>
                          <a:pt x="128704" y="0"/>
                        </a:cubicBezTo>
                        <a:close/>
                        <a:moveTo>
                          <a:pt x="13214" y="0"/>
                        </a:moveTo>
                        <a:cubicBezTo>
                          <a:pt x="5919" y="0"/>
                          <a:pt x="0" y="5919"/>
                          <a:pt x="0" y="13214"/>
                        </a:cubicBezTo>
                        <a:cubicBezTo>
                          <a:pt x="0" y="20510"/>
                          <a:pt x="5919" y="26429"/>
                          <a:pt x="13214" y="26429"/>
                        </a:cubicBezTo>
                        <a:cubicBezTo>
                          <a:pt x="20510" y="26429"/>
                          <a:pt x="26429" y="20510"/>
                          <a:pt x="26429" y="13214"/>
                        </a:cubicBezTo>
                        <a:cubicBezTo>
                          <a:pt x="26429" y="5919"/>
                          <a:pt x="20510" y="0"/>
                          <a:pt x="13214" y="0"/>
                        </a:cubicBezTo>
                        <a:close/>
                        <a:moveTo>
                          <a:pt x="2784771" y="0"/>
                        </a:moveTo>
                        <a:cubicBezTo>
                          <a:pt x="2777475" y="0"/>
                          <a:pt x="2771557" y="5919"/>
                          <a:pt x="2771557" y="13214"/>
                        </a:cubicBezTo>
                        <a:cubicBezTo>
                          <a:pt x="2771557" y="20510"/>
                          <a:pt x="2777475" y="26429"/>
                          <a:pt x="2784771" y="26429"/>
                        </a:cubicBezTo>
                        <a:cubicBezTo>
                          <a:pt x="2792066" y="26429"/>
                          <a:pt x="2797986" y="20510"/>
                          <a:pt x="2797986" y="13214"/>
                        </a:cubicBezTo>
                        <a:cubicBezTo>
                          <a:pt x="2797986" y="5919"/>
                          <a:pt x="2792066" y="0"/>
                          <a:pt x="2784771" y="0"/>
                        </a:cubicBezTo>
                        <a:close/>
                        <a:moveTo>
                          <a:pt x="2438322" y="0"/>
                        </a:moveTo>
                        <a:cubicBezTo>
                          <a:pt x="2431026" y="0"/>
                          <a:pt x="2425107" y="5919"/>
                          <a:pt x="2425107" y="13214"/>
                        </a:cubicBezTo>
                        <a:cubicBezTo>
                          <a:pt x="2425107" y="20510"/>
                          <a:pt x="2431026" y="26429"/>
                          <a:pt x="2438322" y="26429"/>
                        </a:cubicBezTo>
                        <a:cubicBezTo>
                          <a:pt x="2445617" y="26429"/>
                          <a:pt x="2451536" y="20510"/>
                          <a:pt x="2451536" y="13214"/>
                        </a:cubicBezTo>
                        <a:cubicBezTo>
                          <a:pt x="2451536" y="5919"/>
                          <a:pt x="2445617" y="0"/>
                          <a:pt x="2438322" y="0"/>
                        </a:cubicBezTo>
                        <a:close/>
                        <a:moveTo>
                          <a:pt x="2669281" y="0"/>
                        </a:moveTo>
                        <a:cubicBezTo>
                          <a:pt x="2661986" y="0"/>
                          <a:pt x="2656067" y="5919"/>
                          <a:pt x="2656067" y="13214"/>
                        </a:cubicBezTo>
                        <a:cubicBezTo>
                          <a:pt x="2656067" y="20510"/>
                          <a:pt x="2661986" y="26429"/>
                          <a:pt x="2669281" y="26429"/>
                        </a:cubicBezTo>
                        <a:cubicBezTo>
                          <a:pt x="2676576" y="26429"/>
                          <a:pt x="2682496" y="20510"/>
                          <a:pt x="2682496" y="13214"/>
                        </a:cubicBezTo>
                        <a:cubicBezTo>
                          <a:pt x="2682496" y="5919"/>
                          <a:pt x="2676576" y="0"/>
                          <a:pt x="2669281" y="0"/>
                        </a:cubicBezTo>
                        <a:close/>
                        <a:moveTo>
                          <a:pt x="2553791" y="0"/>
                        </a:moveTo>
                        <a:cubicBezTo>
                          <a:pt x="2546496" y="0"/>
                          <a:pt x="2540577" y="5919"/>
                          <a:pt x="2540577" y="13214"/>
                        </a:cubicBezTo>
                        <a:cubicBezTo>
                          <a:pt x="2540577" y="20510"/>
                          <a:pt x="2546496" y="26429"/>
                          <a:pt x="2553791" y="26429"/>
                        </a:cubicBezTo>
                        <a:cubicBezTo>
                          <a:pt x="2561087" y="26429"/>
                          <a:pt x="2567006" y="20510"/>
                          <a:pt x="2567006" y="13214"/>
                        </a:cubicBezTo>
                        <a:cubicBezTo>
                          <a:pt x="2567006" y="5919"/>
                          <a:pt x="2561087" y="0"/>
                          <a:pt x="2553791" y="0"/>
                        </a:cubicBezTo>
                        <a:close/>
                        <a:moveTo>
                          <a:pt x="2207343" y="0"/>
                        </a:moveTo>
                        <a:cubicBezTo>
                          <a:pt x="2200047" y="0"/>
                          <a:pt x="2194128" y="5919"/>
                          <a:pt x="2194128" y="13214"/>
                        </a:cubicBezTo>
                        <a:cubicBezTo>
                          <a:pt x="2194128" y="20510"/>
                          <a:pt x="2200047" y="26429"/>
                          <a:pt x="2207343" y="26429"/>
                        </a:cubicBezTo>
                        <a:cubicBezTo>
                          <a:pt x="2214638" y="26429"/>
                          <a:pt x="2220557" y="20510"/>
                          <a:pt x="2220557" y="13214"/>
                        </a:cubicBezTo>
                        <a:cubicBezTo>
                          <a:pt x="2220557" y="5919"/>
                          <a:pt x="2214638" y="0"/>
                          <a:pt x="2207343" y="0"/>
                        </a:cubicBezTo>
                        <a:close/>
                        <a:moveTo>
                          <a:pt x="2322832" y="0"/>
                        </a:moveTo>
                        <a:cubicBezTo>
                          <a:pt x="2315537" y="0"/>
                          <a:pt x="2309617" y="5919"/>
                          <a:pt x="2309617" y="13214"/>
                        </a:cubicBezTo>
                        <a:cubicBezTo>
                          <a:pt x="2309617" y="20510"/>
                          <a:pt x="2315537" y="26429"/>
                          <a:pt x="2322832" y="26429"/>
                        </a:cubicBezTo>
                        <a:cubicBezTo>
                          <a:pt x="2330128" y="26429"/>
                          <a:pt x="2336046" y="20510"/>
                          <a:pt x="2336046" y="13214"/>
                        </a:cubicBezTo>
                        <a:cubicBezTo>
                          <a:pt x="2336046" y="5919"/>
                          <a:pt x="2330128" y="0"/>
                          <a:pt x="2322832" y="0"/>
                        </a:cubicBezTo>
                        <a:close/>
                        <a:moveTo>
                          <a:pt x="3015711" y="0"/>
                        </a:moveTo>
                        <a:cubicBezTo>
                          <a:pt x="3008415" y="0"/>
                          <a:pt x="3002497" y="5919"/>
                          <a:pt x="3002497" y="13214"/>
                        </a:cubicBezTo>
                        <a:cubicBezTo>
                          <a:pt x="3002497" y="20510"/>
                          <a:pt x="3008415" y="26429"/>
                          <a:pt x="3015711" y="26429"/>
                        </a:cubicBezTo>
                        <a:cubicBezTo>
                          <a:pt x="3023007" y="26429"/>
                          <a:pt x="3028926" y="20510"/>
                          <a:pt x="3028926" y="13214"/>
                        </a:cubicBezTo>
                        <a:cubicBezTo>
                          <a:pt x="3028926" y="5919"/>
                          <a:pt x="3023007" y="0"/>
                          <a:pt x="3015711" y="0"/>
                        </a:cubicBezTo>
                        <a:close/>
                        <a:moveTo>
                          <a:pt x="3362160" y="0"/>
                        </a:moveTo>
                        <a:cubicBezTo>
                          <a:pt x="3354865" y="0"/>
                          <a:pt x="3348946" y="5919"/>
                          <a:pt x="3348946" y="13214"/>
                        </a:cubicBezTo>
                        <a:cubicBezTo>
                          <a:pt x="3348946" y="20510"/>
                          <a:pt x="3354865" y="26429"/>
                          <a:pt x="3362160" y="26429"/>
                        </a:cubicBezTo>
                        <a:cubicBezTo>
                          <a:pt x="3369456" y="26429"/>
                          <a:pt x="3375395" y="20510"/>
                          <a:pt x="3375395" y="13214"/>
                        </a:cubicBezTo>
                        <a:cubicBezTo>
                          <a:pt x="3375395" y="5919"/>
                          <a:pt x="3369476" y="0"/>
                          <a:pt x="3362160" y="0"/>
                        </a:cubicBezTo>
                        <a:close/>
                        <a:moveTo>
                          <a:pt x="3246671" y="0"/>
                        </a:moveTo>
                        <a:cubicBezTo>
                          <a:pt x="3239375" y="0"/>
                          <a:pt x="3233456" y="5919"/>
                          <a:pt x="3233456" y="13214"/>
                        </a:cubicBezTo>
                        <a:cubicBezTo>
                          <a:pt x="3233456" y="20510"/>
                          <a:pt x="3239375" y="26429"/>
                          <a:pt x="3246671" y="26429"/>
                        </a:cubicBezTo>
                        <a:cubicBezTo>
                          <a:pt x="3253966" y="26429"/>
                          <a:pt x="3259905" y="20510"/>
                          <a:pt x="3259905" y="13214"/>
                        </a:cubicBezTo>
                        <a:cubicBezTo>
                          <a:pt x="3259905" y="5919"/>
                          <a:pt x="3253986" y="0"/>
                          <a:pt x="3246671" y="0"/>
                        </a:cubicBezTo>
                        <a:close/>
                        <a:moveTo>
                          <a:pt x="590604" y="0"/>
                        </a:moveTo>
                        <a:cubicBezTo>
                          <a:pt x="583309" y="0"/>
                          <a:pt x="577390" y="5919"/>
                          <a:pt x="577390" y="13214"/>
                        </a:cubicBezTo>
                        <a:cubicBezTo>
                          <a:pt x="577390" y="20510"/>
                          <a:pt x="583309" y="26429"/>
                          <a:pt x="590604" y="26429"/>
                        </a:cubicBezTo>
                        <a:cubicBezTo>
                          <a:pt x="597900" y="26429"/>
                          <a:pt x="603838" y="20510"/>
                          <a:pt x="603838" y="13214"/>
                        </a:cubicBezTo>
                        <a:cubicBezTo>
                          <a:pt x="603838" y="5919"/>
                          <a:pt x="597919" y="0"/>
                          <a:pt x="590604" y="0"/>
                        </a:cubicBezTo>
                        <a:close/>
                        <a:moveTo>
                          <a:pt x="2900221" y="0"/>
                        </a:moveTo>
                        <a:cubicBezTo>
                          <a:pt x="2892926" y="0"/>
                          <a:pt x="2887007" y="5919"/>
                          <a:pt x="2887007" y="13214"/>
                        </a:cubicBezTo>
                        <a:cubicBezTo>
                          <a:pt x="2887007" y="20510"/>
                          <a:pt x="2892926" y="26429"/>
                          <a:pt x="2900221" y="26429"/>
                        </a:cubicBezTo>
                        <a:cubicBezTo>
                          <a:pt x="2907516" y="26429"/>
                          <a:pt x="2913436" y="20510"/>
                          <a:pt x="2913436" y="13214"/>
                        </a:cubicBezTo>
                        <a:cubicBezTo>
                          <a:pt x="2913436" y="5919"/>
                          <a:pt x="2907516" y="0"/>
                          <a:pt x="2900221" y="0"/>
                        </a:cubicBezTo>
                        <a:close/>
                        <a:moveTo>
                          <a:pt x="2091853" y="0"/>
                        </a:moveTo>
                        <a:cubicBezTo>
                          <a:pt x="2084556" y="0"/>
                          <a:pt x="2078638" y="5919"/>
                          <a:pt x="2078638" y="13214"/>
                        </a:cubicBezTo>
                        <a:cubicBezTo>
                          <a:pt x="2078638" y="20510"/>
                          <a:pt x="2084556" y="26429"/>
                          <a:pt x="2091853" y="26429"/>
                        </a:cubicBezTo>
                        <a:cubicBezTo>
                          <a:pt x="2099148" y="26429"/>
                          <a:pt x="2105087" y="20510"/>
                          <a:pt x="2105087" y="13214"/>
                        </a:cubicBezTo>
                        <a:cubicBezTo>
                          <a:pt x="2105087" y="5919"/>
                          <a:pt x="2099168" y="0"/>
                          <a:pt x="2091853" y="0"/>
                        </a:cubicBezTo>
                        <a:close/>
                        <a:moveTo>
                          <a:pt x="3131181" y="0"/>
                        </a:moveTo>
                        <a:cubicBezTo>
                          <a:pt x="3123886" y="0"/>
                          <a:pt x="3117966" y="5919"/>
                          <a:pt x="3117966" y="13214"/>
                        </a:cubicBezTo>
                        <a:cubicBezTo>
                          <a:pt x="3117966" y="20510"/>
                          <a:pt x="3123886" y="26429"/>
                          <a:pt x="3131181" y="26429"/>
                        </a:cubicBezTo>
                        <a:cubicBezTo>
                          <a:pt x="3138477" y="26429"/>
                          <a:pt x="3144396" y="20510"/>
                          <a:pt x="3144396" y="13214"/>
                        </a:cubicBezTo>
                        <a:cubicBezTo>
                          <a:pt x="3144396" y="5919"/>
                          <a:pt x="3138477" y="0"/>
                          <a:pt x="3131181" y="0"/>
                        </a:cubicBezTo>
                        <a:close/>
                        <a:moveTo>
                          <a:pt x="3477631" y="0"/>
                        </a:moveTo>
                        <a:cubicBezTo>
                          <a:pt x="3470335" y="0"/>
                          <a:pt x="3464416" y="5919"/>
                          <a:pt x="3464416" y="13214"/>
                        </a:cubicBezTo>
                        <a:cubicBezTo>
                          <a:pt x="3464416" y="20510"/>
                          <a:pt x="3470335" y="26429"/>
                          <a:pt x="3477631" y="26429"/>
                        </a:cubicBezTo>
                        <a:cubicBezTo>
                          <a:pt x="3484926" y="26429"/>
                          <a:pt x="3490865" y="20510"/>
                          <a:pt x="3490865" y="13214"/>
                        </a:cubicBezTo>
                        <a:cubicBezTo>
                          <a:pt x="3490865" y="5919"/>
                          <a:pt x="3484946" y="0"/>
                          <a:pt x="3477631" y="0"/>
                        </a:cubicBezTo>
                        <a:close/>
                        <a:moveTo>
                          <a:pt x="1052524" y="0"/>
                        </a:moveTo>
                        <a:cubicBezTo>
                          <a:pt x="1045228" y="0"/>
                          <a:pt x="1039310" y="5919"/>
                          <a:pt x="1039310" y="13214"/>
                        </a:cubicBezTo>
                        <a:cubicBezTo>
                          <a:pt x="1039310" y="20510"/>
                          <a:pt x="1045228" y="26429"/>
                          <a:pt x="1052524" y="26429"/>
                        </a:cubicBezTo>
                        <a:cubicBezTo>
                          <a:pt x="1059819" y="26429"/>
                          <a:pt x="1065758" y="20510"/>
                          <a:pt x="1065758" y="13214"/>
                        </a:cubicBezTo>
                        <a:cubicBezTo>
                          <a:pt x="1065758" y="5919"/>
                          <a:pt x="1059839" y="0"/>
                          <a:pt x="1052524" y="0"/>
                        </a:cubicBezTo>
                        <a:close/>
                        <a:moveTo>
                          <a:pt x="1168013" y="0"/>
                        </a:moveTo>
                        <a:cubicBezTo>
                          <a:pt x="1160718" y="0"/>
                          <a:pt x="1154799" y="5919"/>
                          <a:pt x="1154799" y="13214"/>
                        </a:cubicBezTo>
                        <a:cubicBezTo>
                          <a:pt x="1154799" y="20510"/>
                          <a:pt x="1160718" y="26429"/>
                          <a:pt x="1168013" y="26429"/>
                        </a:cubicBezTo>
                        <a:cubicBezTo>
                          <a:pt x="1175309" y="26429"/>
                          <a:pt x="1181247" y="20510"/>
                          <a:pt x="1181247" y="13214"/>
                        </a:cubicBezTo>
                        <a:cubicBezTo>
                          <a:pt x="1181247" y="5919"/>
                          <a:pt x="1175329" y="0"/>
                          <a:pt x="1168013" y="0"/>
                        </a:cubicBezTo>
                        <a:close/>
                        <a:moveTo>
                          <a:pt x="937054" y="0"/>
                        </a:moveTo>
                        <a:cubicBezTo>
                          <a:pt x="929758" y="0"/>
                          <a:pt x="923839" y="5919"/>
                          <a:pt x="923839" y="13214"/>
                        </a:cubicBezTo>
                        <a:cubicBezTo>
                          <a:pt x="923839" y="20510"/>
                          <a:pt x="929758" y="26429"/>
                          <a:pt x="937054" y="26429"/>
                        </a:cubicBezTo>
                        <a:cubicBezTo>
                          <a:pt x="944350" y="26429"/>
                          <a:pt x="950288" y="20510"/>
                          <a:pt x="950288" y="13214"/>
                        </a:cubicBezTo>
                        <a:cubicBezTo>
                          <a:pt x="950288" y="5919"/>
                          <a:pt x="944369" y="0"/>
                          <a:pt x="937054" y="0"/>
                        </a:cubicBezTo>
                        <a:close/>
                        <a:moveTo>
                          <a:pt x="706094" y="0"/>
                        </a:moveTo>
                        <a:cubicBezTo>
                          <a:pt x="698798" y="0"/>
                          <a:pt x="692879" y="5919"/>
                          <a:pt x="692879" y="13214"/>
                        </a:cubicBezTo>
                        <a:cubicBezTo>
                          <a:pt x="692879" y="20510"/>
                          <a:pt x="698798" y="26429"/>
                          <a:pt x="706094" y="26429"/>
                        </a:cubicBezTo>
                        <a:cubicBezTo>
                          <a:pt x="713389" y="26429"/>
                          <a:pt x="719308" y="20510"/>
                          <a:pt x="719308" y="13214"/>
                        </a:cubicBezTo>
                        <a:cubicBezTo>
                          <a:pt x="719308" y="5919"/>
                          <a:pt x="713389" y="0"/>
                          <a:pt x="706094" y="0"/>
                        </a:cubicBezTo>
                        <a:close/>
                        <a:moveTo>
                          <a:pt x="1283503" y="0"/>
                        </a:moveTo>
                        <a:cubicBezTo>
                          <a:pt x="1276207" y="0"/>
                          <a:pt x="1270289" y="5919"/>
                          <a:pt x="1270289" y="13214"/>
                        </a:cubicBezTo>
                        <a:cubicBezTo>
                          <a:pt x="1270289" y="20510"/>
                          <a:pt x="1276207" y="26429"/>
                          <a:pt x="1283503" y="26429"/>
                        </a:cubicBezTo>
                        <a:cubicBezTo>
                          <a:pt x="1290798" y="26429"/>
                          <a:pt x="1296737" y="20510"/>
                          <a:pt x="1296737" y="13214"/>
                        </a:cubicBezTo>
                        <a:cubicBezTo>
                          <a:pt x="1296737" y="5919"/>
                          <a:pt x="1290819" y="0"/>
                          <a:pt x="1283503" y="0"/>
                        </a:cubicBezTo>
                        <a:close/>
                        <a:moveTo>
                          <a:pt x="1976382" y="0"/>
                        </a:moveTo>
                        <a:cubicBezTo>
                          <a:pt x="1969087" y="0"/>
                          <a:pt x="1963167" y="5919"/>
                          <a:pt x="1963167" y="13214"/>
                        </a:cubicBezTo>
                        <a:cubicBezTo>
                          <a:pt x="1963167" y="20510"/>
                          <a:pt x="1969087" y="26429"/>
                          <a:pt x="1976382" y="26429"/>
                        </a:cubicBezTo>
                        <a:cubicBezTo>
                          <a:pt x="1983678" y="26429"/>
                          <a:pt x="1989597" y="20510"/>
                          <a:pt x="1989597" y="13214"/>
                        </a:cubicBezTo>
                        <a:cubicBezTo>
                          <a:pt x="1989597" y="5919"/>
                          <a:pt x="1983678" y="0"/>
                          <a:pt x="1976382" y="0"/>
                        </a:cubicBezTo>
                        <a:close/>
                        <a:moveTo>
                          <a:pt x="821564" y="0"/>
                        </a:moveTo>
                        <a:cubicBezTo>
                          <a:pt x="814268" y="0"/>
                          <a:pt x="808349" y="5919"/>
                          <a:pt x="808349" y="13214"/>
                        </a:cubicBezTo>
                        <a:cubicBezTo>
                          <a:pt x="808349" y="20510"/>
                          <a:pt x="814268" y="26429"/>
                          <a:pt x="821564" y="26429"/>
                        </a:cubicBezTo>
                        <a:cubicBezTo>
                          <a:pt x="828859" y="26429"/>
                          <a:pt x="834798" y="20510"/>
                          <a:pt x="834798" y="13214"/>
                        </a:cubicBezTo>
                        <a:cubicBezTo>
                          <a:pt x="834798" y="5919"/>
                          <a:pt x="828879" y="0"/>
                          <a:pt x="821564" y="0"/>
                        </a:cubicBezTo>
                        <a:close/>
                        <a:moveTo>
                          <a:pt x="1745422" y="0"/>
                        </a:moveTo>
                        <a:cubicBezTo>
                          <a:pt x="1738127" y="0"/>
                          <a:pt x="1732208" y="5919"/>
                          <a:pt x="1732208" y="13214"/>
                        </a:cubicBezTo>
                        <a:cubicBezTo>
                          <a:pt x="1732208" y="20510"/>
                          <a:pt x="1738127" y="26429"/>
                          <a:pt x="1745422" y="26429"/>
                        </a:cubicBezTo>
                        <a:cubicBezTo>
                          <a:pt x="1752718" y="26429"/>
                          <a:pt x="1758656" y="20510"/>
                          <a:pt x="1758656" y="13214"/>
                        </a:cubicBezTo>
                        <a:cubicBezTo>
                          <a:pt x="1758656" y="5919"/>
                          <a:pt x="1752738" y="0"/>
                          <a:pt x="1745422" y="0"/>
                        </a:cubicBezTo>
                        <a:close/>
                        <a:moveTo>
                          <a:pt x="1398973" y="0"/>
                        </a:moveTo>
                        <a:cubicBezTo>
                          <a:pt x="1391678" y="0"/>
                          <a:pt x="1385758" y="5919"/>
                          <a:pt x="1385758" y="13214"/>
                        </a:cubicBezTo>
                        <a:cubicBezTo>
                          <a:pt x="1385758" y="20510"/>
                          <a:pt x="1391678" y="26429"/>
                          <a:pt x="1398973" y="26429"/>
                        </a:cubicBezTo>
                        <a:cubicBezTo>
                          <a:pt x="1406269" y="26429"/>
                          <a:pt x="1412208" y="20510"/>
                          <a:pt x="1412208" y="13214"/>
                        </a:cubicBezTo>
                        <a:cubicBezTo>
                          <a:pt x="1412208" y="5919"/>
                          <a:pt x="1406288" y="0"/>
                          <a:pt x="1398973" y="0"/>
                        </a:cubicBezTo>
                        <a:close/>
                        <a:moveTo>
                          <a:pt x="1860893" y="0"/>
                        </a:moveTo>
                        <a:cubicBezTo>
                          <a:pt x="1853597" y="0"/>
                          <a:pt x="1847678" y="5919"/>
                          <a:pt x="1847678" y="13214"/>
                        </a:cubicBezTo>
                        <a:cubicBezTo>
                          <a:pt x="1847678" y="20510"/>
                          <a:pt x="1853597" y="26429"/>
                          <a:pt x="1860893" y="26429"/>
                        </a:cubicBezTo>
                        <a:cubicBezTo>
                          <a:pt x="1868188" y="26429"/>
                          <a:pt x="1874127" y="20510"/>
                          <a:pt x="1874127" y="13214"/>
                        </a:cubicBezTo>
                        <a:cubicBezTo>
                          <a:pt x="1874127" y="5919"/>
                          <a:pt x="1868208" y="0"/>
                          <a:pt x="1860893" y="0"/>
                        </a:cubicBezTo>
                        <a:close/>
                        <a:moveTo>
                          <a:pt x="1514443" y="0"/>
                        </a:moveTo>
                        <a:cubicBezTo>
                          <a:pt x="1507147" y="0"/>
                          <a:pt x="1501229" y="5919"/>
                          <a:pt x="1501229" y="13214"/>
                        </a:cubicBezTo>
                        <a:cubicBezTo>
                          <a:pt x="1501229" y="20510"/>
                          <a:pt x="1507147" y="26429"/>
                          <a:pt x="1514443" y="26429"/>
                        </a:cubicBezTo>
                        <a:cubicBezTo>
                          <a:pt x="1521738" y="26429"/>
                          <a:pt x="1527677" y="20510"/>
                          <a:pt x="1527677" y="13214"/>
                        </a:cubicBezTo>
                        <a:cubicBezTo>
                          <a:pt x="1527677" y="5919"/>
                          <a:pt x="1521759" y="0"/>
                          <a:pt x="1514443" y="0"/>
                        </a:cubicBezTo>
                        <a:close/>
                        <a:moveTo>
                          <a:pt x="1629933" y="0"/>
                        </a:moveTo>
                        <a:cubicBezTo>
                          <a:pt x="1622637" y="0"/>
                          <a:pt x="1616719" y="5919"/>
                          <a:pt x="1616719" y="13214"/>
                        </a:cubicBezTo>
                        <a:cubicBezTo>
                          <a:pt x="1616719" y="20510"/>
                          <a:pt x="1622637" y="26429"/>
                          <a:pt x="1629933" y="26429"/>
                        </a:cubicBezTo>
                        <a:cubicBezTo>
                          <a:pt x="1637228" y="26429"/>
                          <a:pt x="1643167" y="20510"/>
                          <a:pt x="1643167" y="13214"/>
                        </a:cubicBezTo>
                        <a:cubicBezTo>
                          <a:pt x="1643167" y="5919"/>
                          <a:pt x="1637248" y="0"/>
                          <a:pt x="1629933" y="0"/>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782" name="Graphic 10">
                <a:extLst>
                  <a:ext uri="{FF2B5EF4-FFF2-40B4-BE49-F238E27FC236}">
                    <a16:creationId xmlns:a16="http://schemas.microsoft.com/office/drawing/2014/main" id="{6F95B94D-2280-413B-BE71-105B334CDA32}"/>
                  </a:ext>
                </a:extLst>
              </p:cNvPr>
              <p:cNvGrpSpPr/>
              <p:nvPr/>
            </p:nvGrpSpPr>
            <p:grpSpPr>
              <a:xfrm>
                <a:off x="2059917" y="9847805"/>
                <a:ext cx="410791" cy="411126"/>
                <a:chOff x="2059917" y="9847805"/>
                <a:chExt cx="410791" cy="411126"/>
              </a:xfrm>
            </p:grpSpPr>
            <p:grpSp>
              <p:nvGrpSpPr>
                <p:cNvPr id="1360" name="Graphic 10">
                  <a:extLst>
                    <a:ext uri="{FF2B5EF4-FFF2-40B4-BE49-F238E27FC236}">
                      <a16:creationId xmlns:a16="http://schemas.microsoft.com/office/drawing/2014/main" id="{2393121F-B32B-4ED5-8F81-92E4DFA31341}"/>
                    </a:ext>
                  </a:extLst>
                </p:cNvPr>
                <p:cNvGrpSpPr/>
                <p:nvPr/>
              </p:nvGrpSpPr>
              <p:grpSpPr>
                <a:xfrm>
                  <a:off x="2059917" y="9899405"/>
                  <a:ext cx="108744" cy="359526"/>
                  <a:chOff x="2059917" y="9899405"/>
                  <a:chExt cx="108744" cy="359526"/>
                </a:xfrm>
              </p:grpSpPr>
              <p:sp>
                <p:nvSpPr>
                  <p:cNvPr id="1371" name="Freeform: Shape 1370">
                    <a:extLst>
                      <a:ext uri="{FF2B5EF4-FFF2-40B4-BE49-F238E27FC236}">
                        <a16:creationId xmlns:a16="http://schemas.microsoft.com/office/drawing/2014/main" id="{386B0F1A-7CF9-4EE6-9DA3-50615C569354}"/>
                      </a:ext>
                    </a:extLst>
                  </p:cNvPr>
                  <p:cNvSpPr/>
                  <p:nvPr/>
                </p:nvSpPr>
                <p:spPr>
                  <a:xfrm rot="10800000">
                    <a:off x="2103316" y="10072511"/>
                    <a:ext cx="21965" cy="50518"/>
                  </a:xfrm>
                  <a:custGeom>
                    <a:avLst/>
                    <a:gdLst>
                      <a:gd name="connsiteX0" fmla="*/ 0 w 21965"/>
                      <a:gd name="connsiteY0" fmla="*/ 0 h 50518"/>
                      <a:gd name="connsiteX1" fmla="*/ 21965 w 21965"/>
                      <a:gd name="connsiteY1" fmla="*/ 0 h 50518"/>
                      <a:gd name="connsiteX2" fmla="*/ 21965 w 21965"/>
                      <a:gd name="connsiteY2" fmla="*/ 50518 h 50518"/>
                      <a:gd name="connsiteX3" fmla="*/ 0 w 21965"/>
                      <a:gd name="connsiteY3" fmla="*/ 50518 h 50518"/>
                    </a:gdLst>
                    <a:ahLst/>
                    <a:cxnLst>
                      <a:cxn ang="0">
                        <a:pos x="connsiteX0" y="connsiteY0"/>
                      </a:cxn>
                      <a:cxn ang="0">
                        <a:pos x="connsiteX1" y="connsiteY1"/>
                      </a:cxn>
                      <a:cxn ang="0">
                        <a:pos x="connsiteX2" y="connsiteY2"/>
                      </a:cxn>
                      <a:cxn ang="0">
                        <a:pos x="connsiteX3" y="connsiteY3"/>
                      </a:cxn>
                    </a:cxnLst>
                    <a:rect l="l" t="t" r="r" b="b"/>
                    <a:pathLst>
                      <a:path w="21965" h="50518">
                        <a:moveTo>
                          <a:pt x="0" y="0"/>
                        </a:moveTo>
                        <a:lnTo>
                          <a:pt x="21965" y="0"/>
                        </a:lnTo>
                        <a:lnTo>
                          <a:pt x="21965" y="50518"/>
                        </a:lnTo>
                        <a:lnTo>
                          <a:pt x="0" y="50518"/>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72" name="Freeform: Shape 1371">
                    <a:extLst>
                      <a:ext uri="{FF2B5EF4-FFF2-40B4-BE49-F238E27FC236}">
                        <a16:creationId xmlns:a16="http://schemas.microsoft.com/office/drawing/2014/main" id="{44D59C49-2087-45A2-B5C1-F9B14A7A393B}"/>
                      </a:ext>
                    </a:extLst>
                  </p:cNvPr>
                  <p:cNvSpPr/>
                  <p:nvPr/>
                </p:nvSpPr>
                <p:spPr>
                  <a:xfrm rot="10800000">
                    <a:off x="2103316" y="9899405"/>
                    <a:ext cx="21965" cy="122981"/>
                  </a:xfrm>
                  <a:custGeom>
                    <a:avLst/>
                    <a:gdLst>
                      <a:gd name="connsiteX0" fmla="*/ 0 w 21965"/>
                      <a:gd name="connsiteY0" fmla="*/ 0 h 122981"/>
                      <a:gd name="connsiteX1" fmla="*/ 21965 w 21965"/>
                      <a:gd name="connsiteY1" fmla="*/ 0 h 122981"/>
                      <a:gd name="connsiteX2" fmla="*/ 21965 w 21965"/>
                      <a:gd name="connsiteY2" fmla="*/ 122982 h 122981"/>
                      <a:gd name="connsiteX3" fmla="*/ 0 w 21965"/>
                      <a:gd name="connsiteY3" fmla="*/ 122982 h 122981"/>
                    </a:gdLst>
                    <a:ahLst/>
                    <a:cxnLst>
                      <a:cxn ang="0">
                        <a:pos x="connsiteX0" y="connsiteY0"/>
                      </a:cxn>
                      <a:cxn ang="0">
                        <a:pos x="connsiteX1" y="connsiteY1"/>
                      </a:cxn>
                      <a:cxn ang="0">
                        <a:pos x="connsiteX2" y="connsiteY2"/>
                      </a:cxn>
                      <a:cxn ang="0">
                        <a:pos x="connsiteX3" y="connsiteY3"/>
                      </a:cxn>
                    </a:cxnLst>
                    <a:rect l="l" t="t" r="r" b="b"/>
                    <a:pathLst>
                      <a:path w="21965" h="122981">
                        <a:moveTo>
                          <a:pt x="0" y="0"/>
                        </a:moveTo>
                        <a:lnTo>
                          <a:pt x="21965" y="0"/>
                        </a:lnTo>
                        <a:lnTo>
                          <a:pt x="21965" y="122982"/>
                        </a:lnTo>
                        <a:lnTo>
                          <a:pt x="0" y="122982"/>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73" name="Freeform: Shape 1372">
                    <a:extLst>
                      <a:ext uri="{FF2B5EF4-FFF2-40B4-BE49-F238E27FC236}">
                        <a16:creationId xmlns:a16="http://schemas.microsoft.com/office/drawing/2014/main" id="{6FED9DE3-EDFE-4824-89CF-D4A5AF2FFBB3}"/>
                      </a:ext>
                    </a:extLst>
                  </p:cNvPr>
                  <p:cNvSpPr/>
                  <p:nvPr/>
                </p:nvSpPr>
                <p:spPr>
                  <a:xfrm>
                    <a:off x="2109137" y="10204480"/>
                    <a:ext cx="10284" cy="54451"/>
                  </a:xfrm>
                  <a:custGeom>
                    <a:avLst/>
                    <a:gdLst>
                      <a:gd name="connsiteX0" fmla="*/ 19 w 10284"/>
                      <a:gd name="connsiteY0" fmla="*/ 0 h 54451"/>
                      <a:gd name="connsiteX1" fmla="*/ 19 w 10284"/>
                      <a:gd name="connsiteY1" fmla="*/ 34314 h 54451"/>
                      <a:gd name="connsiteX2" fmla="*/ 5152 w 10284"/>
                      <a:gd name="connsiteY2" fmla="*/ 54451 h 54451"/>
                      <a:gd name="connsiteX3" fmla="*/ 10285 w 10284"/>
                      <a:gd name="connsiteY3" fmla="*/ 34314 h 54451"/>
                      <a:gd name="connsiteX4" fmla="*/ 10285 w 10284"/>
                      <a:gd name="connsiteY4" fmla="*/ 0 h 54451"/>
                      <a:gd name="connsiteX5" fmla="*/ 0 w 10284"/>
                      <a:gd name="connsiteY5" fmla="*/ 0 h 5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84" h="54451">
                        <a:moveTo>
                          <a:pt x="19" y="0"/>
                        </a:moveTo>
                        <a:lnTo>
                          <a:pt x="19" y="34314"/>
                        </a:lnTo>
                        <a:cubicBezTo>
                          <a:pt x="19" y="41354"/>
                          <a:pt x="1789" y="48276"/>
                          <a:pt x="5152" y="54451"/>
                        </a:cubicBezTo>
                        <a:cubicBezTo>
                          <a:pt x="8515" y="48276"/>
                          <a:pt x="10285" y="41354"/>
                          <a:pt x="10285" y="34314"/>
                        </a:cubicBezTo>
                        <a:lnTo>
                          <a:pt x="10285" y="0"/>
                        </a:lnTo>
                        <a:lnTo>
                          <a:pt x="0" y="0"/>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74" name="Freeform: Shape 1373">
                    <a:extLst>
                      <a:ext uri="{FF2B5EF4-FFF2-40B4-BE49-F238E27FC236}">
                        <a16:creationId xmlns:a16="http://schemas.microsoft.com/office/drawing/2014/main" id="{56E39312-F744-4D71-86EB-43F6BE4B8230}"/>
                      </a:ext>
                    </a:extLst>
                  </p:cNvPr>
                  <p:cNvSpPr/>
                  <p:nvPr/>
                </p:nvSpPr>
                <p:spPr>
                  <a:xfrm>
                    <a:off x="2103336" y="10146410"/>
                    <a:ext cx="21965" cy="66308"/>
                  </a:xfrm>
                  <a:custGeom>
                    <a:avLst/>
                    <a:gdLst>
                      <a:gd name="connsiteX0" fmla="*/ 10973 w 21965"/>
                      <a:gd name="connsiteY0" fmla="*/ 66309 h 66308"/>
                      <a:gd name="connsiteX1" fmla="*/ 21965 w 21965"/>
                      <a:gd name="connsiteY1" fmla="*/ 55316 h 66308"/>
                      <a:gd name="connsiteX2" fmla="*/ 21965 w 21965"/>
                      <a:gd name="connsiteY2" fmla="*/ 0 h 66308"/>
                      <a:gd name="connsiteX3" fmla="*/ 0 w 21965"/>
                      <a:gd name="connsiteY3" fmla="*/ 0 h 66308"/>
                      <a:gd name="connsiteX4" fmla="*/ 0 w 21965"/>
                      <a:gd name="connsiteY4" fmla="*/ 55316 h 66308"/>
                      <a:gd name="connsiteX5" fmla="*/ 10992 w 21965"/>
                      <a:gd name="connsiteY5" fmla="*/ 66309 h 6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65" h="66308">
                        <a:moveTo>
                          <a:pt x="10973" y="66309"/>
                        </a:moveTo>
                        <a:cubicBezTo>
                          <a:pt x="17030" y="66309"/>
                          <a:pt x="21965" y="61393"/>
                          <a:pt x="21965" y="55316"/>
                        </a:cubicBezTo>
                        <a:lnTo>
                          <a:pt x="21965" y="0"/>
                        </a:lnTo>
                        <a:lnTo>
                          <a:pt x="0" y="0"/>
                        </a:lnTo>
                        <a:lnTo>
                          <a:pt x="0" y="55316"/>
                        </a:lnTo>
                        <a:cubicBezTo>
                          <a:pt x="0" y="61373"/>
                          <a:pt x="4916" y="66309"/>
                          <a:pt x="10992" y="66309"/>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75" name="Freeform: Shape 1374">
                    <a:extLst>
                      <a:ext uri="{FF2B5EF4-FFF2-40B4-BE49-F238E27FC236}">
                        <a16:creationId xmlns:a16="http://schemas.microsoft.com/office/drawing/2014/main" id="{64AC015F-1971-4ABB-8BB8-1A35AD00D164}"/>
                      </a:ext>
                    </a:extLst>
                  </p:cNvPr>
                  <p:cNvSpPr/>
                  <p:nvPr/>
                </p:nvSpPr>
                <p:spPr>
                  <a:xfrm rot="5400000">
                    <a:off x="2106236" y="10040212"/>
                    <a:ext cx="16124" cy="85481"/>
                  </a:xfrm>
                  <a:custGeom>
                    <a:avLst/>
                    <a:gdLst>
                      <a:gd name="connsiteX0" fmla="*/ 0 w 16124"/>
                      <a:gd name="connsiteY0" fmla="*/ 0 h 85481"/>
                      <a:gd name="connsiteX1" fmla="*/ 16125 w 16124"/>
                      <a:gd name="connsiteY1" fmla="*/ 0 h 85481"/>
                      <a:gd name="connsiteX2" fmla="*/ 16125 w 16124"/>
                      <a:gd name="connsiteY2" fmla="*/ 85482 h 85481"/>
                      <a:gd name="connsiteX3" fmla="*/ 0 w 16124"/>
                      <a:gd name="connsiteY3" fmla="*/ 85482 h 85481"/>
                    </a:gdLst>
                    <a:ahLst/>
                    <a:cxnLst>
                      <a:cxn ang="0">
                        <a:pos x="connsiteX0" y="connsiteY0"/>
                      </a:cxn>
                      <a:cxn ang="0">
                        <a:pos x="connsiteX1" y="connsiteY1"/>
                      </a:cxn>
                      <a:cxn ang="0">
                        <a:pos x="connsiteX2" y="connsiteY2"/>
                      </a:cxn>
                      <a:cxn ang="0">
                        <a:pos x="connsiteX3" y="connsiteY3"/>
                      </a:cxn>
                    </a:cxnLst>
                    <a:rect l="l" t="t" r="r" b="b"/>
                    <a:pathLst>
                      <a:path w="16124" h="85481">
                        <a:moveTo>
                          <a:pt x="0" y="0"/>
                        </a:moveTo>
                        <a:lnTo>
                          <a:pt x="16125" y="0"/>
                        </a:lnTo>
                        <a:lnTo>
                          <a:pt x="16125" y="85482"/>
                        </a:lnTo>
                        <a:lnTo>
                          <a:pt x="0" y="85482"/>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76" name="Freeform: Shape 1375">
                    <a:extLst>
                      <a:ext uri="{FF2B5EF4-FFF2-40B4-BE49-F238E27FC236}">
                        <a16:creationId xmlns:a16="http://schemas.microsoft.com/office/drawing/2014/main" id="{2413F531-E94D-4E0C-80ED-07B4C74C9612}"/>
                      </a:ext>
                    </a:extLst>
                  </p:cNvPr>
                  <p:cNvSpPr/>
                  <p:nvPr/>
                </p:nvSpPr>
                <p:spPr>
                  <a:xfrm>
                    <a:off x="2082137" y="10067398"/>
                    <a:ext cx="64322" cy="31069"/>
                  </a:xfrm>
                  <a:custGeom>
                    <a:avLst/>
                    <a:gdLst>
                      <a:gd name="connsiteX0" fmla="*/ 64323 w 64322"/>
                      <a:gd name="connsiteY0" fmla="*/ 15535 h 31069"/>
                      <a:gd name="connsiteX1" fmla="*/ 48788 w 64322"/>
                      <a:gd name="connsiteY1" fmla="*/ 0 h 31069"/>
                      <a:gd name="connsiteX2" fmla="*/ 15535 w 64322"/>
                      <a:gd name="connsiteY2" fmla="*/ 0 h 31069"/>
                      <a:gd name="connsiteX3" fmla="*/ 0 w 64322"/>
                      <a:gd name="connsiteY3" fmla="*/ 15535 h 31069"/>
                      <a:gd name="connsiteX4" fmla="*/ 15535 w 64322"/>
                      <a:gd name="connsiteY4" fmla="*/ 31070 h 31069"/>
                      <a:gd name="connsiteX5" fmla="*/ 48788 w 64322"/>
                      <a:gd name="connsiteY5" fmla="*/ 31070 h 31069"/>
                      <a:gd name="connsiteX6" fmla="*/ 64323 w 64322"/>
                      <a:gd name="connsiteY6" fmla="*/ 15535 h 31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322" h="31069">
                        <a:moveTo>
                          <a:pt x="64323" y="15535"/>
                        </a:moveTo>
                        <a:cubicBezTo>
                          <a:pt x="64323" y="6961"/>
                          <a:pt x="57361" y="0"/>
                          <a:pt x="48788" y="0"/>
                        </a:cubicBezTo>
                        <a:lnTo>
                          <a:pt x="15535" y="0"/>
                        </a:lnTo>
                        <a:cubicBezTo>
                          <a:pt x="6961" y="0"/>
                          <a:pt x="0" y="6961"/>
                          <a:pt x="0" y="15535"/>
                        </a:cubicBezTo>
                        <a:cubicBezTo>
                          <a:pt x="0" y="24109"/>
                          <a:pt x="6961" y="31070"/>
                          <a:pt x="15535" y="31070"/>
                        </a:cubicBezTo>
                        <a:lnTo>
                          <a:pt x="48788" y="31070"/>
                        </a:lnTo>
                        <a:cubicBezTo>
                          <a:pt x="57361" y="31070"/>
                          <a:pt x="64323" y="24109"/>
                          <a:pt x="64323" y="15535"/>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77" name="Freeform: Shape 1376">
                    <a:extLst>
                      <a:ext uri="{FF2B5EF4-FFF2-40B4-BE49-F238E27FC236}">
                        <a16:creationId xmlns:a16="http://schemas.microsoft.com/office/drawing/2014/main" id="{F07E5484-5D9A-4184-A829-561D6768208C}"/>
                      </a:ext>
                    </a:extLst>
                  </p:cNvPr>
                  <p:cNvSpPr/>
                  <p:nvPr/>
                </p:nvSpPr>
                <p:spPr>
                  <a:xfrm rot="10800000">
                    <a:off x="2081154" y="10118900"/>
                    <a:ext cx="66289" cy="66289"/>
                  </a:xfrm>
                  <a:custGeom>
                    <a:avLst/>
                    <a:gdLst>
                      <a:gd name="connsiteX0" fmla="*/ 51089 w 66289"/>
                      <a:gd name="connsiteY0" fmla="*/ 0 h 66289"/>
                      <a:gd name="connsiteX1" fmla="*/ 66289 w 66289"/>
                      <a:gd name="connsiteY1" fmla="*/ 15201 h 66289"/>
                      <a:gd name="connsiteX2" fmla="*/ 66289 w 66289"/>
                      <a:gd name="connsiteY2" fmla="*/ 51088 h 66289"/>
                      <a:gd name="connsiteX3" fmla="*/ 51089 w 66289"/>
                      <a:gd name="connsiteY3" fmla="*/ 66289 h 66289"/>
                      <a:gd name="connsiteX4" fmla="*/ 15201 w 66289"/>
                      <a:gd name="connsiteY4" fmla="*/ 66289 h 66289"/>
                      <a:gd name="connsiteX5" fmla="*/ 0 w 66289"/>
                      <a:gd name="connsiteY5" fmla="*/ 51088 h 66289"/>
                      <a:gd name="connsiteX6" fmla="*/ 0 w 66289"/>
                      <a:gd name="connsiteY6" fmla="*/ 15201 h 66289"/>
                      <a:gd name="connsiteX7" fmla="*/ 15201 w 66289"/>
                      <a:gd name="connsiteY7" fmla="*/ 0 h 6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89" h="66289">
                        <a:moveTo>
                          <a:pt x="51089" y="0"/>
                        </a:moveTo>
                        <a:cubicBezTo>
                          <a:pt x="59484" y="0"/>
                          <a:pt x="66289" y="6806"/>
                          <a:pt x="66289" y="15201"/>
                        </a:cubicBezTo>
                        <a:lnTo>
                          <a:pt x="66289" y="51088"/>
                        </a:lnTo>
                        <a:cubicBezTo>
                          <a:pt x="66289" y="59483"/>
                          <a:pt x="59484" y="66289"/>
                          <a:pt x="51089" y="66289"/>
                        </a:cubicBezTo>
                        <a:lnTo>
                          <a:pt x="15201" y="66289"/>
                        </a:lnTo>
                        <a:cubicBezTo>
                          <a:pt x="6806" y="66289"/>
                          <a:pt x="0" y="59483"/>
                          <a:pt x="0" y="51088"/>
                        </a:cubicBezTo>
                        <a:lnTo>
                          <a:pt x="0" y="15201"/>
                        </a:lnTo>
                        <a:cubicBezTo>
                          <a:pt x="0" y="6806"/>
                          <a:pt x="6806" y="0"/>
                          <a:pt x="15201" y="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78" name="Freeform: Shape 1377">
                    <a:extLst>
                      <a:ext uri="{FF2B5EF4-FFF2-40B4-BE49-F238E27FC236}">
                        <a16:creationId xmlns:a16="http://schemas.microsoft.com/office/drawing/2014/main" id="{3A3CBD2C-3C7F-4D07-8FCD-EDEAC171670C}"/>
                      </a:ext>
                    </a:extLst>
                  </p:cNvPr>
                  <p:cNvSpPr/>
                  <p:nvPr/>
                </p:nvSpPr>
                <p:spPr>
                  <a:xfrm>
                    <a:off x="2059917" y="10007618"/>
                    <a:ext cx="108744" cy="90869"/>
                  </a:xfrm>
                  <a:custGeom>
                    <a:avLst/>
                    <a:gdLst>
                      <a:gd name="connsiteX0" fmla="*/ 108745 w 108744"/>
                      <a:gd name="connsiteY0" fmla="*/ 28258 h 90869"/>
                      <a:gd name="connsiteX1" fmla="*/ 108745 w 108744"/>
                      <a:gd name="connsiteY1" fmla="*/ 79248 h 90869"/>
                      <a:gd name="connsiteX2" fmla="*/ 97123 w 108744"/>
                      <a:gd name="connsiteY2" fmla="*/ 90870 h 90869"/>
                      <a:gd name="connsiteX3" fmla="*/ 97123 w 108744"/>
                      <a:gd name="connsiteY3" fmla="*/ 59348 h 90869"/>
                      <a:gd name="connsiteX4" fmla="*/ 68865 w 108744"/>
                      <a:gd name="connsiteY4" fmla="*/ 31090 h 90869"/>
                      <a:gd name="connsiteX5" fmla="*/ 39880 w 108744"/>
                      <a:gd name="connsiteY5" fmla="*/ 31090 h 90869"/>
                      <a:gd name="connsiteX6" fmla="*/ 11622 w 108744"/>
                      <a:gd name="connsiteY6" fmla="*/ 59348 h 90869"/>
                      <a:gd name="connsiteX7" fmla="*/ 11622 w 108744"/>
                      <a:gd name="connsiteY7" fmla="*/ 90870 h 90869"/>
                      <a:gd name="connsiteX8" fmla="*/ 0 w 108744"/>
                      <a:gd name="connsiteY8" fmla="*/ 79248 h 90869"/>
                      <a:gd name="connsiteX9" fmla="*/ 0 w 108744"/>
                      <a:gd name="connsiteY9" fmla="*/ 28258 h 90869"/>
                      <a:gd name="connsiteX10" fmla="*/ 28258 w 108744"/>
                      <a:gd name="connsiteY10" fmla="*/ 0 h 90869"/>
                      <a:gd name="connsiteX11" fmla="*/ 80467 w 108744"/>
                      <a:gd name="connsiteY11" fmla="*/ 0 h 90869"/>
                      <a:gd name="connsiteX12" fmla="*/ 108725 w 108744"/>
                      <a:gd name="connsiteY12" fmla="*/ 28258 h 9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744" h="90869">
                        <a:moveTo>
                          <a:pt x="108745" y="28258"/>
                        </a:moveTo>
                        <a:lnTo>
                          <a:pt x="108745" y="79248"/>
                        </a:lnTo>
                        <a:cubicBezTo>
                          <a:pt x="108745" y="85659"/>
                          <a:pt x="103553" y="90870"/>
                          <a:pt x="97123" y="90870"/>
                        </a:cubicBezTo>
                        <a:lnTo>
                          <a:pt x="97123" y="59348"/>
                        </a:lnTo>
                        <a:cubicBezTo>
                          <a:pt x="97123" y="43754"/>
                          <a:pt x="84479" y="31090"/>
                          <a:pt x="68865" y="31090"/>
                        </a:cubicBezTo>
                        <a:lnTo>
                          <a:pt x="39880" y="31090"/>
                        </a:lnTo>
                        <a:cubicBezTo>
                          <a:pt x="24286" y="31090"/>
                          <a:pt x="11622" y="43734"/>
                          <a:pt x="11622" y="59348"/>
                        </a:cubicBezTo>
                        <a:lnTo>
                          <a:pt x="11622" y="90870"/>
                        </a:lnTo>
                        <a:cubicBezTo>
                          <a:pt x="5211" y="90870"/>
                          <a:pt x="0" y="85678"/>
                          <a:pt x="0" y="79248"/>
                        </a:cubicBezTo>
                        <a:lnTo>
                          <a:pt x="0" y="28258"/>
                        </a:lnTo>
                        <a:cubicBezTo>
                          <a:pt x="0" y="12664"/>
                          <a:pt x="12644" y="0"/>
                          <a:pt x="28258" y="0"/>
                        </a:cubicBezTo>
                        <a:lnTo>
                          <a:pt x="80467" y="0"/>
                        </a:lnTo>
                        <a:cubicBezTo>
                          <a:pt x="96061" y="0"/>
                          <a:pt x="108725" y="12644"/>
                          <a:pt x="108725" y="28258"/>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361" name="Graphic 10">
                  <a:extLst>
                    <a:ext uri="{FF2B5EF4-FFF2-40B4-BE49-F238E27FC236}">
                      <a16:creationId xmlns:a16="http://schemas.microsoft.com/office/drawing/2014/main" id="{3A77DC35-8C80-46B8-B605-7CD3068203FF}"/>
                    </a:ext>
                  </a:extLst>
                </p:cNvPr>
                <p:cNvGrpSpPr/>
                <p:nvPr/>
              </p:nvGrpSpPr>
              <p:grpSpPr>
                <a:xfrm>
                  <a:off x="2077733" y="9865188"/>
                  <a:ext cx="271606" cy="71598"/>
                  <a:chOff x="2077733" y="9865188"/>
                  <a:chExt cx="271606" cy="71598"/>
                </a:xfrm>
              </p:grpSpPr>
              <p:sp>
                <p:nvSpPr>
                  <p:cNvPr id="1366" name="Freeform: Shape 1365">
                    <a:extLst>
                      <a:ext uri="{FF2B5EF4-FFF2-40B4-BE49-F238E27FC236}">
                        <a16:creationId xmlns:a16="http://schemas.microsoft.com/office/drawing/2014/main" id="{A2795E4A-C276-431A-AE79-E563111ACDC4}"/>
                      </a:ext>
                    </a:extLst>
                  </p:cNvPr>
                  <p:cNvSpPr/>
                  <p:nvPr/>
                </p:nvSpPr>
                <p:spPr>
                  <a:xfrm rot="5400000">
                    <a:off x="2188965" y="9813303"/>
                    <a:ext cx="21237" cy="175309"/>
                  </a:xfrm>
                  <a:custGeom>
                    <a:avLst/>
                    <a:gdLst>
                      <a:gd name="connsiteX0" fmla="*/ 0 w 21237"/>
                      <a:gd name="connsiteY0" fmla="*/ 0 h 175309"/>
                      <a:gd name="connsiteX1" fmla="*/ 21238 w 21237"/>
                      <a:gd name="connsiteY1" fmla="*/ 0 h 175309"/>
                      <a:gd name="connsiteX2" fmla="*/ 21238 w 21237"/>
                      <a:gd name="connsiteY2" fmla="*/ 175309 h 175309"/>
                      <a:gd name="connsiteX3" fmla="*/ 0 w 21237"/>
                      <a:gd name="connsiteY3" fmla="*/ 175309 h 175309"/>
                    </a:gdLst>
                    <a:ahLst/>
                    <a:cxnLst>
                      <a:cxn ang="0">
                        <a:pos x="connsiteX0" y="connsiteY0"/>
                      </a:cxn>
                      <a:cxn ang="0">
                        <a:pos x="connsiteX1" y="connsiteY1"/>
                      </a:cxn>
                      <a:cxn ang="0">
                        <a:pos x="connsiteX2" y="connsiteY2"/>
                      </a:cxn>
                      <a:cxn ang="0">
                        <a:pos x="connsiteX3" y="connsiteY3"/>
                      </a:cxn>
                    </a:cxnLst>
                    <a:rect l="l" t="t" r="r" b="b"/>
                    <a:pathLst>
                      <a:path w="21237" h="175309">
                        <a:moveTo>
                          <a:pt x="0" y="0"/>
                        </a:moveTo>
                        <a:lnTo>
                          <a:pt x="21238" y="0"/>
                        </a:lnTo>
                        <a:lnTo>
                          <a:pt x="21238" y="175309"/>
                        </a:lnTo>
                        <a:lnTo>
                          <a:pt x="0" y="175309"/>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67" name="Freeform: Shape 1366">
                    <a:extLst>
                      <a:ext uri="{FF2B5EF4-FFF2-40B4-BE49-F238E27FC236}">
                        <a16:creationId xmlns:a16="http://schemas.microsoft.com/office/drawing/2014/main" id="{D14ED8F7-D28F-45F8-A7F6-9685960B4A67}"/>
                      </a:ext>
                    </a:extLst>
                  </p:cNvPr>
                  <p:cNvSpPr/>
                  <p:nvPr/>
                </p:nvSpPr>
                <p:spPr>
                  <a:xfrm>
                    <a:off x="2111929" y="9865208"/>
                    <a:ext cx="175309" cy="71539"/>
                  </a:xfrm>
                  <a:custGeom>
                    <a:avLst/>
                    <a:gdLst>
                      <a:gd name="connsiteX0" fmla="*/ 175309 w 175309"/>
                      <a:gd name="connsiteY0" fmla="*/ 63103 h 71539"/>
                      <a:gd name="connsiteX1" fmla="*/ 0 w 175309"/>
                      <a:gd name="connsiteY1" fmla="*/ 63103 h 71539"/>
                      <a:gd name="connsiteX2" fmla="*/ 0 w 175309"/>
                      <a:gd name="connsiteY2" fmla="*/ 71540 h 71539"/>
                      <a:gd name="connsiteX3" fmla="*/ 175309 w 175309"/>
                      <a:gd name="connsiteY3" fmla="*/ 71540 h 71539"/>
                      <a:gd name="connsiteX4" fmla="*/ 175309 w 175309"/>
                      <a:gd name="connsiteY4" fmla="*/ 63103 h 71539"/>
                      <a:gd name="connsiteX5" fmla="*/ 0 w 175309"/>
                      <a:gd name="connsiteY5" fmla="*/ 0 h 71539"/>
                      <a:gd name="connsiteX6" fmla="*/ 0 w 175309"/>
                      <a:gd name="connsiteY6" fmla="*/ 8436 h 71539"/>
                      <a:gd name="connsiteX7" fmla="*/ 175309 w 175309"/>
                      <a:gd name="connsiteY7" fmla="*/ 8436 h 71539"/>
                      <a:gd name="connsiteX8" fmla="*/ 175309 w 175309"/>
                      <a:gd name="connsiteY8" fmla="*/ 0 h 71539"/>
                      <a:gd name="connsiteX9" fmla="*/ 0 w 175309"/>
                      <a:gd name="connsiteY9" fmla="*/ 0 h 71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309" h="71539">
                        <a:moveTo>
                          <a:pt x="175309" y="63103"/>
                        </a:moveTo>
                        <a:lnTo>
                          <a:pt x="0" y="63103"/>
                        </a:lnTo>
                        <a:lnTo>
                          <a:pt x="0" y="71540"/>
                        </a:lnTo>
                        <a:lnTo>
                          <a:pt x="175309" y="71540"/>
                        </a:lnTo>
                        <a:lnTo>
                          <a:pt x="175309" y="63103"/>
                        </a:lnTo>
                        <a:close/>
                        <a:moveTo>
                          <a:pt x="0" y="0"/>
                        </a:moveTo>
                        <a:lnTo>
                          <a:pt x="0" y="8436"/>
                        </a:lnTo>
                        <a:lnTo>
                          <a:pt x="175309" y="8436"/>
                        </a:lnTo>
                        <a:lnTo>
                          <a:pt x="175309" y="0"/>
                        </a:lnTo>
                        <a:lnTo>
                          <a:pt x="0" y="0"/>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68" name="Freeform: Shape 1367">
                    <a:extLst>
                      <a:ext uri="{FF2B5EF4-FFF2-40B4-BE49-F238E27FC236}">
                        <a16:creationId xmlns:a16="http://schemas.microsoft.com/office/drawing/2014/main" id="{A4718FE6-1617-41F6-ACA3-FA382B3A8BD8}"/>
                      </a:ext>
                    </a:extLst>
                  </p:cNvPr>
                  <p:cNvSpPr/>
                  <p:nvPr/>
                </p:nvSpPr>
                <p:spPr>
                  <a:xfrm>
                    <a:off x="2287238" y="9865188"/>
                    <a:ext cx="62100" cy="71539"/>
                  </a:xfrm>
                  <a:custGeom>
                    <a:avLst/>
                    <a:gdLst>
                      <a:gd name="connsiteX0" fmla="*/ 0 w 62100"/>
                      <a:gd name="connsiteY0" fmla="*/ 0 h 71539"/>
                      <a:gd name="connsiteX1" fmla="*/ 62100 w 62100"/>
                      <a:gd name="connsiteY1" fmla="*/ 0 h 71539"/>
                      <a:gd name="connsiteX2" fmla="*/ 62100 w 62100"/>
                      <a:gd name="connsiteY2" fmla="*/ 7945 h 71539"/>
                      <a:gd name="connsiteX3" fmla="*/ 49083 w 62100"/>
                      <a:gd name="connsiteY3" fmla="*/ 7945 h 71539"/>
                      <a:gd name="connsiteX4" fmla="*/ 21257 w 62100"/>
                      <a:gd name="connsiteY4" fmla="*/ 35770 h 71539"/>
                      <a:gd name="connsiteX5" fmla="*/ 49083 w 62100"/>
                      <a:gd name="connsiteY5" fmla="*/ 63595 h 71539"/>
                      <a:gd name="connsiteX6" fmla="*/ 62100 w 62100"/>
                      <a:gd name="connsiteY6" fmla="*/ 63595 h 71539"/>
                      <a:gd name="connsiteX7" fmla="*/ 62100 w 62100"/>
                      <a:gd name="connsiteY7" fmla="*/ 71540 h 71539"/>
                      <a:gd name="connsiteX8" fmla="*/ 0 w 62100"/>
                      <a:gd name="connsiteY8" fmla="*/ 71540 h 71539"/>
                      <a:gd name="connsiteX9" fmla="*/ 0 w 62100"/>
                      <a:gd name="connsiteY9" fmla="*/ 0 h 71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100" h="71539">
                        <a:moveTo>
                          <a:pt x="0" y="0"/>
                        </a:moveTo>
                        <a:lnTo>
                          <a:pt x="62100" y="0"/>
                        </a:lnTo>
                        <a:lnTo>
                          <a:pt x="62100" y="7945"/>
                        </a:lnTo>
                        <a:lnTo>
                          <a:pt x="49083" y="7945"/>
                        </a:lnTo>
                        <a:cubicBezTo>
                          <a:pt x="33705" y="7945"/>
                          <a:pt x="21257" y="20412"/>
                          <a:pt x="21257" y="35770"/>
                        </a:cubicBezTo>
                        <a:cubicBezTo>
                          <a:pt x="21257" y="51128"/>
                          <a:pt x="33725" y="63595"/>
                          <a:pt x="49083" y="63595"/>
                        </a:cubicBezTo>
                        <a:lnTo>
                          <a:pt x="62100" y="63595"/>
                        </a:lnTo>
                        <a:lnTo>
                          <a:pt x="62100" y="71540"/>
                        </a:lnTo>
                        <a:lnTo>
                          <a:pt x="0" y="71540"/>
                        </a:lnTo>
                        <a:lnTo>
                          <a:pt x="0" y="0"/>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69" name="Freeform: Shape 1368">
                    <a:extLst>
                      <a:ext uri="{FF2B5EF4-FFF2-40B4-BE49-F238E27FC236}">
                        <a16:creationId xmlns:a16="http://schemas.microsoft.com/office/drawing/2014/main" id="{8FD85B56-4A5A-4117-96C4-EB3EA6974BA3}"/>
                      </a:ext>
                    </a:extLst>
                  </p:cNvPr>
                  <p:cNvSpPr/>
                  <p:nvPr/>
                </p:nvSpPr>
                <p:spPr>
                  <a:xfrm>
                    <a:off x="2077733" y="9865247"/>
                    <a:ext cx="71539" cy="71539"/>
                  </a:xfrm>
                  <a:custGeom>
                    <a:avLst/>
                    <a:gdLst>
                      <a:gd name="connsiteX0" fmla="*/ 71539 w 71539"/>
                      <a:gd name="connsiteY0" fmla="*/ 35770 h 71539"/>
                      <a:gd name="connsiteX1" fmla="*/ 35770 w 71539"/>
                      <a:gd name="connsiteY1" fmla="*/ 71540 h 71539"/>
                      <a:gd name="connsiteX2" fmla="*/ 0 w 71539"/>
                      <a:gd name="connsiteY2" fmla="*/ 35770 h 71539"/>
                      <a:gd name="connsiteX3" fmla="*/ 35770 w 71539"/>
                      <a:gd name="connsiteY3" fmla="*/ 0 h 71539"/>
                      <a:gd name="connsiteX4" fmla="*/ 71539 w 71539"/>
                      <a:gd name="connsiteY4" fmla="*/ 35770 h 71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9" h="71539">
                        <a:moveTo>
                          <a:pt x="71539" y="35770"/>
                        </a:moveTo>
                        <a:cubicBezTo>
                          <a:pt x="71539" y="55525"/>
                          <a:pt x="55525" y="71540"/>
                          <a:pt x="35770" y="71540"/>
                        </a:cubicBezTo>
                        <a:cubicBezTo>
                          <a:pt x="16015" y="71540"/>
                          <a:pt x="0" y="55525"/>
                          <a:pt x="0" y="35770"/>
                        </a:cubicBezTo>
                        <a:cubicBezTo>
                          <a:pt x="0" y="16015"/>
                          <a:pt x="16015" y="0"/>
                          <a:pt x="35770" y="0"/>
                        </a:cubicBezTo>
                        <a:cubicBezTo>
                          <a:pt x="55525" y="0"/>
                          <a:pt x="71539" y="16015"/>
                          <a:pt x="71539" y="3577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70" name="Freeform: Shape 1369">
                    <a:extLst>
                      <a:ext uri="{FF2B5EF4-FFF2-40B4-BE49-F238E27FC236}">
                        <a16:creationId xmlns:a16="http://schemas.microsoft.com/office/drawing/2014/main" id="{F396CE27-E076-4BD2-8756-65B8F9D4FCED}"/>
                      </a:ext>
                    </a:extLst>
                  </p:cNvPr>
                  <p:cNvSpPr/>
                  <p:nvPr/>
                </p:nvSpPr>
                <p:spPr>
                  <a:xfrm>
                    <a:off x="2091517" y="9879032"/>
                    <a:ext cx="43969" cy="43969"/>
                  </a:xfrm>
                  <a:custGeom>
                    <a:avLst/>
                    <a:gdLst>
                      <a:gd name="connsiteX0" fmla="*/ 43970 w 43969"/>
                      <a:gd name="connsiteY0" fmla="*/ 21985 h 43969"/>
                      <a:gd name="connsiteX1" fmla="*/ 21985 w 43969"/>
                      <a:gd name="connsiteY1" fmla="*/ 43970 h 43969"/>
                      <a:gd name="connsiteX2" fmla="*/ 0 w 43969"/>
                      <a:gd name="connsiteY2" fmla="*/ 21985 h 43969"/>
                      <a:gd name="connsiteX3" fmla="*/ 21985 w 43969"/>
                      <a:gd name="connsiteY3" fmla="*/ 0 h 43969"/>
                      <a:gd name="connsiteX4" fmla="*/ 43970 w 43969"/>
                      <a:gd name="connsiteY4" fmla="*/ 21985 h 43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69" h="43969">
                        <a:moveTo>
                          <a:pt x="43970" y="21985"/>
                        </a:moveTo>
                        <a:cubicBezTo>
                          <a:pt x="43970" y="34127"/>
                          <a:pt x="34127" y="43970"/>
                          <a:pt x="21985" y="43970"/>
                        </a:cubicBezTo>
                        <a:cubicBezTo>
                          <a:pt x="9843" y="43970"/>
                          <a:pt x="0" y="34127"/>
                          <a:pt x="0" y="21985"/>
                        </a:cubicBezTo>
                        <a:cubicBezTo>
                          <a:pt x="0" y="9843"/>
                          <a:pt x="9843" y="0"/>
                          <a:pt x="21985" y="0"/>
                        </a:cubicBezTo>
                        <a:cubicBezTo>
                          <a:pt x="34127" y="0"/>
                          <a:pt x="43970" y="9843"/>
                          <a:pt x="43970" y="21985"/>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362" name="Freeform: Shape 1361">
                  <a:extLst>
                    <a:ext uri="{FF2B5EF4-FFF2-40B4-BE49-F238E27FC236}">
                      <a16:creationId xmlns:a16="http://schemas.microsoft.com/office/drawing/2014/main" id="{FBB23BAB-C868-43C1-934D-E97129723395}"/>
                    </a:ext>
                  </a:extLst>
                </p:cNvPr>
                <p:cNvSpPr/>
                <p:nvPr/>
              </p:nvSpPr>
              <p:spPr>
                <a:xfrm>
                  <a:off x="2376181" y="9872267"/>
                  <a:ext cx="94527" cy="57420"/>
                </a:xfrm>
                <a:custGeom>
                  <a:avLst/>
                  <a:gdLst>
                    <a:gd name="connsiteX0" fmla="*/ 0 w 94527"/>
                    <a:gd name="connsiteY0" fmla="*/ 0 h 57420"/>
                    <a:gd name="connsiteX1" fmla="*/ 94527 w 94527"/>
                    <a:gd name="connsiteY1" fmla="*/ 0 h 57420"/>
                    <a:gd name="connsiteX2" fmla="*/ 94527 w 94527"/>
                    <a:gd name="connsiteY2" fmla="*/ 57420 h 57420"/>
                    <a:gd name="connsiteX3" fmla="*/ 0 w 94527"/>
                    <a:gd name="connsiteY3" fmla="*/ 57420 h 57420"/>
                  </a:gdLst>
                  <a:ahLst/>
                  <a:cxnLst>
                    <a:cxn ang="0">
                      <a:pos x="connsiteX0" y="connsiteY0"/>
                    </a:cxn>
                    <a:cxn ang="0">
                      <a:pos x="connsiteX1" y="connsiteY1"/>
                    </a:cxn>
                    <a:cxn ang="0">
                      <a:pos x="connsiteX2" y="connsiteY2"/>
                    </a:cxn>
                    <a:cxn ang="0">
                      <a:pos x="connsiteX3" y="connsiteY3"/>
                    </a:cxn>
                  </a:cxnLst>
                  <a:rect l="l" t="t" r="r" b="b"/>
                  <a:pathLst>
                    <a:path w="94527" h="57420">
                      <a:moveTo>
                        <a:pt x="0" y="0"/>
                      </a:moveTo>
                      <a:lnTo>
                        <a:pt x="94527" y="0"/>
                      </a:lnTo>
                      <a:lnTo>
                        <a:pt x="94527" y="57420"/>
                      </a:lnTo>
                      <a:lnTo>
                        <a:pt x="0" y="57420"/>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63" name="Freeform: Shape 1362">
                  <a:extLst>
                    <a:ext uri="{FF2B5EF4-FFF2-40B4-BE49-F238E27FC236}">
                      <a16:creationId xmlns:a16="http://schemas.microsoft.com/office/drawing/2014/main" id="{AB9C4359-CB61-44C0-B8BF-E00D58DF9924}"/>
                    </a:ext>
                  </a:extLst>
                </p:cNvPr>
                <p:cNvSpPr/>
                <p:nvPr/>
              </p:nvSpPr>
              <p:spPr>
                <a:xfrm rot="10800000">
                  <a:off x="2329969" y="9847805"/>
                  <a:ext cx="63005" cy="106306"/>
                </a:xfrm>
                <a:custGeom>
                  <a:avLst/>
                  <a:gdLst>
                    <a:gd name="connsiteX0" fmla="*/ 53232 w 63005"/>
                    <a:gd name="connsiteY0" fmla="*/ 0 h 106306"/>
                    <a:gd name="connsiteX1" fmla="*/ 63005 w 63005"/>
                    <a:gd name="connsiteY1" fmla="*/ 9773 h 106306"/>
                    <a:gd name="connsiteX2" fmla="*/ 63005 w 63005"/>
                    <a:gd name="connsiteY2" fmla="*/ 96533 h 106306"/>
                    <a:gd name="connsiteX3" fmla="*/ 53232 w 63005"/>
                    <a:gd name="connsiteY3" fmla="*/ 106306 h 106306"/>
                    <a:gd name="connsiteX4" fmla="*/ 9773 w 63005"/>
                    <a:gd name="connsiteY4" fmla="*/ 106306 h 106306"/>
                    <a:gd name="connsiteX5" fmla="*/ 0 w 63005"/>
                    <a:gd name="connsiteY5" fmla="*/ 96533 h 106306"/>
                    <a:gd name="connsiteX6" fmla="*/ 0 w 63005"/>
                    <a:gd name="connsiteY6" fmla="*/ 9773 h 106306"/>
                    <a:gd name="connsiteX7" fmla="*/ 9773 w 63005"/>
                    <a:gd name="connsiteY7" fmla="*/ 0 h 10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05" h="106306">
                      <a:moveTo>
                        <a:pt x="53232" y="0"/>
                      </a:moveTo>
                      <a:cubicBezTo>
                        <a:pt x="58630" y="0"/>
                        <a:pt x="63005" y="4376"/>
                        <a:pt x="63005" y="9773"/>
                      </a:cubicBezTo>
                      <a:lnTo>
                        <a:pt x="63005" y="96533"/>
                      </a:lnTo>
                      <a:cubicBezTo>
                        <a:pt x="63005" y="101931"/>
                        <a:pt x="58630" y="106306"/>
                        <a:pt x="53232" y="106306"/>
                      </a:cubicBezTo>
                      <a:lnTo>
                        <a:pt x="9773" y="106306"/>
                      </a:lnTo>
                      <a:cubicBezTo>
                        <a:pt x="4376" y="106306"/>
                        <a:pt x="0" y="101931"/>
                        <a:pt x="0" y="96533"/>
                      </a:cubicBezTo>
                      <a:lnTo>
                        <a:pt x="0" y="9773"/>
                      </a:lnTo>
                      <a:cubicBezTo>
                        <a:pt x="0" y="4376"/>
                        <a:pt x="4376" y="0"/>
                        <a:pt x="9773" y="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64" name="Freeform: Shape 1363">
                  <a:extLst>
                    <a:ext uri="{FF2B5EF4-FFF2-40B4-BE49-F238E27FC236}">
                      <a16:creationId xmlns:a16="http://schemas.microsoft.com/office/drawing/2014/main" id="{2D399EBF-3AB4-46BA-8739-FF55C4CCF0E4}"/>
                    </a:ext>
                  </a:extLst>
                </p:cNvPr>
                <p:cNvSpPr/>
                <p:nvPr/>
              </p:nvSpPr>
              <p:spPr>
                <a:xfrm>
                  <a:off x="2343145" y="9864264"/>
                  <a:ext cx="17029" cy="17029"/>
                </a:xfrm>
                <a:custGeom>
                  <a:avLst/>
                  <a:gdLst>
                    <a:gd name="connsiteX0" fmla="*/ 17029 w 17029"/>
                    <a:gd name="connsiteY0" fmla="*/ 8515 h 17029"/>
                    <a:gd name="connsiteX1" fmla="*/ 8515 w 17029"/>
                    <a:gd name="connsiteY1" fmla="*/ 0 h 17029"/>
                    <a:gd name="connsiteX2" fmla="*/ 0 w 17029"/>
                    <a:gd name="connsiteY2" fmla="*/ 8515 h 17029"/>
                    <a:gd name="connsiteX3" fmla="*/ 8515 w 17029"/>
                    <a:gd name="connsiteY3" fmla="*/ 17029 h 17029"/>
                    <a:gd name="connsiteX4" fmla="*/ 17029 w 17029"/>
                    <a:gd name="connsiteY4" fmla="*/ 8515 h 17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9" h="17029">
                      <a:moveTo>
                        <a:pt x="17029" y="8515"/>
                      </a:moveTo>
                      <a:cubicBezTo>
                        <a:pt x="17029" y="3815"/>
                        <a:pt x="13214" y="0"/>
                        <a:pt x="8515" y="0"/>
                      </a:cubicBezTo>
                      <a:cubicBezTo>
                        <a:pt x="3815" y="0"/>
                        <a:pt x="0" y="3815"/>
                        <a:pt x="0" y="8515"/>
                      </a:cubicBezTo>
                      <a:cubicBezTo>
                        <a:pt x="0" y="13214"/>
                        <a:pt x="3815" y="17029"/>
                        <a:pt x="8515" y="17029"/>
                      </a:cubicBezTo>
                      <a:cubicBezTo>
                        <a:pt x="13214" y="17029"/>
                        <a:pt x="17029" y="13214"/>
                        <a:pt x="17029" y="8515"/>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65" name="Freeform: Shape 1364">
                  <a:extLst>
                    <a:ext uri="{FF2B5EF4-FFF2-40B4-BE49-F238E27FC236}">
                      <a16:creationId xmlns:a16="http://schemas.microsoft.com/office/drawing/2014/main" id="{98E3A168-3B5E-453D-A8CE-3254826A90F5}"/>
                    </a:ext>
                  </a:extLst>
                </p:cNvPr>
                <p:cNvSpPr/>
                <p:nvPr/>
              </p:nvSpPr>
              <p:spPr>
                <a:xfrm>
                  <a:off x="2343145" y="9889179"/>
                  <a:ext cx="17029" cy="51422"/>
                </a:xfrm>
                <a:custGeom>
                  <a:avLst/>
                  <a:gdLst>
                    <a:gd name="connsiteX0" fmla="*/ 8515 w 17029"/>
                    <a:gd name="connsiteY0" fmla="*/ 0 h 51422"/>
                    <a:gd name="connsiteX1" fmla="*/ 0 w 17029"/>
                    <a:gd name="connsiteY1" fmla="*/ 8515 h 51422"/>
                    <a:gd name="connsiteX2" fmla="*/ 0 w 17029"/>
                    <a:gd name="connsiteY2" fmla="*/ 42908 h 51422"/>
                    <a:gd name="connsiteX3" fmla="*/ 8515 w 17029"/>
                    <a:gd name="connsiteY3" fmla="*/ 51423 h 51422"/>
                    <a:gd name="connsiteX4" fmla="*/ 17029 w 17029"/>
                    <a:gd name="connsiteY4" fmla="*/ 42908 h 51422"/>
                    <a:gd name="connsiteX5" fmla="*/ 17029 w 17029"/>
                    <a:gd name="connsiteY5" fmla="*/ 8515 h 51422"/>
                    <a:gd name="connsiteX6" fmla="*/ 8515 w 17029"/>
                    <a:gd name="connsiteY6" fmla="*/ 0 h 51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29" h="51422">
                      <a:moveTo>
                        <a:pt x="8515" y="0"/>
                      </a:moveTo>
                      <a:cubicBezTo>
                        <a:pt x="3815" y="0"/>
                        <a:pt x="0" y="3815"/>
                        <a:pt x="0" y="8515"/>
                      </a:cubicBezTo>
                      <a:lnTo>
                        <a:pt x="0" y="42908"/>
                      </a:lnTo>
                      <a:cubicBezTo>
                        <a:pt x="0" y="47608"/>
                        <a:pt x="3815" y="51423"/>
                        <a:pt x="8515" y="51423"/>
                      </a:cubicBezTo>
                      <a:cubicBezTo>
                        <a:pt x="13214" y="51423"/>
                        <a:pt x="17029" y="47608"/>
                        <a:pt x="17029" y="42908"/>
                      </a:cubicBezTo>
                      <a:lnTo>
                        <a:pt x="17029" y="8515"/>
                      </a:lnTo>
                      <a:cubicBezTo>
                        <a:pt x="17029" y="3815"/>
                        <a:pt x="13214" y="0"/>
                        <a:pt x="8515" y="0"/>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783" name="Freeform: Shape 782">
                <a:extLst>
                  <a:ext uri="{FF2B5EF4-FFF2-40B4-BE49-F238E27FC236}">
                    <a16:creationId xmlns:a16="http://schemas.microsoft.com/office/drawing/2014/main" id="{0AA4D8A5-5CCA-4094-A844-8A5A4649C188}"/>
                  </a:ext>
                </a:extLst>
              </p:cNvPr>
              <p:cNvSpPr/>
              <p:nvPr/>
            </p:nvSpPr>
            <p:spPr>
              <a:xfrm>
                <a:off x="2655515" y="9199171"/>
                <a:ext cx="95569" cy="127858"/>
              </a:xfrm>
              <a:custGeom>
                <a:avLst/>
                <a:gdLst>
                  <a:gd name="connsiteX0" fmla="*/ 0 w 95569"/>
                  <a:gd name="connsiteY0" fmla="*/ 0 h 127858"/>
                  <a:gd name="connsiteX1" fmla="*/ 95570 w 95569"/>
                  <a:gd name="connsiteY1" fmla="*/ 0 h 127858"/>
                  <a:gd name="connsiteX2" fmla="*/ 95570 w 95569"/>
                  <a:gd name="connsiteY2" fmla="*/ 127859 h 127858"/>
                  <a:gd name="connsiteX3" fmla="*/ 0 w 95569"/>
                  <a:gd name="connsiteY3" fmla="*/ 127859 h 127858"/>
                </a:gdLst>
                <a:ahLst/>
                <a:cxnLst>
                  <a:cxn ang="0">
                    <a:pos x="connsiteX0" y="connsiteY0"/>
                  </a:cxn>
                  <a:cxn ang="0">
                    <a:pos x="connsiteX1" y="connsiteY1"/>
                  </a:cxn>
                  <a:cxn ang="0">
                    <a:pos x="connsiteX2" y="connsiteY2"/>
                  </a:cxn>
                  <a:cxn ang="0">
                    <a:pos x="connsiteX3" y="connsiteY3"/>
                  </a:cxn>
                </a:cxnLst>
                <a:rect l="l" t="t" r="r" b="b"/>
                <a:pathLst>
                  <a:path w="95569" h="127858">
                    <a:moveTo>
                      <a:pt x="0" y="0"/>
                    </a:moveTo>
                    <a:lnTo>
                      <a:pt x="95570" y="0"/>
                    </a:lnTo>
                    <a:lnTo>
                      <a:pt x="95570" y="127859"/>
                    </a:lnTo>
                    <a:lnTo>
                      <a:pt x="0" y="127859"/>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84" name="Freeform: Shape 783">
                <a:extLst>
                  <a:ext uri="{FF2B5EF4-FFF2-40B4-BE49-F238E27FC236}">
                    <a16:creationId xmlns:a16="http://schemas.microsoft.com/office/drawing/2014/main" id="{50C44882-D839-4C43-81FC-4CEE2B42EBBF}"/>
                  </a:ext>
                </a:extLst>
              </p:cNvPr>
              <p:cNvSpPr/>
              <p:nvPr/>
            </p:nvSpPr>
            <p:spPr>
              <a:xfrm>
                <a:off x="2530351" y="9106158"/>
                <a:ext cx="345879" cy="50793"/>
              </a:xfrm>
              <a:custGeom>
                <a:avLst/>
                <a:gdLst>
                  <a:gd name="connsiteX0" fmla="*/ 50813 w 345879"/>
                  <a:gd name="connsiteY0" fmla="*/ 50793 h 50793"/>
                  <a:gd name="connsiteX1" fmla="*/ 295086 w 345879"/>
                  <a:gd name="connsiteY1" fmla="*/ 50793 h 50793"/>
                  <a:gd name="connsiteX2" fmla="*/ 345879 w 345879"/>
                  <a:gd name="connsiteY2" fmla="*/ 0 h 50793"/>
                  <a:gd name="connsiteX3" fmla="*/ 0 w 345879"/>
                  <a:gd name="connsiteY3" fmla="*/ 0 h 50793"/>
                  <a:gd name="connsiteX4" fmla="*/ 50793 w 345879"/>
                  <a:gd name="connsiteY4" fmla="*/ 50793 h 50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879" h="50793">
                    <a:moveTo>
                      <a:pt x="50813" y="50793"/>
                    </a:moveTo>
                    <a:lnTo>
                      <a:pt x="295086" y="50793"/>
                    </a:lnTo>
                    <a:cubicBezTo>
                      <a:pt x="323147" y="50793"/>
                      <a:pt x="345879" y="28042"/>
                      <a:pt x="345879" y="0"/>
                    </a:cubicBezTo>
                    <a:lnTo>
                      <a:pt x="0" y="0"/>
                    </a:lnTo>
                    <a:cubicBezTo>
                      <a:pt x="0" y="28061"/>
                      <a:pt x="22752" y="50793"/>
                      <a:pt x="50793" y="50793"/>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85" name="Freeform: Shape 784">
                <a:extLst>
                  <a:ext uri="{FF2B5EF4-FFF2-40B4-BE49-F238E27FC236}">
                    <a16:creationId xmlns:a16="http://schemas.microsoft.com/office/drawing/2014/main" id="{063E4A86-C706-4CD5-AAEC-3311B9142C27}"/>
                  </a:ext>
                </a:extLst>
              </p:cNvPr>
              <p:cNvSpPr/>
              <p:nvPr/>
            </p:nvSpPr>
            <p:spPr>
              <a:xfrm rot="10800000">
                <a:off x="2581164" y="9156971"/>
                <a:ext cx="244292" cy="84400"/>
              </a:xfrm>
              <a:custGeom>
                <a:avLst/>
                <a:gdLst>
                  <a:gd name="connsiteX0" fmla="*/ 33843 w 244292"/>
                  <a:gd name="connsiteY0" fmla="*/ 0 h 84400"/>
                  <a:gd name="connsiteX1" fmla="*/ 210450 w 244292"/>
                  <a:gd name="connsiteY1" fmla="*/ 0 h 84400"/>
                  <a:gd name="connsiteX2" fmla="*/ 244292 w 244292"/>
                  <a:gd name="connsiteY2" fmla="*/ 33843 h 84400"/>
                  <a:gd name="connsiteX3" fmla="*/ 244292 w 244292"/>
                  <a:gd name="connsiteY3" fmla="*/ 84400 h 84400"/>
                  <a:gd name="connsiteX4" fmla="*/ 0 w 244292"/>
                  <a:gd name="connsiteY4" fmla="*/ 84400 h 84400"/>
                  <a:gd name="connsiteX5" fmla="*/ 0 w 244292"/>
                  <a:gd name="connsiteY5" fmla="*/ 33843 h 84400"/>
                  <a:gd name="connsiteX6" fmla="*/ 33843 w 244292"/>
                  <a:gd name="connsiteY6" fmla="*/ 0 h 8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292" h="84400">
                    <a:moveTo>
                      <a:pt x="33843" y="0"/>
                    </a:moveTo>
                    <a:lnTo>
                      <a:pt x="210450" y="0"/>
                    </a:lnTo>
                    <a:cubicBezTo>
                      <a:pt x="229131" y="0"/>
                      <a:pt x="244292" y="15161"/>
                      <a:pt x="244292" y="33843"/>
                    </a:cubicBezTo>
                    <a:lnTo>
                      <a:pt x="244292" y="84400"/>
                    </a:lnTo>
                    <a:lnTo>
                      <a:pt x="0" y="84400"/>
                    </a:lnTo>
                    <a:lnTo>
                      <a:pt x="0" y="33843"/>
                    </a:lnTo>
                    <a:cubicBezTo>
                      <a:pt x="0" y="15161"/>
                      <a:pt x="15162" y="0"/>
                      <a:pt x="33843" y="0"/>
                    </a:cubicBezTo>
                    <a:close/>
                  </a:path>
                </a:pathLst>
              </a:custGeom>
              <a:solidFill>
                <a:srgbClr val="B3D6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86" name="Freeform: Shape 785">
                <a:extLst>
                  <a:ext uri="{FF2B5EF4-FFF2-40B4-BE49-F238E27FC236}">
                    <a16:creationId xmlns:a16="http://schemas.microsoft.com/office/drawing/2014/main" id="{E5DD3CC8-C649-4D45-B288-06F27C1911B6}"/>
                  </a:ext>
                </a:extLst>
              </p:cNvPr>
              <p:cNvSpPr/>
              <p:nvPr/>
            </p:nvSpPr>
            <p:spPr>
              <a:xfrm>
                <a:off x="2389907" y="9003037"/>
                <a:ext cx="626806" cy="103120"/>
              </a:xfrm>
              <a:custGeom>
                <a:avLst/>
                <a:gdLst>
                  <a:gd name="connsiteX0" fmla="*/ 103101 w 626806"/>
                  <a:gd name="connsiteY0" fmla="*/ 103121 h 103120"/>
                  <a:gd name="connsiteX1" fmla="*/ 523686 w 626806"/>
                  <a:gd name="connsiteY1" fmla="*/ 103121 h 103120"/>
                  <a:gd name="connsiteX2" fmla="*/ 626806 w 626806"/>
                  <a:gd name="connsiteY2" fmla="*/ 0 h 103120"/>
                  <a:gd name="connsiteX3" fmla="*/ 0 w 626806"/>
                  <a:gd name="connsiteY3" fmla="*/ 0 h 103120"/>
                  <a:gd name="connsiteX4" fmla="*/ 103121 w 626806"/>
                  <a:gd name="connsiteY4" fmla="*/ 103121 h 103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806" h="103120">
                    <a:moveTo>
                      <a:pt x="103101" y="103121"/>
                    </a:moveTo>
                    <a:lnTo>
                      <a:pt x="523686" y="103121"/>
                    </a:lnTo>
                    <a:cubicBezTo>
                      <a:pt x="580634" y="103121"/>
                      <a:pt x="626806" y="56948"/>
                      <a:pt x="626806" y="0"/>
                    </a:cubicBezTo>
                    <a:lnTo>
                      <a:pt x="0" y="0"/>
                    </a:lnTo>
                    <a:cubicBezTo>
                      <a:pt x="0" y="56948"/>
                      <a:pt x="46172" y="103121"/>
                      <a:pt x="103121" y="103121"/>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787" name="Graphic 10">
                <a:extLst>
                  <a:ext uri="{FF2B5EF4-FFF2-40B4-BE49-F238E27FC236}">
                    <a16:creationId xmlns:a16="http://schemas.microsoft.com/office/drawing/2014/main" id="{39313B4D-51A3-4F90-A93F-0AA8082DB9AF}"/>
                  </a:ext>
                </a:extLst>
              </p:cNvPr>
              <p:cNvGrpSpPr/>
              <p:nvPr/>
            </p:nvGrpSpPr>
            <p:grpSpPr>
              <a:xfrm>
                <a:off x="2408760" y="9605041"/>
                <a:ext cx="353990" cy="353990"/>
                <a:chOff x="2408760" y="9605041"/>
                <a:chExt cx="353990" cy="353990"/>
              </a:xfrm>
            </p:grpSpPr>
            <p:sp>
              <p:nvSpPr>
                <p:cNvPr id="1358" name="Freeform: Shape 1357">
                  <a:extLst>
                    <a:ext uri="{FF2B5EF4-FFF2-40B4-BE49-F238E27FC236}">
                      <a16:creationId xmlns:a16="http://schemas.microsoft.com/office/drawing/2014/main" id="{B4449687-B13E-4576-BDD7-42A0BA34BE77}"/>
                    </a:ext>
                  </a:extLst>
                </p:cNvPr>
                <p:cNvSpPr/>
                <p:nvPr/>
              </p:nvSpPr>
              <p:spPr>
                <a:xfrm>
                  <a:off x="2408760" y="9605041"/>
                  <a:ext cx="353990" cy="353990"/>
                </a:xfrm>
                <a:custGeom>
                  <a:avLst/>
                  <a:gdLst>
                    <a:gd name="connsiteX0" fmla="*/ 16681 w 353990"/>
                    <a:gd name="connsiteY0" fmla="*/ 256745 h 353990"/>
                    <a:gd name="connsiteX1" fmla="*/ 256745 w 353990"/>
                    <a:gd name="connsiteY1" fmla="*/ 16680 h 353990"/>
                    <a:gd name="connsiteX2" fmla="*/ 337310 w 353990"/>
                    <a:gd name="connsiteY2" fmla="*/ 16680 h 353990"/>
                    <a:gd name="connsiteX3" fmla="*/ 337310 w 353990"/>
                    <a:gd name="connsiteY3" fmla="*/ 97246 h 353990"/>
                    <a:gd name="connsiteX4" fmla="*/ 97246 w 353990"/>
                    <a:gd name="connsiteY4" fmla="*/ 337310 h 353990"/>
                    <a:gd name="connsiteX5" fmla="*/ 16681 w 353990"/>
                    <a:gd name="connsiteY5" fmla="*/ 337310 h 353990"/>
                    <a:gd name="connsiteX6" fmla="*/ 16681 w 353990"/>
                    <a:gd name="connsiteY6" fmla="*/ 256745 h 353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3990" h="353990">
                      <a:moveTo>
                        <a:pt x="16681" y="256745"/>
                      </a:moveTo>
                      <a:lnTo>
                        <a:pt x="256745" y="16680"/>
                      </a:lnTo>
                      <a:cubicBezTo>
                        <a:pt x="278986" y="-5560"/>
                        <a:pt x="315070" y="-5560"/>
                        <a:pt x="337310" y="16680"/>
                      </a:cubicBezTo>
                      <a:cubicBezTo>
                        <a:pt x="359551" y="38921"/>
                        <a:pt x="359551" y="75005"/>
                        <a:pt x="337310" y="97246"/>
                      </a:cubicBezTo>
                      <a:lnTo>
                        <a:pt x="97246" y="337310"/>
                      </a:lnTo>
                      <a:cubicBezTo>
                        <a:pt x="75005" y="359551"/>
                        <a:pt x="38921" y="359551"/>
                        <a:pt x="16681" y="337310"/>
                      </a:cubicBezTo>
                      <a:cubicBezTo>
                        <a:pt x="-5560" y="315070"/>
                        <a:pt x="-5560" y="278985"/>
                        <a:pt x="16681" y="256745"/>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59" name="Freeform: Shape 1358">
                  <a:extLst>
                    <a:ext uri="{FF2B5EF4-FFF2-40B4-BE49-F238E27FC236}">
                      <a16:creationId xmlns:a16="http://schemas.microsoft.com/office/drawing/2014/main" id="{CFEB4995-B875-4CB0-9573-7B8B434566AD}"/>
                    </a:ext>
                  </a:extLst>
                </p:cNvPr>
                <p:cNvSpPr/>
                <p:nvPr/>
              </p:nvSpPr>
              <p:spPr>
                <a:xfrm>
                  <a:off x="2435199" y="9631500"/>
                  <a:ext cx="301093" cy="301093"/>
                </a:xfrm>
                <a:custGeom>
                  <a:avLst/>
                  <a:gdLst>
                    <a:gd name="connsiteX0" fmla="*/ 54407 w 301093"/>
                    <a:gd name="connsiteY0" fmla="*/ 291758 h 301093"/>
                    <a:gd name="connsiteX1" fmla="*/ 54407 w 301093"/>
                    <a:gd name="connsiteY1" fmla="*/ 246686 h 301093"/>
                    <a:gd name="connsiteX2" fmla="*/ 9336 w 301093"/>
                    <a:gd name="connsiteY2" fmla="*/ 246686 h 301093"/>
                    <a:gd name="connsiteX3" fmla="*/ 9336 w 301093"/>
                    <a:gd name="connsiteY3" fmla="*/ 291758 h 301093"/>
                    <a:gd name="connsiteX4" fmla="*/ 54407 w 301093"/>
                    <a:gd name="connsiteY4" fmla="*/ 291758 h 301093"/>
                    <a:gd name="connsiteX5" fmla="*/ 291757 w 301093"/>
                    <a:gd name="connsiteY5" fmla="*/ 54407 h 301093"/>
                    <a:gd name="connsiteX6" fmla="*/ 291757 w 301093"/>
                    <a:gd name="connsiteY6" fmla="*/ 9336 h 301093"/>
                    <a:gd name="connsiteX7" fmla="*/ 246686 w 301093"/>
                    <a:gd name="connsiteY7" fmla="*/ 9336 h 301093"/>
                    <a:gd name="connsiteX8" fmla="*/ 246686 w 301093"/>
                    <a:gd name="connsiteY8" fmla="*/ 54407 h 301093"/>
                    <a:gd name="connsiteX9" fmla="*/ 291757 w 301093"/>
                    <a:gd name="connsiteY9" fmla="*/ 54407 h 3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1093" h="301093">
                      <a:moveTo>
                        <a:pt x="54407" y="291758"/>
                      </a:moveTo>
                      <a:cubicBezTo>
                        <a:pt x="66854" y="279310"/>
                        <a:pt x="66854" y="259134"/>
                        <a:pt x="54407" y="246686"/>
                      </a:cubicBezTo>
                      <a:cubicBezTo>
                        <a:pt x="41959" y="234239"/>
                        <a:pt x="21783" y="234239"/>
                        <a:pt x="9336" y="246686"/>
                      </a:cubicBezTo>
                      <a:cubicBezTo>
                        <a:pt x="-3112" y="259134"/>
                        <a:pt x="-3112" y="279310"/>
                        <a:pt x="9336" y="291758"/>
                      </a:cubicBezTo>
                      <a:cubicBezTo>
                        <a:pt x="21783" y="304205"/>
                        <a:pt x="41959" y="304205"/>
                        <a:pt x="54407" y="291758"/>
                      </a:cubicBezTo>
                      <a:close/>
                      <a:moveTo>
                        <a:pt x="291757" y="54407"/>
                      </a:moveTo>
                      <a:cubicBezTo>
                        <a:pt x="304205" y="41959"/>
                        <a:pt x="304205" y="21783"/>
                        <a:pt x="291757" y="9336"/>
                      </a:cubicBezTo>
                      <a:cubicBezTo>
                        <a:pt x="279310" y="-3112"/>
                        <a:pt x="259134" y="-3112"/>
                        <a:pt x="246686" y="9336"/>
                      </a:cubicBezTo>
                      <a:cubicBezTo>
                        <a:pt x="234239" y="21783"/>
                        <a:pt x="234239" y="41959"/>
                        <a:pt x="246686" y="54407"/>
                      </a:cubicBezTo>
                      <a:cubicBezTo>
                        <a:pt x="259134" y="66854"/>
                        <a:pt x="279310" y="66854"/>
                        <a:pt x="291757" y="54407"/>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788" name="Graphic 10">
                <a:extLst>
                  <a:ext uri="{FF2B5EF4-FFF2-40B4-BE49-F238E27FC236}">
                    <a16:creationId xmlns:a16="http://schemas.microsoft.com/office/drawing/2014/main" id="{3991149D-2A31-4855-B5DB-358528330547}"/>
                  </a:ext>
                </a:extLst>
              </p:cNvPr>
              <p:cNvGrpSpPr/>
              <p:nvPr/>
            </p:nvGrpSpPr>
            <p:grpSpPr>
              <a:xfrm>
                <a:off x="2627080" y="9274761"/>
                <a:ext cx="152439" cy="468644"/>
                <a:chOff x="2627080" y="9274761"/>
                <a:chExt cx="152439" cy="468644"/>
              </a:xfrm>
            </p:grpSpPr>
            <p:sp>
              <p:nvSpPr>
                <p:cNvPr id="1356" name="Freeform: Shape 1355">
                  <a:extLst>
                    <a:ext uri="{FF2B5EF4-FFF2-40B4-BE49-F238E27FC236}">
                      <a16:creationId xmlns:a16="http://schemas.microsoft.com/office/drawing/2014/main" id="{05E16889-B8F1-4E83-AF5E-B88D0887BF1F}"/>
                    </a:ext>
                  </a:extLst>
                </p:cNvPr>
                <p:cNvSpPr/>
                <p:nvPr/>
              </p:nvSpPr>
              <p:spPr>
                <a:xfrm>
                  <a:off x="2627080" y="9274761"/>
                  <a:ext cx="152439" cy="468644"/>
                </a:xfrm>
                <a:custGeom>
                  <a:avLst/>
                  <a:gdLst>
                    <a:gd name="connsiteX0" fmla="*/ 0 w 152439"/>
                    <a:gd name="connsiteY0" fmla="*/ 76220 h 468644"/>
                    <a:gd name="connsiteX1" fmla="*/ 0 w 152439"/>
                    <a:gd name="connsiteY1" fmla="*/ 392425 h 468644"/>
                    <a:gd name="connsiteX2" fmla="*/ 76220 w 152439"/>
                    <a:gd name="connsiteY2" fmla="*/ 468645 h 468644"/>
                    <a:gd name="connsiteX3" fmla="*/ 152439 w 152439"/>
                    <a:gd name="connsiteY3" fmla="*/ 392425 h 468644"/>
                    <a:gd name="connsiteX4" fmla="*/ 152439 w 152439"/>
                    <a:gd name="connsiteY4" fmla="*/ 76220 h 468644"/>
                    <a:gd name="connsiteX5" fmla="*/ 76220 w 152439"/>
                    <a:gd name="connsiteY5" fmla="*/ 0 h 468644"/>
                    <a:gd name="connsiteX6" fmla="*/ 0 w 152439"/>
                    <a:gd name="connsiteY6" fmla="*/ 76220 h 468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39" h="468644">
                      <a:moveTo>
                        <a:pt x="0" y="76220"/>
                      </a:moveTo>
                      <a:lnTo>
                        <a:pt x="0" y="392425"/>
                      </a:lnTo>
                      <a:cubicBezTo>
                        <a:pt x="0" y="434507"/>
                        <a:pt x="34118" y="468645"/>
                        <a:pt x="76220" y="468645"/>
                      </a:cubicBezTo>
                      <a:cubicBezTo>
                        <a:pt x="118321" y="468645"/>
                        <a:pt x="152439" y="434527"/>
                        <a:pt x="152439" y="392425"/>
                      </a:cubicBezTo>
                      <a:lnTo>
                        <a:pt x="152439" y="76220"/>
                      </a:lnTo>
                      <a:cubicBezTo>
                        <a:pt x="152439" y="34118"/>
                        <a:pt x="118321" y="0"/>
                        <a:pt x="76220" y="0"/>
                      </a:cubicBezTo>
                      <a:cubicBezTo>
                        <a:pt x="34118" y="0"/>
                        <a:pt x="0" y="34118"/>
                        <a:pt x="0" y="7622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57" name="Freeform: Shape 1356">
                  <a:extLst>
                    <a:ext uri="{FF2B5EF4-FFF2-40B4-BE49-F238E27FC236}">
                      <a16:creationId xmlns:a16="http://schemas.microsoft.com/office/drawing/2014/main" id="{62D6E03C-7E6B-49C4-8970-EB159C49D42E}"/>
                    </a:ext>
                  </a:extLst>
                </p:cNvPr>
                <p:cNvSpPr/>
                <p:nvPr/>
              </p:nvSpPr>
              <p:spPr>
                <a:xfrm>
                  <a:off x="2660668" y="9310905"/>
                  <a:ext cx="85265" cy="396338"/>
                </a:xfrm>
                <a:custGeom>
                  <a:avLst/>
                  <a:gdLst>
                    <a:gd name="connsiteX0" fmla="*/ 42633 w 85265"/>
                    <a:gd name="connsiteY0" fmla="*/ 0 h 396338"/>
                    <a:gd name="connsiteX1" fmla="*/ 0 w 85265"/>
                    <a:gd name="connsiteY1" fmla="*/ 42633 h 396338"/>
                    <a:gd name="connsiteX2" fmla="*/ 42633 w 85265"/>
                    <a:gd name="connsiteY2" fmla="*/ 85265 h 396338"/>
                    <a:gd name="connsiteX3" fmla="*/ 85265 w 85265"/>
                    <a:gd name="connsiteY3" fmla="*/ 42633 h 396338"/>
                    <a:gd name="connsiteX4" fmla="*/ 42633 w 85265"/>
                    <a:gd name="connsiteY4" fmla="*/ 0 h 396338"/>
                    <a:gd name="connsiteX5" fmla="*/ 42633 w 85265"/>
                    <a:gd name="connsiteY5" fmla="*/ 311073 h 396338"/>
                    <a:gd name="connsiteX6" fmla="*/ 0 w 85265"/>
                    <a:gd name="connsiteY6" fmla="*/ 353706 h 396338"/>
                    <a:gd name="connsiteX7" fmla="*/ 42633 w 85265"/>
                    <a:gd name="connsiteY7" fmla="*/ 396338 h 396338"/>
                    <a:gd name="connsiteX8" fmla="*/ 85265 w 85265"/>
                    <a:gd name="connsiteY8" fmla="*/ 353706 h 396338"/>
                    <a:gd name="connsiteX9" fmla="*/ 42633 w 85265"/>
                    <a:gd name="connsiteY9" fmla="*/ 311073 h 39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265" h="396338">
                      <a:moveTo>
                        <a:pt x="42633" y="0"/>
                      </a:moveTo>
                      <a:cubicBezTo>
                        <a:pt x="19094" y="0"/>
                        <a:pt x="0" y="19094"/>
                        <a:pt x="0" y="42633"/>
                      </a:cubicBezTo>
                      <a:cubicBezTo>
                        <a:pt x="0" y="66171"/>
                        <a:pt x="19094" y="85265"/>
                        <a:pt x="42633" y="85265"/>
                      </a:cubicBezTo>
                      <a:cubicBezTo>
                        <a:pt x="66171" y="85265"/>
                        <a:pt x="85265" y="66171"/>
                        <a:pt x="85265" y="42633"/>
                      </a:cubicBezTo>
                      <a:cubicBezTo>
                        <a:pt x="85265" y="19094"/>
                        <a:pt x="66171" y="0"/>
                        <a:pt x="42633" y="0"/>
                      </a:cubicBezTo>
                      <a:close/>
                      <a:moveTo>
                        <a:pt x="42633" y="311073"/>
                      </a:moveTo>
                      <a:cubicBezTo>
                        <a:pt x="19094" y="311073"/>
                        <a:pt x="0" y="330167"/>
                        <a:pt x="0" y="353706"/>
                      </a:cubicBezTo>
                      <a:cubicBezTo>
                        <a:pt x="0" y="377244"/>
                        <a:pt x="19094" y="396338"/>
                        <a:pt x="42633" y="396338"/>
                      </a:cubicBezTo>
                      <a:cubicBezTo>
                        <a:pt x="66171" y="396338"/>
                        <a:pt x="85265" y="377244"/>
                        <a:pt x="85265" y="353706"/>
                      </a:cubicBezTo>
                      <a:cubicBezTo>
                        <a:pt x="85265" y="330167"/>
                        <a:pt x="66171" y="311073"/>
                        <a:pt x="42633" y="311073"/>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789" name="Freeform: Shape 788">
                <a:extLst>
                  <a:ext uri="{FF2B5EF4-FFF2-40B4-BE49-F238E27FC236}">
                    <a16:creationId xmlns:a16="http://schemas.microsoft.com/office/drawing/2014/main" id="{6BBDADEB-2544-4708-B319-1C6FA76FE586}"/>
                  </a:ext>
                </a:extLst>
              </p:cNvPr>
              <p:cNvSpPr/>
              <p:nvPr/>
            </p:nvSpPr>
            <p:spPr>
              <a:xfrm>
                <a:off x="1978918" y="9468181"/>
                <a:ext cx="139165" cy="397006"/>
              </a:xfrm>
              <a:custGeom>
                <a:avLst/>
                <a:gdLst>
                  <a:gd name="connsiteX0" fmla="*/ 131300 w 139165"/>
                  <a:gd name="connsiteY0" fmla="*/ 397007 h 397006"/>
                  <a:gd name="connsiteX1" fmla="*/ 139166 w 139165"/>
                  <a:gd name="connsiteY1" fmla="*/ 397007 h 397006"/>
                  <a:gd name="connsiteX2" fmla="*/ 139166 w 139165"/>
                  <a:gd name="connsiteY2" fmla="*/ 293218 h 397006"/>
                  <a:gd name="connsiteX3" fmla="*/ 7866 w 139165"/>
                  <a:gd name="connsiteY3" fmla="*/ 167817 h 397006"/>
                  <a:gd name="connsiteX4" fmla="*/ 7866 w 139165"/>
                  <a:gd name="connsiteY4" fmla="*/ 0 h 397006"/>
                  <a:gd name="connsiteX5" fmla="*/ 0 w 139165"/>
                  <a:gd name="connsiteY5" fmla="*/ 0 h 397006"/>
                  <a:gd name="connsiteX6" fmla="*/ 0 w 139165"/>
                  <a:gd name="connsiteY6" fmla="*/ 171180 h 397006"/>
                  <a:gd name="connsiteX7" fmla="*/ 131300 w 139165"/>
                  <a:gd name="connsiteY7" fmla="*/ 296580 h 397006"/>
                  <a:gd name="connsiteX8" fmla="*/ 131300 w 139165"/>
                  <a:gd name="connsiteY8" fmla="*/ 397007 h 39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165" h="397006">
                    <a:moveTo>
                      <a:pt x="131300" y="397007"/>
                    </a:moveTo>
                    <a:lnTo>
                      <a:pt x="139166" y="397007"/>
                    </a:lnTo>
                    <a:lnTo>
                      <a:pt x="139166" y="293218"/>
                    </a:lnTo>
                    <a:lnTo>
                      <a:pt x="7866" y="167817"/>
                    </a:lnTo>
                    <a:lnTo>
                      <a:pt x="7866" y="0"/>
                    </a:lnTo>
                    <a:lnTo>
                      <a:pt x="0" y="0"/>
                    </a:lnTo>
                    <a:lnTo>
                      <a:pt x="0" y="171180"/>
                    </a:lnTo>
                    <a:lnTo>
                      <a:pt x="131300" y="296580"/>
                    </a:lnTo>
                    <a:lnTo>
                      <a:pt x="131300" y="397007"/>
                    </a:lnTo>
                    <a:close/>
                  </a:path>
                </a:pathLst>
              </a:custGeom>
              <a:solidFill>
                <a:srgbClr val="DADAF2"/>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90" name="Freeform: Shape 789">
                <a:extLst>
                  <a:ext uri="{FF2B5EF4-FFF2-40B4-BE49-F238E27FC236}">
                    <a16:creationId xmlns:a16="http://schemas.microsoft.com/office/drawing/2014/main" id="{32843C63-4934-4BA0-89B4-229C6ED1DF90}"/>
                  </a:ext>
                </a:extLst>
              </p:cNvPr>
              <p:cNvSpPr/>
              <p:nvPr/>
            </p:nvSpPr>
            <p:spPr>
              <a:xfrm rot="18900000">
                <a:off x="2086016" y="9766488"/>
                <a:ext cx="192142" cy="7865"/>
              </a:xfrm>
              <a:custGeom>
                <a:avLst/>
                <a:gdLst>
                  <a:gd name="connsiteX0" fmla="*/ 0 w 192142"/>
                  <a:gd name="connsiteY0" fmla="*/ 0 h 7865"/>
                  <a:gd name="connsiteX1" fmla="*/ 192142 w 192142"/>
                  <a:gd name="connsiteY1" fmla="*/ 0 h 7865"/>
                  <a:gd name="connsiteX2" fmla="*/ 192142 w 192142"/>
                  <a:gd name="connsiteY2" fmla="*/ 7866 h 7865"/>
                  <a:gd name="connsiteX3" fmla="*/ 0 w 192142"/>
                  <a:gd name="connsiteY3" fmla="*/ 7866 h 7865"/>
                </a:gdLst>
                <a:ahLst/>
                <a:cxnLst>
                  <a:cxn ang="0">
                    <a:pos x="connsiteX0" y="connsiteY0"/>
                  </a:cxn>
                  <a:cxn ang="0">
                    <a:pos x="connsiteX1" y="connsiteY1"/>
                  </a:cxn>
                  <a:cxn ang="0">
                    <a:pos x="connsiteX2" y="connsiteY2"/>
                  </a:cxn>
                  <a:cxn ang="0">
                    <a:pos x="connsiteX3" y="connsiteY3"/>
                  </a:cxn>
                </a:cxnLst>
                <a:rect l="l" t="t" r="r" b="b"/>
                <a:pathLst>
                  <a:path w="192142" h="7865">
                    <a:moveTo>
                      <a:pt x="0" y="0"/>
                    </a:moveTo>
                    <a:lnTo>
                      <a:pt x="192142" y="0"/>
                    </a:lnTo>
                    <a:lnTo>
                      <a:pt x="192142" y="7866"/>
                    </a:lnTo>
                    <a:lnTo>
                      <a:pt x="0" y="7866"/>
                    </a:lnTo>
                    <a:close/>
                  </a:path>
                </a:pathLst>
              </a:custGeom>
              <a:solidFill>
                <a:srgbClr val="DADAF2"/>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91" name="Freeform: Shape 790">
                <a:extLst>
                  <a:ext uri="{FF2B5EF4-FFF2-40B4-BE49-F238E27FC236}">
                    <a16:creationId xmlns:a16="http://schemas.microsoft.com/office/drawing/2014/main" id="{AFAD1270-8F6F-4F64-9552-CEDCFCA6B4BE}"/>
                  </a:ext>
                </a:extLst>
              </p:cNvPr>
              <p:cNvSpPr/>
              <p:nvPr/>
            </p:nvSpPr>
            <p:spPr>
              <a:xfrm>
                <a:off x="1810413" y="9168514"/>
                <a:ext cx="344856" cy="298664"/>
              </a:xfrm>
              <a:custGeom>
                <a:avLst/>
                <a:gdLst>
                  <a:gd name="connsiteX0" fmla="*/ 86209 w 344856"/>
                  <a:gd name="connsiteY0" fmla="*/ 0 h 298664"/>
                  <a:gd name="connsiteX1" fmla="*/ 258647 w 344856"/>
                  <a:gd name="connsiteY1" fmla="*/ 0 h 298664"/>
                  <a:gd name="connsiteX2" fmla="*/ 344857 w 344856"/>
                  <a:gd name="connsiteY2" fmla="*/ 149332 h 298664"/>
                  <a:gd name="connsiteX3" fmla="*/ 258647 w 344856"/>
                  <a:gd name="connsiteY3" fmla="*/ 298665 h 298664"/>
                  <a:gd name="connsiteX4" fmla="*/ 86209 w 344856"/>
                  <a:gd name="connsiteY4" fmla="*/ 298665 h 298664"/>
                  <a:gd name="connsiteX5" fmla="*/ 0 w 344856"/>
                  <a:gd name="connsiteY5" fmla="*/ 149332 h 298664"/>
                  <a:gd name="connsiteX6" fmla="*/ 86209 w 344856"/>
                  <a:gd name="connsiteY6" fmla="*/ 0 h 29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856" h="298664">
                    <a:moveTo>
                      <a:pt x="86209" y="0"/>
                    </a:moveTo>
                    <a:lnTo>
                      <a:pt x="258647" y="0"/>
                    </a:lnTo>
                    <a:lnTo>
                      <a:pt x="344857" y="149332"/>
                    </a:lnTo>
                    <a:lnTo>
                      <a:pt x="258647" y="298665"/>
                    </a:lnTo>
                    <a:lnTo>
                      <a:pt x="86209" y="298665"/>
                    </a:lnTo>
                    <a:lnTo>
                      <a:pt x="0" y="149332"/>
                    </a:lnTo>
                    <a:lnTo>
                      <a:pt x="86209" y="0"/>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92" name="Freeform: Shape 791">
                <a:extLst>
                  <a:ext uri="{FF2B5EF4-FFF2-40B4-BE49-F238E27FC236}">
                    <a16:creationId xmlns:a16="http://schemas.microsoft.com/office/drawing/2014/main" id="{FC65A77F-EAAF-4170-9893-F83EFED2A846}"/>
                  </a:ext>
                </a:extLst>
              </p:cNvPr>
              <p:cNvSpPr/>
              <p:nvPr/>
            </p:nvSpPr>
            <p:spPr>
              <a:xfrm>
                <a:off x="1902738" y="9232266"/>
                <a:ext cx="160206" cy="171159"/>
              </a:xfrm>
              <a:custGeom>
                <a:avLst/>
                <a:gdLst>
                  <a:gd name="connsiteX0" fmla="*/ 88648 w 160206"/>
                  <a:gd name="connsiteY0" fmla="*/ 122884 h 171159"/>
                  <a:gd name="connsiteX1" fmla="*/ 63654 w 160206"/>
                  <a:gd name="connsiteY1" fmla="*/ 122884 h 171159"/>
                  <a:gd name="connsiteX2" fmla="*/ 111931 w 160206"/>
                  <a:gd name="connsiteY2" fmla="*/ 171160 h 171159"/>
                  <a:gd name="connsiteX3" fmla="*/ 160207 w 160206"/>
                  <a:gd name="connsiteY3" fmla="*/ 122884 h 171159"/>
                  <a:gd name="connsiteX4" fmla="*/ 135213 w 160206"/>
                  <a:gd name="connsiteY4" fmla="*/ 122884 h 171159"/>
                  <a:gd name="connsiteX5" fmla="*/ 135213 w 160206"/>
                  <a:gd name="connsiteY5" fmla="*/ 65365 h 171159"/>
                  <a:gd name="connsiteX6" fmla="*/ 88667 w 160206"/>
                  <a:gd name="connsiteY6" fmla="*/ 65365 h 171159"/>
                  <a:gd name="connsiteX7" fmla="*/ 88667 w 160206"/>
                  <a:gd name="connsiteY7" fmla="*/ 122884 h 171159"/>
                  <a:gd name="connsiteX8" fmla="*/ 20 w 160206"/>
                  <a:gd name="connsiteY8" fmla="*/ 48276 h 171159"/>
                  <a:gd name="connsiteX9" fmla="*/ 25013 w 160206"/>
                  <a:gd name="connsiteY9" fmla="*/ 48276 h 171159"/>
                  <a:gd name="connsiteX10" fmla="*/ 25013 w 160206"/>
                  <a:gd name="connsiteY10" fmla="*/ 105795 h 171159"/>
                  <a:gd name="connsiteX11" fmla="*/ 71559 w 160206"/>
                  <a:gd name="connsiteY11" fmla="*/ 105795 h 171159"/>
                  <a:gd name="connsiteX12" fmla="*/ 71559 w 160206"/>
                  <a:gd name="connsiteY12" fmla="*/ 48276 h 171159"/>
                  <a:gd name="connsiteX13" fmla="*/ 96553 w 160206"/>
                  <a:gd name="connsiteY13" fmla="*/ 48276 h 171159"/>
                  <a:gd name="connsiteX14" fmla="*/ 48276 w 160206"/>
                  <a:gd name="connsiteY14" fmla="*/ 0 h 171159"/>
                  <a:gd name="connsiteX15" fmla="*/ 0 w 160206"/>
                  <a:gd name="connsiteY15" fmla="*/ 48276 h 17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0206" h="171159">
                    <a:moveTo>
                      <a:pt x="88648" y="122884"/>
                    </a:moveTo>
                    <a:lnTo>
                      <a:pt x="63654" y="122884"/>
                    </a:lnTo>
                    <a:lnTo>
                      <a:pt x="111931" y="171160"/>
                    </a:lnTo>
                    <a:lnTo>
                      <a:pt x="160207" y="122884"/>
                    </a:lnTo>
                    <a:lnTo>
                      <a:pt x="135213" y="122884"/>
                    </a:lnTo>
                    <a:lnTo>
                      <a:pt x="135213" y="65365"/>
                    </a:lnTo>
                    <a:lnTo>
                      <a:pt x="88667" y="65365"/>
                    </a:lnTo>
                    <a:lnTo>
                      <a:pt x="88667" y="122884"/>
                    </a:lnTo>
                    <a:close/>
                    <a:moveTo>
                      <a:pt x="20" y="48276"/>
                    </a:moveTo>
                    <a:lnTo>
                      <a:pt x="25013" y="48276"/>
                    </a:lnTo>
                    <a:lnTo>
                      <a:pt x="25013" y="105795"/>
                    </a:lnTo>
                    <a:lnTo>
                      <a:pt x="71559" y="105795"/>
                    </a:lnTo>
                    <a:lnTo>
                      <a:pt x="71559" y="48276"/>
                    </a:lnTo>
                    <a:lnTo>
                      <a:pt x="96553" y="48276"/>
                    </a:lnTo>
                    <a:lnTo>
                      <a:pt x="48276" y="0"/>
                    </a:lnTo>
                    <a:lnTo>
                      <a:pt x="0" y="48276"/>
                    </a:lnTo>
                    <a:close/>
                  </a:path>
                </a:pathLst>
              </a:custGeom>
              <a:solidFill>
                <a:srgbClr val="FFFF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793" name="Graphic 10">
                <a:extLst>
                  <a:ext uri="{FF2B5EF4-FFF2-40B4-BE49-F238E27FC236}">
                    <a16:creationId xmlns:a16="http://schemas.microsoft.com/office/drawing/2014/main" id="{E63CFEF4-D026-4AA0-8194-D8C63D5696EB}"/>
                  </a:ext>
                </a:extLst>
              </p:cNvPr>
              <p:cNvGrpSpPr/>
              <p:nvPr/>
            </p:nvGrpSpPr>
            <p:grpSpPr>
              <a:xfrm>
                <a:off x="2367627" y="9312104"/>
                <a:ext cx="2265745" cy="1623993"/>
                <a:chOff x="2367627" y="9312104"/>
                <a:chExt cx="2265745" cy="1623993"/>
              </a:xfrm>
            </p:grpSpPr>
            <p:grpSp>
              <p:nvGrpSpPr>
                <p:cNvPr id="1322" name="Graphic 10">
                  <a:extLst>
                    <a:ext uri="{FF2B5EF4-FFF2-40B4-BE49-F238E27FC236}">
                      <a16:creationId xmlns:a16="http://schemas.microsoft.com/office/drawing/2014/main" id="{9501AABD-F14E-4906-935C-5670B53A360B}"/>
                    </a:ext>
                  </a:extLst>
                </p:cNvPr>
                <p:cNvGrpSpPr/>
                <p:nvPr/>
              </p:nvGrpSpPr>
              <p:grpSpPr>
                <a:xfrm>
                  <a:off x="3602268" y="9428813"/>
                  <a:ext cx="1031104" cy="1036299"/>
                  <a:chOff x="3602268" y="9428813"/>
                  <a:chExt cx="1031104" cy="1036299"/>
                </a:xfrm>
              </p:grpSpPr>
              <p:grpSp>
                <p:nvGrpSpPr>
                  <p:cNvPr id="1337" name="Graphic 10">
                    <a:extLst>
                      <a:ext uri="{FF2B5EF4-FFF2-40B4-BE49-F238E27FC236}">
                        <a16:creationId xmlns:a16="http://schemas.microsoft.com/office/drawing/2014/main" id="{8673ACD4-5475-46A5-9622-8F8EDD40A737}"/>
                      </a:ext>
                    </a:extLst>
                  </p:cNvPr>
                  <p:cNvGrpSpPr/>
                  <p:nvPr/>
                </p:nvGrpSpPr>
                <p:grpSpPr>
                  <a:xfrm>
                    <a:off x="4116485" y="9948202"/>
                    <a:ext cx="516887" cy="516910"/>
                    <a:chOff x="4116485" y="9948202"/>
                    <a:chExt cx="516887" cy="516910"/>
                  </a:xfrm>
                </p:grpSpPr>
                <p:sp>
                  <p:nvSpPr>
                    <p:cNvPr id="1348" name="Freeform: Shape 1347">
                      <a:extLst>
                        <a:ext uri="{FF2B5EF4-FFF2-40B4-BE49-F238E27FC236}">
                          <a16:creationId xmlns:a16="http://schemas.microsoft.com/office/drawing/2014/main" id="{C9A1F436-CAE5-43F4-8236-7D2361120738}"/>
                        </a:ext>
                      </a:extLst>
                    </p:cNvPr>
                    <p:cNvSpPr/>
                    <p:nvPr/>
                  </p:nvSpPr>
                  <p:spPr>
                    <a:xfrm rot="8100000">
                      <a:off x="4386960" y="10190501"/>
                      <a:ext cx="43340" cy="99718"/>
                    </a:xfrm>
                    <a:custGeom>
                      <a:avLst/>
                      <a:gdLst>
                        <a:gd name="connsiteX0" fmla="*/ 0 w 43340"/>
                        <a:gd name="connsiteY0" fmla="*/ 0 h 99718"/>
                        <a:gd name="connsiteX1" fmla="*/ 43340 w 43340"/>
                        <a:gd name="connsiteY1" fmla="*/ 0 h 99718"/>
                        <a:gd name="connsiteX2" fmla="*/ 43340 w 43340"/>
                        <a:gd name="connsiteY2" fmla="*/ 99719 h 99718"/>
                        <a:gd name="connsiteX3" fmla="*/ 0 w 43340"/>
                        <a:gd name="connsiteY3" fmla="*/ 99719 h 99718"/>
                      </a:gdLst>
                      <a:ahLst/>
                      <a:cxnLst>
                        <a:cxn ang="0">
                          <a:pos x="connsiteX0" y="connsiteY0"/>
                        </a:cxn>
                        <a:cxn ang="0">
                          <a:pos x="connsiteX1" y="connsiteY1"/>
                        </a:cxn>
                        <a:cxn ang="0">
                          <a:pos x="connsiteX2" y="connsiteY2"/>
                        </a:cxn>
                        <a:cxn ang="0">
                          <a:pos x="connsiteX3" y="connsiteY3"/>
                        </a:cxn>
                      </a:cxnLst>
                      <a:rect l="l" t="t" r="r" b="b"/>
                      <a:pathLst>
                        <a:path w="43340" h="99718">
                          <a:moveTo>
                            <a:pt x="0" y="0"/>
                          </a:moveTo>
                          <a:lnTo>
                            <a:pt x="43340" y="0"/>
                          </a:lnTo>
                          <a:lnTo>
                            <a:pt x="43340" y="99719"/>
                          </a:lnTo>
                          <a:lnTo>
                            <a:pt x="0" y="99719"/>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49" name="Freeform: Shape 1348">
                      <a:extLst>
                        <a:ext uri="{FF2B5EF4-FFF2-40B4-BE49-F238E27FC236}">
                          <a16:creationId xmlns:a16="http://schemas.microsoft.com/office/drawing/2014/main" id="{3749B1BA-26A5-41C4-BB47-002D035C07C1}"/>
                        </a:ext>
                      </a:extLst>
                    </p:cNvPr>
                    <p:cNvSpPr/>
                    <p:nvPr/>
                  </p:nvSpPr>
                  <p:spPr>
                    <a:xfrm rot="8100000">
                      <a:off x="4195952" y="9927980"/>
                      <a:ext cx="43340" cy="242719"/>
                    </a:xfrm>
                    <a:custGeom>
                      <a:avLst/>
                      <a:gdLst>
                        <a:gd name="connsiteX0" fmla="*/ 0 w 43340"/>
                        <a:gd name="connsiteY0" fmla="*/ 0 h 242719"/>
                        <a:gd name="connsiteX1" fmla="*/ 43341 w 43340"/>
                        <a:gd name="connsiteY1" fmla="*/ 0 h 242719"/>
                        <a:gd name="connsiteX2" fmla="*/ 43341 w 43340"/>
                        <a:gd name="connsiteY2" fmla="*/ 242719 h 242719"/>
                        <a:gd name="connsiteX3" fmla="*/ 0 w 43340"/>
                        <a:gd name="connsiteY3" fmla="*/ 242719 h 242719"/>
                      </a:gdLst>
                      <a:ahLst/>
                      <a:cxnLst>
                        <a:cxn ang="0">
                          <a:pos x="connsiteX0" y="connsiteY0"/>
                        </a:cxn>
                        <a:cxn ang="0">
                          <a:pos x="connsiteX1" y="connsiteY1"/>
                        </a:cxn>
                        <a:cxn ang="0">
                          <a:pos x="connsiteX2" y="connsiteY2"/>
                        </a:cxn>
                        <a:cxn ang="0">
                          <a:pos x="connsiteX3" y="connsiteY3"/>
                        </a:cxn>
                      </a:cxnLst>
                      <a:rect l="l" t="t" r="r" b="b"/>
                      <a:pathLst>
                        <a:path w="43340" h="242719">
                          <a:moveTo>
                            <a:pt x="0" y="0"/>
                          </a:moveTo>
                          <a:lnTo>
                            <a:pt x="43341" y="0"/>
                          </a:lnTo>
                          <a:lnTo>
                            <a:pt x="43341" y="242719"/>
                          </a:lnTo>
                          <a:lnTo>
                            <a:pt x="0" y="242719"/>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50" name="Freeform: Shape 1349">
                      <a:extLst>
                        <a:ext uri="{FF2B5EF4-FFF2-40B4-BE49-F238E27FC236}">
                          <a16:creationId xmlns:a16="http://schemas.microsoft.com/office/drawing/2014/main" id="{5002B61F-F84A-4954-AA8F-73B3062FEB47}"/>
                        </a:ext>
                      </a:extLst>
                    </p:cNvPr>
                    <p:cNvSpPr/>
                    <p:nvPr/>
                  </p:nvSpPr>
                  <p:spPr>
                    <a:xfrm>
                      <a:off x="4550211" y="10381952"/>
                      <a:ext cx="83161" cy="83161"/>
                    </a:xfrm>
                    <a:custGeom>
                      <a:avLst/>
                      <a:gdLst>
                        <a:gd name="connsiteX0" fmla="*/ 0 w 83161"/>
                        <a:gd name="connsiteY0" fmla="*/ 14335 h 83161"/>
                        <a:gd name="connsiteX1" fmla="*/ 47883 w 83161"/>
                        <a:gd name="connsiteY1" fmla="*/ 62218 h 83161"/>
                        <a:gd name="connsiteX2" fmla="*/ 83161 w 83161"/>
                        <a:gd name="connsiteY2" fmla="*/ 83161 h 83161"/>
                        <a:gd name="connsiteX3" fmla="*/ 62219 w 83161"/>
                        <a:gd name="connsiteY3" fmla="*/ 47883 h 83161"/>
                        <a:gd name="connsiteX4" fmla="*/ 14336 w 83161"/>
                        <a:gd name="connsiteY4" fmla="*/ 0 h 83161"/>
                        <a:gd name="connsiteX5" fmla="*/ 0 w 83161"/>
                        <a:gd name="connsiteY5" fmla="*/ 14335 h 8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161" h="83161">
                          <a:moveTo>
                            <a:pt x="0" y="14335"/>
                          </a:moveTo>
                          <a:lnTo>
                            <a:pt x="47883" y="62218"/>
                          </a:lnTo>
                          <a:cubicBezTo>
                            <a:pt x="57716" y="72051"/>
                            <a:pt x="69829" y="79248"/>
                            <a:pt x="83161" y="83161"/>
                          </a:cubicBezTo>
                          <a:cubicBezTo>
                            <a:pt x="79248" y="69829"/>
                            <a:pt x="72051" y="57696"/>
                            <a:pt x="62219" y="47883"/>
                          </a:cubicBezTo>
                          <a:lnTo>
                            <a:pt x="14336" y="0"/>
                          </a:lnTo>
                          <a:lnTo>
                            <a:pt x="0" y="14335"/>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51" name="Freeform: Shape 1350">
                      <a:extLst>
                        <a:ext uri="{FF2B5EF4-FFF2-40B4-BE49-F238E27FC236}">
                          <a16:creationId xmlns:a16="http://schemas.microsoft.com/office/drawing/2014/main" id="{AC57DB52-C400-4FCC-802D-03B55D006629}"/>
                        </a:ext>
                      </a:extLst>
                    </p:cNvPr>
                    <p:cNvSpPr/>
                    <p:nvPr/>
                  </p:nvSpPr>
                  <p:spPr>
                    <a:xfrm>
                      <a:off x="4461052" y="10292773"/>
                      <a:ext cx="114181" cy="114182"/>
                    </a:xfrm>
                    <a:custGeom>
                      <a:avLst/>
                      <a:gdLst>
                        <a:gd name="connsiteX0" fmla="*/ 107840 w 114181"/>
                        <a:gd name="connsiteY0" fmla="*/ 107840 h 114182"/>
                        <a:gd name="connsiteX1" fmla="*/ 107840 w 114181"/>
                        <a:gd name="connsiteY1" fmla="*/ 77183 h 114182"/>
                        <a:gd name="connsiteX2" fmla="*/ 30657 w 114181"/>
                        <a:gd name="connsiteY2" fmla="*/ 0 h 114182"/>
                        <a:gd name="connsiteX3" fmla="*/ 0 w 114181"/>
                        <a:gd name="connsiteY3" fmla="*/ 30657 h 114182"/>
                        <a:gd name="connsiteX4" fmla="*/ 77183 w 114181"/>
                        <a:gd name="connsiteY4" fmla="*/ 107840 h 114182"/>
                        <a:gd name="connsiteX5" fmla="*/ 107840 w 114181"/>
                        <a:gd name="connsiteY5" fmla="*/ 107840 h 11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181" h="114182">
                          <a:moveTo>
                            <a:pt x="107840" y="107840"/>
                          </a:moveTo>
                          <a:cubicBezTo>
                            <a:pt x="116296" y="99385"/>
                            <a:pt x="116296" y="85659"/>
                            <a:pt x="107840" y="77183"/>
                          </a:cubicBezTo>
                          <a:lnTo>
                            <a:pt x="30657" y="0"/>
                          </a:lnTo>
                          <a:lnTo>
                            <a:pt x="0" y="30657"/>
                          </a:lnTo>
                          <a:lnTo>
                            <a:pt x="77183" y="107840"/>
                          </a:lnTo>
                          <a:cubicBezTo>
                            <a:pt x="85639" y="116296"/>
                            <a:pt x="99365" y="116296"/>
                            <a:pt x="107840" y="107840"/>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52" name="Freeform: Shape 1351">
                      <a:extLst>
                        <a:ext uri="{FF2B5EF4-FFF2-40B4-BE49-F238E27FC236}">
                          <a16:creationId xmlns:a16="http://schemas.microsoft.com/office/drawing/2014/main" id="{627A0BA1-7FA5-45B3-9D74-5767B25AB9E4}"/>
                        </a:ext>
                      </a:extLst>
                    </p:cNvPr>
                    <p:cNvSpPr/>
                    <p:nvPr/>
                  </p:nvSpPr>
                  <p:spPr>
                    <a:xfrm rot="2700000">
                      <a:off x="4372027" y="10135304"/>
                      <a:ext cx="31797" cy="168701"/>
                    </a:xfrm>
                    <a:custGeom>
                      <a:avLst/>
                      <a:gdLst>
                        <a:gd name="connsiteX0" fmla="*/ 0 w 31797"/>
                        <a:gd name="connsiteY0" fmla="*/ 0 h 168701"/>
                        <a:gd name="connsiteX1" fmla="*/ 31797 w 31797"/>
                        <a:gd name="connsiteY1" fmla="*/ 0 h 168701"/>
                        <a:gd name="connsiteX2" fmla="*/ 31797 w 31797"/>
                        <a:gd name="connsiteY2" fmla="*/ 168702 h 168701"/>
                        <a:gd name="connsiteX3" fmla="*/ 0 w 31797"/>
                        <a:gd name="connsiteY3" fmla="*/ 168702 h 168701"/>
                      </a:gdLst>
                      <a:ahLst/>
                      <a:cxnLst>
                        <a:cxn ang="0">
                          <a:pos x="connsiteX0" y="connsiteY0"/>
                        </a:cxn>
                        <a:cxn ang="0">
                          <a:pos x="connsiteX1" y="connsiteY1"/>
                        </a:cxn>
                        <a:cxn ang="0">
                          <a:pos x="connsiteX2" y="connsiteY2"/>
                        </a:cxn>
                        <a:cxn ang="0">
                          <a:pos x="connsiteX3" y="connsiteY3"/>
                        </a:cxn>
                      </a:cxnLst>
                      <a:rect l="l" t="t" r="r" b="b"/>
                      <a:pathLst>
                        <a:path w="31797" h="168701">
                          <a:moveTo>
                            <a:pt x="0" y="0"/>
                          </a:moveTo>
                          <a:lnTo>
                            <a:pt x="31797" y="0"/>
                          </a:lnTo>
                          <a:lnTo>
                            <a:pt x="31797" y="168702"/>
                          </a:lnTo>
                          <a:lnTo>
                            <a:pt x="0" y="168702"/>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53" name="Freeform: Shape 1352">
                      <a:extLst>
                        <a:ext uri="{FF2B5EF4-FFF2-40B4-BE49-F238E27FC236}">
                          <a16:creationId xmlns:a16="http://schemas.microsoft.com/office/drawing/2014/main" id="{EC422960-7551-42EF-B95B-FDCE5CEE1FAB}"/>
                        </a:ext>
                      </a:extLst>
                    </p:cNvPr>
                    <p:cNvSpPr/>
                    <p:nvPr/>
                  </p:nvSpPr>
                  <p:spPr>
                    <a:xfrm>
                      <a:off x="4334064" y="10165805"/>
                      <a:ext cx="107732" cy="107731"/>
                    </a:xfrm>
                    <a:custGeom>
                      <a:avLst/>
                      <a:gdLst>
                        <a:gd name="connsiteX0" fmla="*/ 98750 w 107732"/>
                        <a:gd name="connsiteY0" fmla="*/ 8982 h 107731"/>
                        <a:gd name="connsiteX1" fmla="*/ 55370 w 107732"/>
                        <a:gd name="connsiteY1" fmla="*/ 8982 h 107731"/>
                        <a:gd name="connsiteX2" fmla="*/ 8982 w 107732"/>
                        <a:gd name="connsiteY2" fmla="*/ 55370 h 107731"/>
                        <a:gd name="connsiteX3" fmla="*/ 8982 w 107732"/>
                        <a:gd name="connsiteY3" fmla="*/ 98750 h 107731"/>
                        <a:gd name="connsiteX4" fmla="*/ 52361 w 107732"/>
                        <a:gd name="connsiteY4" fmla="*/ 98750 h 107731"/>
                        <a:gd name="connsiteX5" fmla="*/ 98750 w 107732"/>
                        <a:gd name="connsiteY5" fmla="*/ 52362 h 107731"/>
                        <a:gd name="connsiteX6" fmla="*/ 98750 w 107732"/>
                        <a:gd name="connsiteY6" fmla="*/ 8982 h 10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732" h="107731">
                          <a:moveTo>
                            <a:pt x="98750" y="8982"/>
                          </a:moveTo>
                          <a:cubicBezTo>
                            <a:pt x="86774" y="-2994"/>
                            <a:pt x="67346" y="-2994"/>
                            <a:pt x="55370" y="8982"/>
                          </a:cubicBezTo>
                          <a:lnTo>
                            <a:pt x="8982" y="55370"/>
                          </a:lnTo>
                          <a:cubicBezTo>
                            <a:pt x="-2994" y="67346"/>
                            <a:pt x="-2994" y="86775"/>
                            <a:pt x="8982" y="98750"/>
                          </a:cubicBezTo>
                          <a:cubicBezTo>
                            <a:pt x="20957" y="110726"/>
                            <a:pt x="40386" y="110726"/>
                            <a:pt x="52361" y="98750"/>
                          </a:cubicBezTo>
                          <a:lnTo>
                            <a:pt x="98750" y="52362"/>
                          </a:lnTo>
                          <a:cubicBezTo>
                            <a:pt x="110726" y="40386"/>
                            <a:pt x="110726" y="20957"/>
                            <a:pt x="98750" y="8982"/>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54" name="Freeform: Shape 1353">
                      <a:extLst>
                        <a:ext uri="{FF2B5EF4-FFF2-40B4-BE49-F238E27FC236}">
                          <a16:creationId xmlns:a16="http://schemas.microsoft.com/office/drawing/2014/main" id="{496B2DC4-D1B9-48A1-B6F2-F297C0B625DF}"/>
                        </a:ext>
                      </a:extLst>
                    </p:cNvPr>
                    <p:cNvSpPr/>
                    <p:nvPr/>
                  </p:nvSpPr>
                  <p:spPr>
                    <a:xfrm rot="8100000">
                      <a:off x="4418935" y="10250682"/>
                      <a:ext cx="130828" cy="130828"/>
                    </a:xfrm>
                    <a:custGeom>
                      <a:avLst/>
                      <a:gdLst>
                        <a:gd name="connsiteX0" fmla="*/ 100820 w 130828"/>
                        <a:gd name="connsiteY0" fmla="*/ 0 h 130828"/>
                        <a:gd name="connsiteX1" fmla="*/ 130828 w 130828"/>
                        <a:gd name="connsiteY1" fmla="*/ 30008 h 130828"/>
                        <a:gd name="connsiteX2" fmla="*/ 130828 w 130828"/>
                        <a:gd name="connsiteY2" fmla="*/ 100820 h 130828"/>
                        <a:gd name="connsiteX3" fmla="*/ 100820 w 130828"/>
                        <a:gd name="connsiteY3" fmla="*/ 130828 h 130828"/>
                        <a:gd name="connsiteX4" fmla="*/ 30008 w 130828"/>
                        <a:gd name="connsiteY4" fmla="*/ 130828 h 130828"/>
                        <a:gd name="connsiteX5" fmla="*/ 0 w 130828"/>
                        <a:gd name="connsiteY5" fmla="*/ 100820 h 130828"/>
                        <a:gd name="connsiteX6" fmla="*/ 0 w 130828"/>
                        <a:gd name="connsiteY6" fmla="*/ 30008 h 130828"/>
                        <a:gd name="connsiteX7" fmla="*/ 30008 w 130828"/>
                        <a:gd name="connsiteY7" fmla="*/ 0 h 13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828" h="130828">
                          <a:moveTo>
                            <a:pt x="100820" y="0"/>
                          </a:moveTo>
                          <a:cubicBezTo>
                            <a:pt x="117393" y="0"/>
                            <a:pt x="130828" y="13435"/>
                            <a:pt x="130828" y="30008"/>
                          </a:cubicBezTo>
                          <a:lnTo>
                            <a:pt x="130828" y="100820"/>
                          </a:lnTo>
                          <a:cubicBezTo>
                            <a:pt x="130828" y="117393"/>
                            <a:pt x="117393" y="130828"/>
                            <a:pt x="100820" y="130828"/>
                          </a:cubicBezTo>
                          <a:lnTo>
                            <a:pt x="30008" y="130828"/>
                          </a:lnTo>
                          <a:cubicBezTo>
                            <a:pt x="13435" y="130828"/>
                            <a:pt x="0" y="117393"/>
                            <a:pt x="0" y="100820"/>
                          </a:cubicBezTo>
                          <a:lnTo>
                            <a:pt x="0" y="30008"/>
                          </a:lnTo>
                          <a:cubicBezTo>
                            <a:pt x="0" y="13435"/>
                            <a:pt x="13435" y="0"/>
                            <a:pt x="30008" y="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55" name="Freeform: Shape 1354">
                      <a:extLst>
                        <a:ext uri="{FF2B5EF4-FFF2-40B4-BE49-F238E27FC236}">
                          <a16:creationId xmlns:a16="http://schemas.microsoft.com/office/drawing/2014/main" id="{EFAF9553-F5FB-4B3E-9ABA-DE2DC27941F8}"/>
                        </a:ext>
                      </a:extLst>
                    </p:cNvPr>
                    <p:cNvSpPr/>
                    <p:nvPr/>
                  </p:nvSpPr>
                  <p:spPr>
                    <a:xfrm>
                      <a:off x="4230088" y="10061829"/>
                      <a:ext cx="245894" cy="245875"/>
                    </a:xfrm>
                    <a:custGeom>
                      <a:avLst/>
                      <a:gdLst>
                        <a:gd name="connsiteX0" fmla="*/ 168038 w 245894"/>
                        <a:gd name="connsiteY0" fmla="*/ 16307 h 245875"/>
                        <a:gd name="connsiteX1" fmla="*/ 239184 w 245894"/>
                        <a:gd name="connsiteY1" fmla="*/ 87453 h 245875"/>
                        <a:gd name="connsiteX2" fmla="*/ 239184 w 245894"/>
                        <a:gd name="connsiteY2" fmla="*/ 119880 h 245875"/>
                        <a:gd name="connsiteX3" fmla="*/ 195195 w 245894"/>
                        <a:gd name="connsiteY3" fmla="*/ 75890 h 245875"/>
                        <a:gd name="connsiteX4" fmla="*/ 116360 w 245894"/>
                        <a:gd name="connsiteY4" fmla="*/ 75890 h 245875"/>
                        <a:gd name="connsiteX5" fmla="*/ 75910 w 245894"/>
                        <a:gd name="connsiteY5" fmla="*/ 116340 h 245875"/>
                        <a:gd name="connsiteX6" fmla="*/ 75910 w 245894"/>
                        <a:gd name="connsiteY6" fmla="*/ 195175 h 245875"/>
                        <a:gd name="connsiteX7" fmla="*/ 119900 w 245894"/>
                        <a:gd name="connsiteY7" fmla="*/ 239165 h 245875"/>
                        <a:gd name="connsiteX8" fmla="*/ 87473 w 245894"/>
                        <a:gd name="connsiteY8" fmla="*/ 239165 h 245875"/>
                        <a:gd name="connsiteX9" fmla="*/ 16326 w 245894"/>
                        <a:gd name="connsiteY9" fmla="*/ 168018 h 245875"/>
                        <a:gd name="connsiteX10" fmla="*/ 16326 w 245894"/>
                        <a:gd name="connsiteY10" fmla="*/ 89184 h 245875"/>
                        <a:gd name="connsiteX11" fmla="*/ 89183 w 245894"/>
                        <a:gd name="connsiteY11" fmla="*/ 16326 h 245875"/>
                        <a:gd name="connsiteX12" fmla="*/ 168019 w 245894"/>
                        <a:gd name="connsiteY12" fmla="*/ 16326 h 24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5894" h="245875">
                          <a:moveTo>
                            <a:pt x="168038" y="16307"/>
                          </a:moveTo>
                          <a:lnTo>
                            <a:pt x="239184" y="87453"/>
                          </a:lnTo>
                          <a:cubicBezTo>
                            <a:pt x="248132" y="96400"/>
                            <a:pt x="248132" y="110913"/>
                            <a:pt x="239184" y="119880"/>
                          </a:cubicBezTo>
                          <a:lnTo>
                            <a:pt x="195195" y="75890"/>
                          </a:lnTo>
                          <a:cubicBezTo>
                            <a:pt x="173426" y="54122"/>
                            <a:pt x="138129" y="54122"/>
                            <a:pt x="116360" y="75890"/>
                          </a:cubicBezTo>
                          <a:lnTo>
                            <a:pt x="75910" y="116340"/>
                          </a:lnTo>
                          <a:cubicBezTo>
                            <a:pt x="54141" y="138109"/>
                            <a:pt x="54141" y="173407"/>
                            <a:pt x="75910" y="195175"/>
                          </a:cubicBezTo>
                          <a:lnTo>
                            <a:pt x="119900" y="239165"/>
                          </a:lnTo>
                          <a:cubicBezTo>
                            <a:pt x="110952" y="248112"/>
                            <a:pt x="96439" y="248112"/>
                            <a:pt x="87473" y="239165"/>
                          </a:cubicBezTo>
                          <a:lnTo>
                            <a:pt x="16326" y="168018"/>
                          </a:lnTo>
                          <a:cubicBezTo>
                            <a:pt x="-5442" y="146250"/>
                            <a:pt x="-5442" y="110952"/>
                            <a:pt x="16326" y="89184"/>
                          </a:cubicBezTo>
                          <a:lnTo>
                            <a:pt x="89183" y="16326"/>
                          </a:lnTo>
                          <a:cubicBezTo>
                            <a:pt x="110952" y="-5442"/>
                            <a:pt x="146250" y="-5442"/>
                            <a:pt x="168019" y="16326"/>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338" name="Graphic 10">
                    <a:extLst>
                      <a:ext uri="{FF2B5EF4-FFF2-40B4-BE49-F238E27FC236}">
                        <a16:creationId xmlns:a16="http://schemas.microsoft.com/office/drawing/2014/main" id="{2C2BF09A-A81E-4038-B676-BE735D75EDA5}"/>
                      </a:ext>
                    </a:extLst>
                  </p:cNvPr>
                  <p:cNvGrpSpPr/>
                  <p:nvPr/>
                </p:nvGrpSpPr>
                <p:grpSpPr>
                  <a:xfrm>
                    <a:off x="3755588" y="9582157"/>
                    <a:ext cx="478932" cy="478773"/>
                    <a:chOff x="3755588" y="9582157"/>
                    <a:chExt cx="478932" cy="478773"/>
                  </a:xfrm>
                </p:grpSpPr>
                <p:sp>
                  <p:nvSpPr>
                    <p:cNvPr id="1343" name="Freeform: Shape 1342">
                      <a:extLst>
                        <a:ext uri="{FF2B5EF4-FFF2-40B4-BE49-F238E27FC236}">
                          <a16:creationId xmlns:a16="http://schemas.microsoft.com/office/drawing/2014/main" id="{70812676-319C-4B09-BEB1-D6E4618FF7F0}"/>
                        </a:ext>
                      </a:extLst>
                    </p:cNvPr>
                    <p:cNvSpPr/>
                    <p:nvPr/>
                  </p:nvSpPr>
                  <p:spPr>
                    <a:xfrm rot="-2700000">
                      <a:off x="3993536" y="9668052"/>
                      <a:ext cx="41924" cy="345977"/>
                    </a:xfrm>
                    <a:custGeom>
                      <a:avLst/>
                      <a:gdLst>
                        <a:gd name="connsiteX0" fmla="*/ 0 w 41924"/>
                        <a:gd name="connsiteY0" fmla="*/ 0 h 345977"/>
                        <a:gd name="connsiteX1" fmla="*/ 41925 w 41924"/>
                        <a:gd name="connsiteY1" fmla="*/ 0 h 345977"/>
                        <a:gd name="connsiteX2" fmla="*/ 41925 w 41924"/>
                        <a:gd name="connsiteY2" fmla="*/ 345978 h 345977"/>
                        <a:gd name="connsiteX3" fmla="*/ 0 w 41924"/>
                        <a:gd name="connsiteY3" fmla="*/ 345978 h 345977"/>
                      </a:gdLst>
                      <a:ahLst/>
                      <a:cxnLst>
                        <a:cxn ang="0">
                          <a:pos x="connsiteX0" y="connsiteY0"/>
                        </a:cxn>
                        <a:cxn ang="0">
                          <a:pos x="connsiteX1" y="connsiteY1"/>
                        </a:cxn>
                        <a:cxn ang="0">
                          <a:pos x="connsiteX2" y="connsiteY2"/>
                        </a:cxn>
                        <a:cxn ang="0">
                          <a:pos x="connsiteX3" y="connsiteY3"/>
                        </a:cxn>
                      </a:cxnLst>
                      <a:rect l="l" t="t" r="r" b="b"/>
                      <a:pathLst>
                        <a:path w="41924" h="345977">
                          <a:moveTo>
                            <a:pt x="0" y="0"/>
                          </a:moveTo>
                          <a:lnTo>
                            <a:pt x="41925" y="0"/>
                          </a:lnTo>
                          <a:lnTo>
                            <a:pt x="41925" y="345978"/>
                          </a:lnTo>
                          <a:lnTo>
                            <a:pt x="0" y="345978"/>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44" name="Freeform: Shape 1343">
                      <a:extLst>
                        <a:ext uri="{FF2B5EF4-FFF2-40B4-BE49-F238E27FC236}">
                          <a16:creationId xmlns:a16="http://schemas.microsoft.com/office/drawing/2014/main" id="{AC91CB29-7E3D-45CE-8A84-271651FB10FF}"/>
                        </a:ext>
                      </a:extLst>
                    </p:cNvPr>
                    <p:cNvSpPr/>
                    <p:nvPr/>
                  </p:nvSpPr>
                  <p:spPr>
                    <a:xfrm>
                      <a:off x="3842230" y="9668818"/>
                      <a:ext cx="344483" cy="344482"/>
                    </a:xfrm>
                    <a:custGeom>
                      <a:avLst/>
                      <a:gdLst>
                        <a:gd name="connsiteX0" fmla="*/ 88077 w 344483"/>
                        <a:gd name="connsiteY0" fmla="*/ 11759 h 344482"/>
                        <a:gd name="connsiteX1" fmla="*/ 332724 w 344483"/>
                        <a:gd name="connsiteY1" fmla="*/ 256406 h 344482"/>
                        <a:gd name="connsiteX2" fmla="*/ 344483 w 344483"/>
                        <a:gd name="connsiteY2" fmla="*/ 244646 h 344482"/>
                        <a:gd name="connsiteX3" fmla="*/ 99837 w 344483"/>
                        <a:gd name="connsiteY3" fmla="*/ 0 h 344482"/>
                        <a:gd name="connsiteX4" fmla="*/ 88077 w 344483"/>
                        <a:gd name="connsiteY4" fmla="*/ 11759 h 344482"/>
                        <a:gd name="connsiteX5" fmla="*/ 244646 w 344483"/>
                        <a:gd name="connsiteY5" fmla="*/ 344483 h 344482"/>
                        <a:gd name="connsiteX6" fmla="*/ 256406 w 344483"/>
                        <a:gd name="connsiteY6" fmla="*/ 332724 h 344482"/>
                        <a:gd name="connsiteX7" fmla="*/ 11759 w 344483"/>
                        <a:gd name="connsiteY7" fmla="*/ 88077 h 344482"/>
                        <a:gd name="connsiteX8" fmla="*/ 0 w 344483"/>
                        <a:gd name="connsiteY8" fmla="*/ 99837 h 344482"/>
                        <a:gd name="connsiteX9" fmla="*/ 244646 w 344483"/>
                        <a:gd name="connsiteY9" fmla="*/ 344483 h 34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4483" h="344482">
                          <a:moveTo>
                            <a:pt x="88077" y="11759"/>
                          </a:moveTo>
                          <a:lnTo>
                            <a:pt x="332724" y="256406"/>
                          </a:lnTo>
                          <a:lnTo>
                            <a:pt x="344483" y="244646"/>
                          </a:lnTo>
                          <a:lnTo>
                            <a:pt x="99837" y="0"/>
                          </a:lnTo>
                          <a:lnTo>
                            <a:pt x="88077" y="11759"/>
                          </a:lnTo>
                          <a:close/>
                          <a:moveTo>
                            <a:pt x="244646" y="344483"/>
                          </a:moveTo>
                          <a:lnTo>
                            <a:pt x="256406" y="332724"/>
                          </a:lnTo>
                          <a:lnTo>
                            <a:pt x="11759" y="88077"/>
                          </a:lnTo>
                          <a:lnTo>
                            <a:pt x="0" y="99837"/>
                          </a:lnTo>
                          <a:lnTo>
                            <a:pt x="244646" y="344483"/>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45" name="Freeform: Shape 1344">
                      <a:extLst>
                        <a:ext uri="{FF2B5EF4-FFF2-40B4-BE49-F238E27FC236}">
                          <a16:creationId xmlns:a16="http://schemas.microsoft.com/office/drawing/2014/main" id="{FE0AB521-02C9-4842-8B81-DC859AB6670D}"/>
                        </a:ext>
                      </a:extLst>
                    </p:cNvPr>
                    <p:cNvSpPr/>
                    <p:nvPr/>
                  </p:nvSpPr>
                  <p:spPr>
                    <a:xfrm>
                      <a:off x="3755588" y="9582157"/>
                      <a:ext cx="186478" cy="186498"/>
                    </a:xfrm>
                    <a:custGeom>
                      <a:avLst/>
                      <a:gdLst>
                        <a:gd name="connsiteX0" fmla="*/ 86662 w 186478"/>
                        <a:gd name="connsiteY0" fmla="*/ 186479 h 186498"/>
                        <a:gd name="connsiteX1" fmla="*/ 0 w 186478"/>
                        <a:gd name="connsiteY1" fmla="*/ 99817 h 186498"/>
                        <a:gd name="connsiteX2" fmla="*/ 11071 w 186478"/>
                        <a:gd name="connsiteY2" fmla="*/ 88746 h 186498"/>
                        <a:gd name="connsiteX3" fmla="*/ 29241 w 186478"/>
                        <a:gd name="connsiteY3" fmla="*/ 106916 h 186498"/>
                        <a:gd name="connsiteX4" fmla="*/ 106916 w 186478"/>
                        <a:gd name="connsiteY4" fmla="*/ 106916 h 186498"/>
                        <a:gd name="connsiteX5" fmla="*/ 106916 w 186478"/>
                        <a:gd name="connsiteY5" fmla="*/ 29241 h 186498"/>
                        <a:gd name="connsiteX6" fmla="*/ 88746 w 186478"/>
                        <a:gd name="connsiteY6" fmla="*/ 11071 h 186498"/>
                        <a:gd name="connsiteX7" fmla="*/ 99817 w 186478"/>
                        <a:gd name="connsiteY7" fmla="*/ 0 h 186498"/>
                        <a:gd name="connsiteX8" fmla="*/ 186479 w 186478"/>
                        <a:gd name="connsiteY8" fmla="*/ 86662 h 186498"/>
                        <a:gd name="connsiteX9" fmla="*/ 86642 w 186478"/>
                        <a:gd name="connsiteY9" fmla="*/ 186498 h 18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478" h="186498">
                          <a:moveTo>
                            <a:pt x="86662" y="186479"/>
                          </a:moveTo>
                          <a:lnTo>
                            <a:pt x="0" y="99817"/>
                          </a:lnTo>
                          <a:lnTo>
                            <a:pt x="11071" y="88746"/>
                          </a:lnTo>
                          <a:lnTo>
                            <a:pt x="29241" y="106916"/>
                          </a:lnTo>
                          <a:cubicBezTo>
                            <a:pt x="50695" y="128370"/>
                            <a:pt x="85462" y="128370"/>
                            <a:pt x="106916" y="106916"/>
                          </a:cubicBezTo>
                          <a:cubicBezTo>
                            <a:pt x="128370" y="85462"/>
                            <a:pt x="128370" y="50695"/>
                            <a:pt x="106916" y="29241"/>
                          </a:cubicBezTo>
                          <a:lnTo>
                            <a:pt x="88746" y="11071"/>
                          </a:lnTo>
                          <a:lnTo>
                            <a:pt x="99817" y="0"/>
                          </a:lnTo>
                          <a:lnTo>
                            <a:pt x="186479" y="86662"/>
                          </a:lnTo>
                          <a:lnTo>
                            <a:pt x="86642" y="186498"/>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46" name="Freeform: Shape 1345">
                      <a:extLst>
                        <a:ext uri="{FF2B5EF4-FFF2-40B4-BE49-F238E27FC236}">
                          <a16:creationId xmlns:a16="http://schemas.microsoft.com/office/drawing/2014/main" id="{A7964CD1-AD37-4D57-93F4-E59F4A932C42}"/>
                        </a:ext>
                      </a:extLst>
                    </p:cNvPr>
                    <p:cNvSpPr/>
                    <p:nvPr/>
                  </p:nvSpPr>
                  <p:spPr>
                    <a:xfrm rot="-2700000">
                      <a:off x="4064087" y="9890498"/>
                      <a:ext cx="141191" cy="141191"/>
                    </a:xfrm>
                    <a:custGeom>
                      <a:avLst/>
                      <a:gdLst>
                        <a:gd name="connsiteX0" fmla="*/ 141191 w 141191"/>
                        <a:gd name="connsiteY0" fmla="*/ 70596 h 141191"/>
                        <a:gd name="connsiteX1" fmla="*/ 70596 w 141191"/>
                        <a:gd name="connsiteY1" fmla="*/ 141191 h 141191"/>
                        <a:gd name="connsiteX2" fmla="*/ 0 w 141191"/>
                        <a:gd name="connsiteY2" fmla="*/ 70596 h 141191"/>
                        <a:gd name="connsiteX3" fmla="*/ 70596 w 141191"/>
                        <a:gd name="connsiteY3" fmla="*/ 0 h 141191"/>
                        <a:gd name="connsiteX4" fmla="*/ 141191 w 141191"/>
                        <a:gd name="connsiteY4" fmla="*/ 70596 h 141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91" h="141191">
                          <a:moveTo>
                            <a:pt x="141191" y="70596"/>
                          </a:moveTo>
                          <a:cubicBezTo>
                            <a:pt x="141191" y="109585"/>
                            <a:pt x="109585" y="141191"/>
                            <a:pt x="70596" y="141191"/>
                          </a:cubicBezTo>
                          <a:cubicBezTo>
                            <a:pt x="31607" y="141191"/>
                            <a:pt x="0" y="109585"/>
                            <a:pt x="0" y="70596"/>
                          </a:cubicBezTo>
                          <a:cubicBezTo>
                            <a:pt x="0" y="31607"/>
                            <a:pt x="31607" y="0"/>
                            <a:pt x="70596" y="0"/>
                          </a:cubicBezTo>
                          <a:cubicBezTo>
                            <a:pt x="109585" y="0"/>
                            <a:pt x="141191" y="31607"/>
                            <a:pt x="141191" y="70596"/>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47" name="Freeform: Shape 1346">
                      <a:extLst>
                        <a:ext uri="{FF2B5EF4-FFF2-40B4-BE49-F238E27FC236}">
                          <a16:creationId xmlns:a16="http://schemas.microsoft.com/office/drawing/2014/main" id="{3455506A-A2E3-4B38-9498-3D60859D565D}"/>
                        </a:ext>
                      </a:extLst>
                    </p:cNvPr>
                    <p:cNvSpPr/>
                    <p:nvPr/>
                  </p:nvSpPr>
                  <p:spPr>
                    <a:xfrm>
                      <a:off x="4091300" y="9917712"/>
                      <a:ext cx="86759" cy="86759"/>
                    </a:xfrm>
                    <a:custGeom>
                      <a:avLst/>
                      <a:gdLst>
                        <a:gd name="connsiteX0" fmla="*/ 86760 w 86759"/>
                        <a:gd name="connsiteY0" fmla="*/ 43380 h 86759"/>
                        <a:gd name="connsiteX1" fmla="*/ 43380 w 86759"/>
                        <a:gd name="connsiteY1" fmla="*/ 86760 h 86759"/>
                        <a:gd name="connsiteX2" fmla="*/ 0 w 86759"/>
                        <a:gd name="connsiteY2" fmla="*/ 43380 h 86759"/>
                        <a:gd name="connsiteX3" fmla="*/ 43380 w 86759"/>
                        <a:gd name="connsiteY3" fmla="*/ 0 h 86759"/>
                        <a:gd name="connsiteX4" fmla="*/ 86760 w 86759"/>
                        <a:gd name="connsiteY4" fmla="*/ 43380 h 86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59" h="86759">
                          <a:moveTo>
                            <a:pt x="86760" y="43380"/>
                          </a:moveTo>
                          <a:cubicBezTo>
                            <a:pt x="86760" y="67338"/>
                            <a:pt x="67338" y="86760"/>
                            <a:pt x="43380" y="86760"/>
                          </a:cubicBezTo>
                          <a:cubicBezTo>
                            <a:pt x="19422" y="86760"/>
                            <a:pt x="0" y="67338"/>
                            <a:pt x="0" y="43380"/>
                          </a:cubicBezTo>
                          <a:cubicBezTo>
                            <a:pt x="0" y="19422"/>
                            <a:pt x="19422" y="0"/>
                            <a:pt x="43380" y="0"/>
                          </a:cubicBezTo>
                          <a:cubicBezTo>
                            <a:pt x="67338" y="0"/>
                            <a:pt x="86760" y="19422"/>
                            <a:pt x="86760" y="43380"/>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339" name="Freeform: Shape 1338">
                    <a:extLst>
                      <a:ext uri="{FF2B5EF4-FFF2-40B4-BE49-F238E27FC236}">
                        <a16:creationId xmlns:a16="http://schemas.microsoft.com/office/drawing/2014/main" id="{0C2B26DD-1F68-4F33-A9D6-BE66ADEDE4A6}"/>
                      </a:ext>
                    </a:extLst>
                  </p:cNvPr>
                  <p:cNvSpPr/>
                  <p:nvPr/>
                </p:nvSpPr>
                <p:spPr>
                  <a:xfrm rot="-2700000">
                    <a:off x="3648538" y="9442834"/>
                    <a:ext cx="113306" cy="177806"/>
                  </a:xfrm>
                  <a:custGeom>
                    <a:avLst/>
                    <a:gdLst>
                      <a:gd name="connsiteX0" fmla="*/ 0 w 113306"/>
                      <a:gd name="connsiteY0" fmla="*/ 0 h 177806"/>
                      <a:gd name="connsiteX1" fmla="*/ 113307 w 113306"/>
                      <a:gd name="connsiteY1" fmla="*/ 0 h 177806"/>
                      <a:gd name="connsiteX2" fmla="*/ 113307 w 113306"/>
                      <a:gd name="connsiteY2" fmla="*/ 177807 h 177806"/>
                      <a:gd name="connsiteX3" fmla="*/ 0 w 113306"/>
                      <a:gd name="connsiteY3" fmla="*/ 177807 h 177806"/>
                    </a:gdLst>
                    <a:ahLst/>
                    <a:cxnLst>
                      <a:cxn ang="0">
                        <a:pos x="connsiteX0" y="connsiteY0"/>
                      </a:cxn>
                      <a:cxn ang="0">
                        <a:pos x="connsiteX1" y="connsiteY1"/>
                      </a:cxn>
                      <a:cxn ang="0">
                        <a:pos x="connsiteX2" y="connsiteY2"/>
                      </a:cxn>
                      <a:cxn ang="0">
                        <a:pos x="connsiteX3" y="connsiteY3"/>
                      </a:cxn>
                    </a:cxnLst>
                    <a:rect l="l" t="t" r="r" b="b"/>
                    <a:pathLst>
                      <a:path w="113306" h="177806">
                        <a:moveTo>
                          <a:pt x="0" y="0"/>
                        </a:moveTo>
                        <a:lnTo>
                          <a:pt x="113307" y="0"/>
                        </a:lnTo>
                        <a:lnTo>
                          <a:pt x="113307" y="177807"/>
                        </a:lnTo>
                        <a:lnTo>
                          <a:pt x="0" y="177807"/>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40" name="Freeform: Shape 1339">
                    <a:extLst>
                      <a:ext uri="{FF2B5EF4-FFF2-40B4-BE49-F238E27FC236}">
                        <a16:creationId xmlns:a16="http://schemas.microsoft.com/office/drawing/2014/main" id="{6A520591-921F-42AC-AFA3-C3BAB71F20A4}"/>
                      </a:ext>
                    </a:extLst>
                  </p:cNvPr>
                  <p:cNvSpPr/>
                  <p:nvPr/>
                </p:nvSpPr>
                <p:spPr>
                  <a:xfrm rot="2700000">
                    <a:off x="3726398" y="9510211"/>
                    <a:ext cx="124319" cy="209800"/>
                  </a:xfrm>
                  <a:custGeom>
                    <a:avLst/>
                    <a:gdLst>
                      <a:gd name="connsiteX0" fmla="*/ 105048 w 124319"/>
                      <a:gd name="connsiteY0" fmla="*/ 0 h 209800"/>
                      <a:gd name="connsiteX1" fmla="*/ 124319 w 124319"/>
                      <a:gd name="connsiteY1" fmla="*/ 19271 h 209800"/>
                      <a:gd name="connsiteX2" fmla="*/ 124319 w 124319"/>
                      <a:gd name="connsiteY2" fmla="*/ 190530 h 209800"/>
                      <a:gd name="connsiteX3" fmla="*/ 105048 w 124319"/>
                      <a:gd name="connsiteY3" fmla="*/ 209801 h 209800"/>
                      <a:gd name="connsiteX4" fmla="*/ 19271 w 124319"/>
                      <a:gd name="connsiteY4" fmla="*/ 209801 h 209800"/>
                      <a:gd name="connsiteX5" fmla="*/ 0 w 124319"/>
                      <a:gd name="connsiteY5" fmla="*/ 190530 h 209800"/>
                      <a:gd name="connsiteX6" fmla="*/ 0 w 124319"/>
                      <a:gd name="connsiteY6" fmla="*/ 19271 h 209800"/>
                      <a:gd name="connsiteX7" fmla="*/ 19271 w 124319"/>
                      <a:gd name="connsiteY7" fmla="*/ 0 h 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19" h="209800">
                        <a:moveTo>
                          <a:pt x="105048" y="0"/>
                        </a:moveTo>
                        <a:cubicBezTo>
                          <a:pt x="115691" y="0"/>
                          <a:pt x="124319" y="8628"/>
                          <a:pt x="124319" y="19271"/>
                        </a:cubicBezTo>
                        <a:lnTo>
                          <a:pt x="124319" y="190530"/>
                        </a:lnTo>
                        <a:cubicBezTo>
                          <a:pt x="124319" y="201173"/>
                          <a:pt x="115691" y="209801"/>
                          <a:pt x="105048" y="209801"/>
                        </a:cubicBezTo>
                        <a:lnTo>
                          <a:pt x="19271" y="209801"/>
                        </a:lnTo>
                        <a:cubicBezTo>
                          <a:pt x="8628" y="209801"/>
                          <a:pt x="0" y="201173"/>
                          <a:pt x="0" y="190530"/>
                        </a:cubicBezTo>
                        <a:lnTo>
                          <a:pt x="0" y="19271"/>
                        </a:lnTo>
                        <a:cubicBezTo>
                          <a:pt x="0" y="8628"/>
                          <a:pt x="8628" y="0"/>
                          <a:pt x="19271" y="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41" name="Freeform: Shape 1340">
                    <a:extLst>
                      <a:ext uri="{FF2B5EF4-FFF2-40B4-BE49-F238E27FC236}">
                        <a16:creationId xmlns:a16="http://schemas.microsoft.com/office/drawing/2014/main" id="{48DEF38F-5B6D-4029-83D9-AC58333FD141}"/>
                      </a:ext>
                    </a:extLst>
                  </p:cNvPr>
                  <p:cNvSpPr/>
                  <p:nvPr/>
                </p:nvSpPr>
                <p:spPr>
                  <a:xfrm>
                    <a:off x="3746109" y="9651356"/>
                    <a:ext cx="33626" cy="33626"/>
                  </a:xfrm>
                  <a:custGeom>
                    <a:avLst/>
                    <a:gdLst>
                      <a:gd name="connsiteX0" fmla="*/ 33626 w 33626"/>
                      <a:gd name="connsiteY0" fmla="*/ 16813 h 33626"/>
                      <a:gd name="connsiteX1" fmla="*/ 16813 w 33626"/>
                      <a:gd name="connsiteY1" fmla="*/ 33626 h 33626"/>
                      <a:gd name="connsiteX2" fmla="*/ 0 w 33626"/>
                      <a:gd name="connsiteY2" fmla="*/ 16813 h 33626"/>
                      <a:gd name="connsiteX3" fmla="*/ 16813 w 33626"/>
                      <a:gd name="connsiteY3" fmla="*/ 0 h 33626"/>
                      <a:gd name="connsiteX4" fmla="*/ 33626 w 33626"/>
                      <a:gd name="connsiteY4" fmla="*/ 16813 h 33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6" h="33626">
                        <a:moveTo>
                          <a:pt x="33626" y="16813"/>
                        </a:moveTo>
                        <a:cubicBezTo>
                          <a:pt x="33626" y="26099"/>
                          <a:pt x="26099" y="33626"/>
                          <a:pt x="16813" y="33626"/>
                        </a:cubicBezTo>
                        <a:cubicBezTo>
                          <a:pt x="7527" y="33626"/>
                          <a:pt x="0" y="26099"/>
                          <a:pt x="0" y="16813"/>
                        </a:cubicBezTo>
                        <a:cubicBezTo>
                          <a:pt x="0" y="7527"/>
                          <a:pt x="7527" y="0"/>
                          <a:pt x="16813" y="0"/>
                        </a:cubicBezTo>
                        <a:cubicBezTo>
                          <a:pt x="26099" y="0"/>
                          <a:pt x="33626" y="7527"/>
                          <a:pt x="33626" y="16813"/>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42" name="Freeform: Shape 1341">
                    <a:extLst>
                      <a:ext uri="{FF2B5EF4-FFF2-40B4-BE49-F238E27FC236}">
                        <a16:creationId xmlns:a16="http://schemas.microsoft.com/office/drawing/2014/main" id="{233E5D61-79A5-454B-B4A0-5426150DF6D5}"/>
                      </a:ext>
                    </a:extLst>
                  </p:cNvPr>
                  <p:cNvSpPr/>
                  <p:nvPr/>
                </p:nvSpPr>
                <p:spPr>
                  <a:xfrm>
                    <a:off x="3780906" y="9568559"/>
                    <a:ext cx="81627" cy="81627"/>
                  </a:xfrm>
                  <a:custGeom>
                    <a:avLst/>
                    <a:gdLst>
                      <a:gd name="connsiteX0" fmla="*/ 4926 w 81627"/>
                      <a:gd name="connsiteY0" fmla="*/ 76701 h 81627"/>
                      <a:gd name="connsiteX1" fmla="*/ 28700 w 81627"/>
                      <a:gd name="connsiteY1" fmla="*/ 76701 h 81627"/>
                      <a:gd name="connsiteX2" fmla="*/ 76701 w 81627"/>
                      <a:gd name="connsiteY2" fmla="*/ 28700 h 81627"/>
                      <a:gd name="connsiteX3" fmla="*/ 76701 w 81627"/>
                      <a:gd name="connsiteY3" fmla="*/ 4926 h 81627"/>
                      <a:gd name="connsiteX4" fmla="*/ 52927 w 81627"/>
                      <a:gd name="connsiteY4" fmla="*/ 4926 h 81627"/>
                      <a:gd name="connsiteX5" fmla="*/ 4926 w 81627"/>
                      <a:gd name="connsiteY5" fmla="*/ 52927 h 81627"/>
                      <a:gd name="connsiteX6" fmla="*/ 4926 w 81627"/>
                      <a:gd name="connsiteY6" fmla="*/ 76701 h 81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627" h="81627">
                        <a:moveTo>
                          <a:pt x="4926" y="76701"/>
                        </a:moveTo>
                        <a:cubicBezTo>
                          <a:pt x="11494" y="83269"/>
                          <a:pt x="22132" y="83269"/>
                          <a:pt x="28700" y="76701"/>
                        </a:cubicBezTo>
                        <a:lnTo>
                          <a:pt x="76701" y="28700"/>
                        </a:lnTo>
                        <a:cubicBezTo>
                          <a:pt x="83270" y="22132"/>
                          <a:pt x="83270" y="11494"/>
                          <a:pt x="76701" y="4926"/>
                        </a:cubicBezTo>
                        <a:cubicBezTo>
                          <a:pt x="70134" y="-1642"/>
                          <a:pt x="59495" y="-1642"/>
                          <a:pt x="52927" y="4926"/>
                        </a:cubicBezTo>
                        <a:lnTo>
                          <a:pt x="4926" y="52927"/>
                        </a:lnTo>
                        <a:cubicBezTo>
                          <a:pt x="-1642" y="59495"/>
                          <a:pt x="-1642" y="70133"/>
                          <a:pt x="4926" y="76701"/>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323" name="Freeform: Shape 1322">
                  <a:extLst>
                    <a:ext uri="{FF2B5EF4-FFF2-40B4-BE49-F238E27FC236}">
                      <a16:creationId xmlns:a16="http://schemas.microsoft.com/office/drawing/2014/main" id="{49001FEB-532E-47F0-A2A5-E7C7E0CDD4EA}"/>
                    </a:ext>
                  </a:extLst>
                </p:cNvPr>
                <p:cNvSpPr/>
                <p:nvPr/>
              </p:nvSpPr>
              <p:spPr>
                <a:xfrm>
                  <a:off x="2891804" y="10188158"/>
                  <a:ext cx="188602" cy="360902"/>
                </a:xfrm>
                <a:custGeom>
                  <a:avLst/>
                  <a:gdLst>
                    <a:gd name="connsiteX0" fmla="*/ 0 w 188602"/>
                    <a:gd name="connsiteY0" fmla="*/ 0 h 360902"/>
                    <a:gd name="connsiteX1" fmla="*/ 188602 w 188602"/>
                    <a:gd name="connsiteY1" fmla="*/ 0 h 360902"/>
                    <a:gd name="connsiteX2" fmla="*/ 188602 w 188602"/>
                    <a:gd name="connsiteY2" fmla="*/ 360903 h 360902"/>
                    <a:gd name="connsiteX3" fmla="*/ 0 w 188602"/>
                    <a:gd name="connsiteY3" fmla="*/ 360903 h 360902"/>
                  </a:gdLst>
                  <a:ahLst/>
                  <a:cxnLst>
                    <a:cxn ang="0">
                      <a:pos x="connsiteX0" y="connsiteY0"/>
                    </a:cxn>
                    <a:cxn ang="0">
                      <a:pos x="connsiteX1" y="connsiteY1"/>
                    </a:cxn>
                    <a:cxn ang="0">
                      <a:pos x="connsiteX2" y="connsiteY2"/>
                    </a:cxn>
                    <a:cxn ang="0">
                      <a:pos x="connsiteX3" y="connsiteY3"/>
                    </a:cxn>
                  </a:cxnLst>
                  <a:rect l="l" t="t" r="r" b="b"/>
                  <a:pathLst>
                    <a:path w="188602" h="360902">
                      <a:moveTo>
                        <a:pt x="0" y="0"/>
                      </a:moveTo>
                      <a:lnTo>
                        <a:pt x="188602" y="0"/>
                      </a:lnTo>
                      <a:lnTo>
                        <a:pt x="188602" y="360903"/>
                      </a:lnTo>
                      <a:lnTo>
                        <a:pt x="0" y="360903"/>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24" name="Freeform: Shape 1323">
                  <a:extLst>
                    <a:ext uri="{FF2B5EF4-FFF2-40B4-BE49-F238E27FC236}">
                      <a16:creationId xmlns:a16="http://schemas.microsoft.com/office/drawing/2014/main" id="{551E83DD-BE80-49DB-8746-711964552E70}"/>
                    </a:ext>
                  </a:extLst>
                </p:cNvPr>
                <p:cNvSpPr/>
                <p:nvPr/>
              </p:nvSpPr>
              <p:spPr>
                <a:xfrm>
                  <a:off x="2644818" y="10632360"/>
                  <a:ext cx="682594" cy="100249"/>
                </a:xfrm>
                <a:custGeom>
                  <a:avLst/>
                  <a:gdLst>
                    <a:gd name="connsiteX0" fmla="*/ 582325 w 682594"/>
                    <a:gd name="connsiteY0" fmla="*/ 0 h 100249"/>
                    <a:gd name="connsiteX1" fmla="*/ 100250 w 682594"/>
                    <a:gd name="connsiteY1" fmla="*/ 0 h 100249"/>
                    <a:gd name="connsiteX2" fmla="*/ 0 w 682594"/>
                    <a:gd name="connsiteY2" fmla="*/ 100250 h 100249"/>
                    <a:gd name="connsiteX3" fmla="*/ 682595 w 682594"/>
                    <a:gd name="connsiteY3" fmla="*/ 100250 h 100249"/>
                    <a:gd name="connsiteX4" fmla="*/ 582345 w 682594"/>
                    <a:gd name="connsiteY4" fmla="*/ 0 h 100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594" h="100249">
                      <a:moveTo>
                        <a:pt x="582325" y="0"/>
                      </a:moveTo>
                      <a:lnTo>
                        <a:pt x="100250" y="0"/>
                      </a:lnTo>
                      <a:cubicBezTo>
                        <a:pt x="44875" y="0"/>
                        <a:pt x="0" y="44894"/>
                        <a:pt x="0" y="100250"/>
                      </a:cubicBezTo>
                      <a:lnTo>
                        <a:pt x="682595" y="100250"/>
                      </a:lnTo>
                      <a:cubicBezTo>
                        <a:pt x="682595" y="44874"/>
                        <a:pt x="637701" y="0"/>
                        <a:pt x="582345" y="0"/>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25" name="Freeform: Shape 1324">
                  <a:extLst>
                    <a:ext uri="{FF2B5EF4-FFF2-40B4-BE49-F238E27FC236}">
                      <a16:creationId xmlns:a16="http://schemas.microsoft.com/office/drawing/2014/main" id="{15F18D3F-92C3-4E92-B9B4-14B5A734611E}"/>
                    </a:ext>
                  </a:extLst>
                </p:cNvPr>
                <p:cNvSpPr/>
                <p:nvPr/>
              </p:nvSpPr>
              <p:spPr>
                <a:xfrm>
                  <a:off x="2745048" y="10465782"/>
                  <a:ext cx="482134" cy="166597"/>
                </a:xfrm>
                <a:custGeom>
                  <a:avLst/>
                  <a:gdLst>
                    <a:gd name="connsiteX0" fmla="*/ 66801 w 482134"/>
                    <a:gd name="connsiteY0" fmla="*/ 0 h 166597"/>
                    <a:gd name="connsiteX1" fmla="*/ 415334 w 482134"/>
                    <a:gd name="connsiteY1" fmla="*/ 0 h 166597"/>
                    <a:gd name="connsiteX2" fmla="*/ 482135 w 482134"/>
                    <a:gd name="connsiteY2" fmla="*/ 66800 h 166597"/>
                    <a:gd name="connsiteX3" fmla="*/ 482135 w 482134"/>
                    <a:gd name="connsiteY3" fmla="*/ 166598 h 166597"/>
                    <a:gd name="connsiteX4" fmla="*/ 0 w 482134"/>
                    <a:gd name="connsiteY4" fmla="*/ 166598 h 166597"/>
                    <a:gd name="connsiteX5" fmla="*/ 0 w 482134"/>
                    <a:gd name="connsiteY5" fmla="*/ 66800 h 166597"/>
                    <a:gd name="connsiteX6" fmla="*/ 66801 w 482134"/>
                    <a:gd name="connsiteY6" fmla="*/ 0 h 166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2134" h="166597">
                      <a:moveTo>
                        <a:pt x="66801" y="0"/>
                      </a:moveTo>
                      <a:lnTo>
                        <a:pt x="415334" y="0"/>
                      </a:lnTo>
                      <a:cubicBezTo>
                        <a:pt x="452205" y="0"/>
                        <a:pt x="482135" y="29929"/>
                        <a:pt x="482135" y="66800"/>
                      </a:cubicBezTo>
                      <a:lnTo>
                        <a:pt x="482135" y="166598"/>
                      </a:lnTo>
                      <a:lnTo>
                        <a:pt x="0" y="166598"/>
                      </a:lnTo>
                      <a:lnTo>
                        <a:pt x="0" y="66800"/>
                      </a:lnTo>
                      <a:cubicBezTo>
                        <a:pt x="0" y="29929"/>
                        <a:pt x="29930" y="0"/>
                        <a:pt x="66801" y="0"/>
                      </a:cubicBezTo>
                      <a:close/>
                    </a:path>
                  </a:pathLst>
                </a:custGeom>
                <a:solidFill>
                  <a:srgbClr val="B3D6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26" name="Freeform: Shape 1325">
                  <a:extLst>
                    <a:ext uri="{FF2B5EF4-FFF2-40B4-BE49-F238E27FC236}">
                      <a16:creationId xmlns:a16="http://schemas.microsoft.com/office/drawing/2014/main" id="{C2FAA646-C892-49F2-BCA2-8AF335208CAF}"/>
                    </a:ext>
                  </a:extLst>
                </p:cNvPr>
                <p:cNvSpPr/>
                <p:nvPr/>
              </p:nvSpPr>
              <p:spPr>
                <a:xfrm>
                  <a:off x="2367627" y="10732610"/>
                  <a:ext cx="1236996" cy="203488"/>
                </a:xfrm>
                <a:custGeom>
                  <a:avLst/>
                  <a:gdLst>
                    <a:gd name="connsiteX0" fmla="*/ 1033488 w 1236996"/>
                    <a:gd name="connsiteY0" fmla="*/ 0 h 203488"/>
                    <a:gd name="connsiteX1" fmla="*/ 203488 w 1236996"/>
                    <a:gd name="connsiteY1" fmla="*/ 0 h 203488"/>
                    <a:gd name="connsiteX2" fmla="*/ 0 w 1236996"/>
                    <a:gd name="connsiteY2" fmla="*/ 203488 h 203488"/>
                    <a:gd name="connsiteX3" fmla="*/ 1236997 w 1236996"/>
                    <a:gd name="connsiteY3" fmla="*/ 203488 h 203488"/>
                    <a:gd name="connsiteX4" fmla="*/ 1033508 w 1236996"/>
                    <a:gd name="connsiteY4" fmla="*/ 0 h 203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6996" h="203488">
                      <a:moveTo>
                        <a:pt x="1033488" y="0"/>
                      </a:moveTo>
                      <a:lnTo>
                        <a:pt x="203488" y="0"/>
                      </a:lnTo>
                      <a:cubicBezTo>
                        <a:pt x="91106" y="0"/>
                        <a:pt x="0" y="91106"/>
                        <a:pt x="0" y="203488"/>
                      </a:cubicBezTo>
                      <a:lnTo>
                        <a:pt x="1236997" y="203488"/>
                      </a:lnTo>
                      <a:cubicBezTo>
                        <a:pt x="1236997" y="91106"/>
                        <a:pt x="1145891" y="0"/>
                        <a:pt x="1033508" y="0"/>
                      </a:cubicBezTo>
                      <a:close/>
                    </a:path>
                  </a:pathLst>
                </a:custGeom>
                <a:solidFill>
                  <a:srgbClr val="2D71BE"/>
                </a:solidFill>
                <a:ln w="878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327" name="Graphic 10">
                  <a:extLst>
                    <a:ext uri="{FF2B5EF4-FFF2-40B4-BE49-F238E27FC236}">
                      <a16:creationId xmlns:a16="http://schemas.microsoft.com/office/drawing/2014/main" id="{8793BC8D-6566-43CF-B774-23BCACF449AE}"/>
                    </a:ext>
                  </a:extLst>
                </p:cNvPr>
                <p:cNvGrpSpPr/>
                <p:nvPr/>
              </p:nvGrpSpPr>
              <p:grpSpPr>
                <a:xfrm>
                  <a:off x="2862190" y="9355661"/>
                  <a:ext cx="894892" cy="224883"/>
                  <a:chOff x="2862190" y="9355661"/>
                  <a:chExt cx="894892" cy="224883"/>
                </a:xfrm>
              </p:grpSpPr>
              <p:sp>
                <p:nvSpPr>
                  <p:cNvPr id="1335" name="Freeform: Shape 1334">
                    <a:extLst>
                      <a:ext uri="{FF2B5EF4-FFF2-40B4-BE49-F238E27FC236}">
                        <a16:creationId xmlns:a16="http://schemas.microsoft.com/office/drawing/2014/main" id="{78986D6F-1484-455F-8F48-018F9B1BBDC7}"/>
                      </a:ext>
                    </a:extLst>
                  </p:cNvPr>
                  <p:cNvSpPr/>
                  <p:nvPr/>
                </p:nvSpPr>
                <p:spPr>
                  <a:xfrm>
                    <a:off x="2862190" y="9355661"/>
                    <a:ext cx="894892" cy="224883"/>
                  </a:xfrm>
                  <a:custGeom>
                    <a:avLst/>
                    <a:gdLst>
                      <a:gd name="connsiteX0" fmla="*/ 782451 w 894892"/>
                      <a:gd name="connsiteY0" fmla="*/ 224883 h 224883"/>
                      <a:gd name="connsiteX1" fmla="*/ 112442 w 894892"/>
                      <a:gd name="connsiteY1" fmla="*/ 224883 h 224883"/>
                      <a:gd name="connsiteX2" fmla="*/ 0 w 894892"/>
                      <a:gd name="connsiteY2" fmla="*/ 112442 h 224883"/>
                      <a:gd name="connsiteX3" fmla="*/ 112442 w 894892"/>
                      <a:gd name="connsiteY3" fmla="*/ 0 h 224883"/>
                      <a:gd name="connsiteX4" fmla="*/ 782451 w 894892"/>
                      <a:gd name="connsiteY4" fmla="*/ 0 h 224883"/>
                      <a:gd name="connsiteX5" fmla="*/ 894893 w 894892"/>
                      <a:gd name="connsiteY5" fmla="*/ 112442 h 224883"/>
                      <a:gd name="connsiteX6" fmla="*/ 782451 w 894892"/>
                      <a:gd name="connsiteY6" fmla="*/ 224883 h 224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892" h="224883">
                        <a:moveTo>
                          <a:pt x="782451" y="224883"/>
                        </a:moveTo>
                        <a:lnTo>
                          <a:pt x="112442" y="224883"/>
                        </a:lnTo>
                        <a:cubicBezTo>
                          <a:pt x="50341" y="224883"/>
                          <a:pt x="0" y="174542"/>
                          <a:pt x="0" y="112442"/>
                        </a:cubicBezTo>
                        <a:cubicBezTo>
                          <a:pt x="0" y="50341"/>
                          <a:pt x="50341" y="0"/>
                          <a:pt x="112442" y="0"/>
                        </a:cubicBezTo>
                        <a:lnTo>
                          <a:pt x="782451" y="0"/>
                        </a:lnTo>
                        <a:cubicBezTo>
                          <a:pt x="844552" y="0"/>
                          <a:pt x="894893" y="50341"/>
                          <a:pt x="894893" y="112442"/>
                        </a:cubicBezTo>
                        <a:cubicBezTo>
                          <a:pt x="894893" y="174542"/>
                          <a:pt x="844552" y="224883"/>
                          <a:pt x="782451" y="224883"/>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36" name="Freeform: Shape 1335">
                    <a:extLst>
                      <a:ext uri="{FF2B5EF4-FFF2-40B4-BE49-F238E27FC236}">
                        <a16:creationId xmlns:a16="http://schemas.microsoft.com/office/drawing/2014/main" id="{069519F1-29F9-4462-A9AF-A997DB04E526}"/>
                      </a:ext>
                    </a:extLst>
                  </p:cNvPr>
                  <p:cNvSpPr/>
                  <p:nvPr/>
                </p:nvSpPr>
                <p:spPr>
                  <a:xfrm>
                    <a:off x="2915500" y="9405216"/>
                    <a:ext cx="788252" cy="125813"/>
                  </a:xfrm>
                  <a:custGeom>
                    <a:avLst/>
                    <a:gdLst>
                      <a:gd name="connsiteX0" fmla="*/ 725345 w 788252"/>
                      <a:gd name="connsiteY0" fmla="*/ 0 h 125813"/>
                      <a:gd name="connsiteX1" fmla="*/ 662439 w 788252"/>
                      <a:gd name="connsiteY1" fmla="*/ 62907 h 125813"/>
                      <a:gd name="connsiteX2" fmla="*/ 725345 w 788252"/>
                      <a:gd name="connsiteY2" fmla="*/ 125814 h 125813"/>
                      <a:gd name="connsiteX3" fmla="*/ 788252 w 788252"/>
                      <a:gd name="connsiteY3" fmla="*/ 62907 h 125813"/>
                      <a:gd name="connsiteX4" fmla="*/ 725345 w 788252"/>
                      <a:gd name="connsiteY4" fmla="*/ 0 h 125813"/>
                      <a:gd name="connsiteX5" fmla="*/ 62907 w 788252"/>
                      <a:gd name="connsiteY5" fmla="*/ 0 h 125813"/>
                      <a:gd name="connsiteX6" fmla="*/ 0 w 788252"/>
                      <a:gd name="connsiteY6" fmla="*/ 62907 h 125813"/>
                      <a:gd name="connsiteX7" fmla="*/ 62907 w 788252"/>
                      <a:gd name="connsiteY7" fmla="*/ 125814 h 125813"/>
                      <a:gd name="connsiteX8" fmla="*/ 125814 w 788252"/>
                      <a:gd name="connsiteY8" fmla="*/ 62907 h 125813"/>
                      <a:gd name="connsiteX9" fmla="*/ 62907 w 788252"/>
                      <a:gd name="connsiteY9" fmla="*/ 0 h 12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8252" h="125813">
                        <a:moveTo>
                          <a:pt x="725345" y="0"/>
                        </a:moveTo>
                        <a:cubicBezTo>
                          <a:pt x="690598" y="0"/>
                          <a:pt x="662439" y="28160"/>
                          <a:pt x="662439" y="62907"/>
                        </a:cubicBezTo>
                        <a:cubicBezTo>
                          <a:pt x="662439" y="97654"/>
                          <a:pt x="690598" y="125814"/>
                          <a:pt x="725345" y="125814"/>
                        </a:cubicBezTo>
                        <a:cubicBezTo>
                          <a:pt x="760093" y="125814"/>
                          <a:pt x="788252" y="97654"/>
                          <a:pt x="788252" y="62907"/>
                        </a:cubicBezTo>
                        <a:cubicBezTo>
                          <a:pt x="788252" y="28160"/>
                          <a:pt x="760093" y="0"/>
                          <a:pt x="725345" y="0"/>
                        </a:cubicBezTo>
                        <a:close/>
                        <a:moveTo>
                          <a:pt x="62907" y="0"/>
                        </a:moveTo>
                        <a:cubicBezTo>
                          <a:pt x="28159" y="0"/>
                          <a:pt x="0" y="28160"/>
                          <a:pt x="0" y="62907"/>
                        </a:cubicBezTo>
                        <a:cubicBezTo>
                          <a:pt x="0" y="97654"/>
                          <a:pt x="28159" y="125814"/>
                          <a:pt x="62907" y="125814"/>
                        </a:cubicBezTo>
                        <a:cubicBezTo>
                          <a:pt x="97654" y="125814"/>
                          <a:pt x="125814" y="97654"/>
                          <a:pt x="125814" y="62907"/>
                        </a:cubicBezTo>
                        <a:cubicBezTo>
                          <a:pt x="125814" y="28160"/>
                          <a:pt x="97654" y="0"/>
                          <a:pt x="62907" y="0"/>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328" name="Graphic 10">
                  <a:extLst>
                    <a:ext uri="{FF2B5EF4-FFF2-40B4-BE49-F238E27FC236}">
                      <a16:creationId xmlns:a16="http://schemas.microsoft.com/office/drawing/2014/main" id="{2EAEC77F-8958-48E7-B8FE-AB199F1779C9}"/>
                    </a:ext>
                  </a:extLst>
                </p:cNvPr>
                <p:cNvGrpSpPr/>
                <p:nvPr/>
              </p:nvGrpSpPr>
              <p:grpSpPr>
                <a:xfrm>
                  <a:off x="2835682" y="9312104"/>
                  <a:ext cx="300827" cy="924861"/>
                  <a:chOff x="2835682" y="9312104"/>
                  <a:chExt cx="300827" cy="924861"/>
                </a:xfrm>
              </p:grpSpPr>
              <p:sp>
                <p:nvSpPr>
                  <p:cNvPr id="1333" name="Freeform: Shape 1332">
                    <a:extLst>
                      <a:ext uri="{FF2B5EF4-FFF2-40B4-BE49-F238E27FC236}">
                        <a16:creationId xmlns:a16="http://schemas.microsoft.com/office/drawing/2014/main" id="{0F8ECF73-780A-451E-B035-138F14D0B46E}"/>
                      </a:ext>
                    </a:extLst>
                  </p:cNvPr>
                  <p:cNvSpPr/>
                  <p:nvPr/>
                </p:nvSpPr>
                <p:spPr>
                  <a:xfrm>
                    <a:off x="2835682" y="9312104"/>
                    <a:ext cx="300827" cy="924861"/>
                  </a:xfrm>
                  <a:custGeom>
                    <a:avLst/>
                    <a:gdLst>
                      <a:gd name="connsiteX0" fmla="*/ 300828 w 300827"/>
                      <a:gd name="connsiteY0" fmla="*/ 774448 h 924861"/>
                      <a:gd name="connsiteX1" fmla="*/ 300828 w 300827"/>
                      <a:gd name="connsiteY1" fmla="*/ 150414 h 924861"/>
                      <a:gd name="connsiteX2" fmla="*/ 150414 w 300827"/>
                      <a:gd name="connsiteY2" fmla="*/ 0 h 924861"/>
                      <a:gd name="connsiteX3" fmla="*/ 0 w 300827"/>
                      <a:gd name="connsiteY3" fmla="*/ 150414 h 924861"/>
                      <a:gd name="connsiteX4" fmla="*/ 0 w 300827"/>
                      <a:gd name="connsiteY4" fmla="*/ 774448 h 924861"/>
                      <a:gd name="connsiteX5" fmla="*/ 150414 w 300827"/>
                      <a:gd name="connsiteY5" fmla="*/ 924861 h 924861"/>
                      <a:gd name="connsiteX6" fmla="*/ 300828 w 300827"/>
                      <a:gd name="connsiteY6" fmla="*/ 774448 h 92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827" h="924861">
                        <a:moveTo>
                          <a:pt x="300828" y="774448"/>
                        </a:moveTo>
                        <a:lnTo>
                          <a:pt x="300828" y="150414"/>
                        </a:lnTo>
                        <a:cubicBezTo>
                          <a:pt x="300828" y="67351"/>
                          <a:pt x="233496" y="0"/>
                          <a:pt x="150414" y="0"/>
                        </a:cubicBezTo>
                        <a:cubicBezTo>
                          <a:pt x="67331" y="0"/>
                          <a:pt x="0" y="67331"/>
                          <a:pt x="0" y="150414"/>
                        </a:cubicBezTo>
                        <a:lnTo>
                          <a:pt x="0" y="774448"/>
                        </a:lnTo>
                        <a:cubicBezTo>
                          <a:pt x="0" y="857510"/>
                          <a:pt x="67331" y="924861"/>
                          <a:pt x="150414" y="924861"/>
                        </a:cubicBezTo>
                        <a:cubicBezTo>
                          <a:pt x="233496" y="924861"/>
                          <a:pt x="300828" y="857530"/>
                          <a:pt x="300828" y="774448"/>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34" name="Freeform: Shape 1333">
                    <a:extLst>
                      <a:ext uri="{FF2B5EF4-FFF2-40B4-BE49-F238E27FC236}">
                        <a16:creationId xmlns:a16="http://schemas.microsoft.com/office/drawing/2014/main" id="{6C0BD40B-6BD0-4405-92D5-FE9C8BDCD9D6}"/>
                      </a:ext>
                    </a:extLst>
                  </p:cNvPr>
                  <p:cNvSpPr/>
                  <p:nvPr/>
                </p:nvSpPr>
                <p:spPr>
                  <a:xfrm>
                    <a:off x="2901951" y="9383427"/>
                    <a:ext cx="168289" cy="782195"/>
                  </a:xfrm>
                  <a:custGeom>
                    <a:avLst/>
                    <a:gdLst>
                      <a:gd name="connsiteX0" fmla="*/ 84145 w 168289"/>
                      <a:gd name="connsiteY0" fmla="*/ 782195 h 782195"/>
                      <a:gd name="connsiteX1" fmla="*/ 168289 w 168289"/>
                      <a:gd name="connsiteY1" fmla="*/ 698051 h 782195"/>
                      <a:gd name="connsiteX2" fmla="*/ 84145 w 168289"/>
                      <a:gd name="connsiteY2" fmla="*/ 613906 h 782195"/>
                      <a:gd name="connsiteX3" fmla="*/ 0 w 168289"/>
                      <a:gd name="connsiteY3" fmla="*/ 698051 h 782195"/>
                      <a:gd name="connsiteX4" fmla="*/ 84145 w 168289"/>
                      <a:gd name="connsiteY4" fmla="*/ 782195 h 782195"/>
                      <a:gd name="connsiteX5" fmla="*/ 84145 w 168289"/>
                      <a:gd name="connsiteY5" fmla="*/ 168289 h 782195"/>
                      <a:gd name="connsiteX6" fmla="*/ 168289 w 168289"/>
                      <a:gd name="connsiteY6" fmla="*/ 84144 h 782195"/>
                      <a:gd name="connsiteX7" fmla="*/ 84145 w 168289"/>
                      <a:gd name="connsiteY7" fmla="*/ 0 h 782195"/>
                      <a:gd name="connsiteX8" fmla="*/ 0 w 168289"/>
                      <a:gd name="connsiteY8" fmla="*/ 84144 h 782195"/>
                      <a:gd name="connsiteX9" fmla="*/ 84145 w 168289"/>
                      <a:gd name="connsiteY9" fmla="*/ 168289 h 78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289" h="782195">
                        <a:moveTo>
                          <a:pt x="84145" y="782195"/>
                        </a:moveTo>
                        <a:cubicBezTo>
                          <a:pt x="130612" y="782195"/>
                          <a:pt x="168289" y="744518"/>
                          <a:pt x="168289" y="698051"/>
                        </a:cubicBezTo>
                        <a:cubicBezTo>
                          <a:pt x="168289" y="651584"/>
                          <a:pt x="130612" y="613906"/>
                          <a:pt x="84145" y="613906"/>
                        </a:cubicBezTo>
                        <a:cubicBezTo>
                          <a:pt x="37677" y="613906"/>
                          <a:pt x="0" y="651584"/>
                          <a:pt x="0" y="698051"/>
                        </a:cubicBezTo>
                        <a:cubicBezTo>
                          <a:pt x="0" y="744518"/>
                          <a:pt x="37677" y="782195"/>
                          <a:pt x="84145" y="782195"/>
                        </a:cubicBezTo>
                        <a:close/>
                        <a:moveTo>
                          <a:pt x="84145" y="168289"/>
                        </a:moveTo>
                        <a:cubicBezTo>
                          <a:pt x="130612" y="168289"/>
                          <a:pt x="168289" y="130612"/>
                          <a:pt x="168289" y="84144"/>
                        </a:cubicBezTo>
                        <a:cubicBezTo>
                          <a:pt x="168289" y="37677"/>
                          <a:pt x="130612" y="0"/>
                          <a:pt x="84145" y="0"/>
                        </a:cubicBezTo>
                        <a:cubicBezTo>
                          <a:pt x="37677" y="0"/>
                          <a:pt x="0" y="37677"/>
                          <a:pt x="0" y="84144"/>
                        </a:cubicBezTo>
                        <a:cubicBezTo>
                          <a:pt x="0" y="130612"/>
                          <a:pt x="37677" y="168289"/>
                          <a:pt x="84145" y="168289"/>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329" name="Freeform: Shape 1328">
                  <a:extLst>
                    <a:ext uri="{FF2B5EF4-FFF2-40B4-BE49-F238E27FC236}">
                      <a16:creationId xmlns:a16="http://schemas.microsoft.com/office/drawing/2014/main" id="{FE421637-07A1-4C20-8C92-E39E445CB5D0}"/>
                    </a:ext>
                  </a:extLst>
                </p:cNvPr>
                <p:cNvSpPr/>
                <p:nvPr/>
              </p:nvSpPr>
              <p:spPr>
                <a:xfrm>
                  <a:off x="3136509" y="9629647"/>
                  <a:ext cx="321947" cy="43438"/>
                </a:xfrm>
                <a:custGeom>
                  <a:avLst/>
                  <a:gdLst>
                    <a:gd name="connsiteX0" fmla="*/ 0 w 321947"/>
                    <a:gd name="connsiteY0" fmla="*/ 0 h 43438"/>
                    <a:gd name="connsiteX1" fmla="*/ 321947 w 321947"/>
                    <a:gd name="connsiteY1" fmla="*/ 0 h 43438"/>
                    <a:gd name="connsiteX2" fmla="*/ 321947 w 321947"/>
                    <a:gd name="connsiteY2" fmla="*/ 43439 h 43438"/>
                    <a:gd name="connsiteX3" fmla="*/ 0 w 321947"/>
                    <a:gd name="connsiteY3" fmla="*/ 43439 h 43438"/>
                  </a:gdLst>
                  <a:ahLst/>
                  <a:cxnLst>
                    <a:cxn ang="0">
                      <a:pos x="connsiteX0" y="connsiteY0"/>
                    </a:cxn>
                    <a:cxn ang="0">
                      <a:pos x="connsiteX1" y="connsiteY1"/>
                    </a:cxn>
                    <a:cxn ang="0">
                      <a:pos x="connsiteX2" y="connsiteY2"/>
                    </a:cxn>
                    <a:cxn ang="0">
                      <a:pos x="connsiteX3" y="connsiteY3"/>
                    </a:cxn>
                  </a:cxnLst>
                  <a:rect l="l" t="t" r="r" b="b"/>
                  <a:pathLst>
                    <a:path w="321947" h="43438">
                      <a:moveTo>
                        <a:pt x="0" y="0"/>
                      </a:moveTo>
                      <a:lnTo>
                        <a:pt x="321947" y="0"/>
                      </a:lnTo>
                      <a:lnTo>
                        <a:pt x="321947" y="43439"/>
                      </a:lnTo>
                      <a:lnTo>
                        <a:pt x="0" y="43439"/>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30" name="Freeform: Shape 1329">
                  <a:extLst>
                    <a:ext uri="{FF2B5EF4-FFF2-40B4-BE49-F238E27FC236}">
                      <a16:creationId xmlns:a16="http://schemas.microsoft.com/office/drawing/2014/main" id="{6D701C04-E3E1-44AE-8A57-66A9D7AB0360}"/>
                    </a:ext>
                  </a:extLst>
                </p:cNvPr>
                <p:cNvSpPr/>
                <p:nvPr/>
              </p:nvSpPr>
              <p:spPr>
                <a:xfrm>
                  <a:off x="3436742" y="9446408"/>
                  <a:ext cx="225817" cy="225812"/>
                </a:xfrm>
                <a:custGeom>
                  <a:avLst/>
                  <a:gdLst>
                    <a:gd name="connsiteX0" fmla="*/ 21715 w 225817"/>
                    <a:gd name="connsiteY0" fmla="*/ 225812 h 225812"/>
                    <a:gd name="connsiteX1" fmla="*/ 37073 w 225817"/>
                    <a:gd name="connsiteY1" fmla="*/ 219461 h 225812"/>
                    <a:gd name="connsiteX2" fmla="*/ 219461 w 225817"/>
                    <a:gd name="connsiteY2" fmla="*/ 37073 h 225812"/>
                    <a:gd name="connsiteX3" fmla="*/ 219461 w 225817"/>
                    <a:gd name="connsiteY3" fmla="*/ 6357 h 225812"/>
                    <a:gd name="connsiteX4" fmla="*/ 188745 w 225817"/>
                    <a:gd name="connsiteY4" fmla="*/ 6357 h 225812"/>
                    <a:gd name="connsiteX5" fmla="*/ 6357 w 225817"/>
                    <a:gd name="connsiteY5" fmla="*/ 188745 h 225812"/>
                    <a:gd name="connsiteX6" fmla="*/ 6357 w 225817"/>
                    <a:gd name="connsiteY6" fmla="*/ 219461 h 225812"/>
                    <a:gd name="connsiteX7" fmla="*/ 21715 w 225817"/>
                    <a:gd name="connsiteY7" fmla="*/ 225812 h 22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5817" h="225812">
                      <a:moveTo>
                        <a:pt x="21715" y="225812"/>
                      </a:moveTo>
                      <a:cubicBezTo>
                        <a:pt x="27280" y="225812"/>
                        <a:pt x="32825" y="223689"/>
                        <a:pt x="37073" y="219461"/>
                      </a:cubicBezTo>
                      <a:lnTo>
                        <a:pt x="219461" y="37073"/>
                      </a:lnTo>
                      <a:cubicBezTo>
                        <a:pt x="227936" y="28597"/>
                        <a:pt x="227936" y="14832"/>
                        <a:pt x="219461" y="6357"/>
                      </a:cubicBezTo>
                      <a:cubicBezTo>
                        <a:pt x="210966" y="-2119"/>
                        <a:pt x="197220" y="-2119"/>
                        <a:pt x="188745" y="6357"/>
                      </a:cubicBezTo>
                      <a:lnTo>
                        <a:pt x="6357" y="188745"/>
                      </a:lnTo>
                      <a:cubicBezTo>
                        <a:pt x="-2119" y="197220"/>
                        <a:pt x="-2119" y="210985"/>
                        <a:pt x="6357" y="219461"/>
                      </a:cubicBezTo>
                      <a:cubicBezTo>
                        <a:pt x="10604" y="223708"/>
                        <a:pt x="16150" y="225812"/>
                        <a:pt x="21715" y="225812"/>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31" name="Freeform: Shape 1330">
                  <a:extLst>
                    <a:ext uri="{FF2B5EF4-FFF2-40B4-BE49-F238E27FC236}">
                      <a16:creationId xmlns:a16="http://schemas.microsoft.com/office/drawing/2014/main" id="{1C2CD4F5-E737-4A75-AE66-C6AAD8F99A64}"/>
                    </a:ext>
                  </a:extLst>
                </p:cNvPr>
                <p:cNvSpPr/>
                <p:nvPr/>
              </p:nvSpPr>
              <p:spPr>
                <a:xfrm>
                  <a:off x="3444790" y="9637670"/>
                  <a:ext cx="27372" cy="27373"/>
                </a:xfrm>
                <a:custGeom>
                  <a:avLst/>
                  <a:gdLst>
                    <a:gd name="connsiteX0" fmla="*/ 0 w 27372"/>
                    <a:gd name="connsiteY0" fmla="*/ 13686 h 27373"/>
                    <a:gd name="connsiteX1" fmla="*/ 13686 w 27372"/>
                    <a:gd name="connsiteY1" fmla="*/ 27373 h 27373"/>
                    <a:gd name="connsiteX2" fmla="*/ 27373 w 27372"/>
                    <a:gd name="connsiteY2" fmla="*/ 13686 h 27373"/>
                    <a:gd name="connsiteX3" fmla="*/ 13686 w 27372"/>
                    <a:gd name="connsiteY3" fmla="*/ 0 h 27373"/>
                    <a:gd name="connsiteX4" fmla="*/ 0 w 27372"/>
                    <a:gd name="connsiteY4" fmla="*/ 13686 h 273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72" h="27373">
                      <a:moveTo>
                        <a:pt x="0" y="13686"/>
                      </a:moveTo>
                      <a:cubicBezTo>
                        <a:pt x="0" y="21238"/>
                        <a:pt x="6135" y="27373"/>
                        <a:pt x="13686" y="27373"/>
                      </a:cubicBezTo>
                      <a:cubicBezTo>
                        <a:pt x="21238" y="27373"/>
                        <a:pt x="27373" y="21238"/>
                        <a:pt x="27373" y="13686"/>
                      </a:cubicBezTo>
                      <a:cubicBezTo>
                        <a:pt x="27373" y="6135"/>
                        <a:pt x="21238" y="0"/>
                        <a:pt x="13686" y="0"/>
                      </a:cubicBezTo>
                      <a:cubicBezTo>
                        <a:pt x="6135" y="0"/>
                        <a:pt x="0" y="6135"/>
                        <a:pt x="0" y="13686"/>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32" name="Freeform: Shape 1331">
                  <a:extLst>
                    <a:ext uri="{FF2B5EF4-FFF2-40B4-BE49-F238E27FC236}">
                      <a16:creationId xmlns:a16="http://schemas.microsoft.com/office/drawing/2014/main" id="{66DAF226-4A85-423F-B020-C15538234C47}"/>
                    </a:ext>
                  </a:extLst>
                </p:cNvPr>
                <p:cNvSpPr/>
                <p:nvPr/>
              </p:nvSpPr>
              <p:spPr>
                <a:xfrm>
                  <a:off x="3627965" y="9454495"/>
                  <a:ext cx="27372" cy="27372"/>
                </a:xfrm>
                <a:custGeom>
                  <a:avLst/>
                  <a:gdLst>
                    <a:gd name="connsiteX0" fmla="*/ 0 w 27372"/>
                    <a:gd name="connsiteY0" fmla="*/ 13686 h 27372"/>
                    <a:gd name="connsiteX1" fmla="*/ 13686 w 27372"/>
                    <a:gd name="connsiteY1" fmla="*/ 27373 h 27372"/>
                    <a:gd name="connsiteX2" fmla="*/ 27373 w 27372"/>
                    <a:gd name="connsiteY2" fmla="*/ 13686 h 27372"/>
                    <a:gd name="connsiteX3" fmla="*/ 13686 w 27372"/>
                    <a:gd name="connsiteY3" fmla="*/ 0 h 27372"/>
                    <a:gd name="connsiteX4" fmla="*/ 0 w 27372"/>
                    <a:gd name="connsiteY4" fmla="*/ 13686 h 27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72" h="27372">
                      <a:moveTo>
                        <a:pt x="0" y="13686"/>
                      </a:moveTo>
                      <a:cubicBezTo>
                        <a:pt x="0" y="21238"/>
                        <a:pt x="6135" y="27373"/>
                        <a:pt x="13686" y="27373"/>
                      </a:cubicBezTo>
                      <a:cubicBezTo>
                        <a:pt x="21238" y="27373"/>
                        <a:pt x="27373" y="21238"/>
                        <a:pt x="27373" y="13686"/>
                      </a:cubicBezTo>
                      <a:cubicBezTo>
                        <a:pt x="27373" y="6135"/>
                        <a:pt x="21238" y="0"/>
                        <a:pt x="13686" y="0"/>
                      </a:cubicBezTo>
                      <a:cubicBezTo>
                        <a:pt x="6135" y="0"/>
                        <a:pt x="0" y="6135"/>
                        <a:pt x="0" y="13686"/>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794" name="Graphic 10">
                <a:extLst>
                  <a:ext uri="{FF2B5EF4-FFF2-40B4-BE49-F238E27FC236}">
                    <a16:creationId xmlns:a16="http://schemas.microsoft.com/office/drawing/2014/main" id="{AEE0B9CA-1467-49FE-8CEB-CFE2A43A6526}"/>
                  </a:ext>
                </a:extLst>
              </p:cNvPr>
              <p:cNvGrpSpPr/>
              <p:nvPr/>
            </p:nvGrpSpPr>
            <p:grpSpPr>
              <a:xfrm>
                <a:off x="7963814" y="8758135"/>
                <a:ext cx="925785" cy="1312193"/>
                <a:chOff x="7963814" y="8758135"/>
                <a:chExt cx="925785" cy="1312193"/>
              </a:xfrm>
            </p:grpSpPr>
            <p:grpSp>
              <p:nvGrpSpPr>
                <p:cNvPr id="1285" name="Graphic 10">
                  <a:extLst>
                    <a:ext uri="{FF2B5EF4-FFF2-40B4-BE49-F238E27FC236}">
                      <a16:creationId xmlns:a16="http://schemas.microsoft.com/office/drawing/2014/main" id="{1082F0F0-A8E8-45A9-8C94-C6375C025858}"/>
                    </a:ext>
                  </a:extLst>
                </p:cNvPr>
                <p:cNvGrpSpPr/>
                <p:nvPr/>
              </p:nvGrpSpPr>
              <p:grpSpPr>
                <a:xfrm>
                  <a:off x="7963814" y="9837347"/>
                  <a:ext cx="232991" cy="232981"/>
                  <a:chOff x="7963814" y="9837347"/>
                  <a:chExt cx="232991" cy="232981"/>
                </a:xfrm>
              </p:grpSpPr>
              <p:sp>
                <p:nvSpPr>
                  <p:cNvPr id="1314" name="Freeform: Shape 1313">
                    <a:extLst>
                      <a:ext uri="{FF2B5EF4-FFF2-40B4-BE49-F238E27FC236}">
                        <a16:creationId xmlns:a16="http://schemas.microsoft.com/office/drawing/2014/main" id="{FD5920CF-B7AA-46D2-85D4-CC3CBE645FAF}"/>
                      </a:ext>
                    </a:extLst>
                  </p:cNvPr>
                  <p:cNvSpPr/>
                  <p:nvPr/>
                </p:nvSpPr>
                <p:spPr>
                  <a:xfrm rot="2700000">
                    <a:off x="8055358" y="9946576"/>
                    <a:ext cx="19546" cy="44953"/>
                  </a:xfrm>
                  <a:custGeom>
                    <a:avLst/>
                    <a:gdLst>
                      <a:gd name="connsiteX0" fmla="*/ 0 w 19546"/>
                      <a:gd name="connsiteY0" fmla="*/ 0 h 44953"/>
                      <a:gd name="connsiteX1" fmla="*/ 19547 w 19546"/>
                      <a:gd name="connsiteY1" fmla="*/ 0 h 44953"/>
                      <a:gd name="connsiteX2" fmla="*/ 19547 w 19546"/>
                      <a:gd name="connsiteY2" fmla="*/ 44953 h 44953"/>
                      <a:gd name="connsiteX3" fmla="*/ 0 w 19546"/>
                      <a:gd name="connsiteY3" fmla="*/ 44953 h 44953"/>
                    </a:gdLst>
                    <a:ahLst/>
                    <a:cxnLst>
                      <a:cxn ang="0">
                        <a:pos x="connsiteX0" y="connsiteY0"/>
                      </a:cxn>
                      <a:cxn ang="0">
                        <a:pos x="connsiteX1" y="connsiteY1"/>
                      </a:cxn>
                      <a:cxn ang="0">
                        <a:pos x="connsiteX2" y="connsiteY2"/>
                      </a:cxn>
                      <a:cxn ang="0">
                        <a:pos x="connsiteX3" y="connsiteY3"/>
                      </a:cxn>
                    </a:cxnLst>
                    <a:rect l="l" t="t" r="r" b="b"/>
                    <a:pathLst>
                      <a:path w="19546" h="44953">
                        <a:moveTo>
                          <a:pt x="0" y="0"/>
                        </a:moveTo>
                        <a:lnTo>
                          <a:pt x="19547" y="0"/>
                        </a:lnTo>
                        <a:lnTo>
                          <a:pt x="19547" y="44953"/>
                        </a:lnTo>
                        <a:lnTo>
                          <a:pt x="0" y="44953"/>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15" name="Freeform: Shape 1314">
                    <a:extLst>
                      <a:ext uri="{FF2B5EF4-FFF2-40B4-BE49-F238E27FC236}">
                        <a16:creationId xmlns:a16="http://schemas.microsoft.com/office/drawing/2014/main" id="{0A65CE03-EACD-4DCD-80EF-EC91A38C62B2}"/>
                      </a:ext>
                    </a:extLst>
                  </p:cNvPr>
                  <p:cNvSpPr/>
                  <p:nvPr/>
                </p:nvSpPr>
                <p:spPr>
                  <a:xfrm rot="2700000">
                    <a:off x="8141438" y="9828235"/>
                    <a:ext cx="19546" cy="109413"/>
                  </a:xfrm>
                  <a:custGeom>
                    <a:avLst/>
                    <a:gdLst>
                      <a:gd name="connsiteX0" fmla="*/ 0 w 19546"/>
                      <a:gd name="connsiteY0" fmla="*/ 0 h 109413"/>
                      <a:gd name="connsiteX1" fmla="*/ 19546 w 19546"/>
                      <a:gd name="connsiteY1" fmla="*/ 0 h 109413"/>
                      <a:gd name="connsiteX2" fmla="*/ 19546 w 19546"/>
                      <a:gd name="connsiteY2" fmla="*/ 109413 h 109413"/>
                      <a:gd name="connsiteX3" fmla="*/ 0 w 19546"/>
                      <a:gd name="connsiteY3" fmla="*/ 109413 h 109413"/>
                    </a:gdLst>
                    <a:ahLst/>
                    <a:cxnLst>
                      <a:cxn ang="0">
                        <a:pos x="connsiteX0" y="connsiteY0"/>
                      </a:cxn>
                      <a:cxn ang="0">
                        <a:pos x="connsiteX1" y="connsiteY1"/>
                      </a:cxn>
                      <a:cxn ang="0">
                        <a:pos x="connsiteX2" y="connsiteY2"/>
                      </a:cxn>
                      <a:cxn ang="0">
                        <a:pos x="connsiteX3" y="connsiteY3"/>
                      </a:cxn>
                    </a:cxnLst>
                    <a:rect l="l" t="t" r="r" b="b"/>
                    <a:pathLst>
                      <a:path w="19546" h="109413">
                        <a:moveTo>
                          <a:pt x="0" y="0"/>
                        </a:moveTo>
                        <a:lnTo>
                          <a:pt x="19546" y="0"/>
                        </a:lnTo>
                        <a:lnTo>
                          <a:pt x="19546" y="109413"/>
                        </a:lnTo>
                        <a:lnTo>
                          <a:pt x="0" y="109413"/>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16" name="Freeform: Shape 1315">
                    <a:extLst>
                      <a:ext uri="{FF2B5EF4-FFF2-40B4-BE49-F238E27FC236}">
                        <a16:creationId xmlns:a16="http://schemas.microsoft.com/office/drawing/2014/main" id="{254EC3D7-8561-490D-9644-8883C58C5D1B}"/>
                      </a:ext>
                    </a:extLst>
                  </p:cNvPr>
                  <p:cNvSpPr/>
                  <p:nvPr/>
                </p:nvSpPr>
                <p:spPr>
                  <a:xfrm>
                    <a:off x="7963814" y="10032848"/>
                    <a:ext cx="37480" cy="37480"/>
                  </a:xfrm>
                  <a:custGeom>
                    <a:avLst/>
                    <a:gdLst>
                      <a:gd name="connsiteX0" fmla="*/ 37480 w 37480"/>
                      <a:gd name="connsiteY0" fmla="*/ 6470 h 37480"/>
                      <a:gd name="connsiteX1" fmla="*/ 15908 w 37480"/>
                      <a:gd name="connsiteY1" fmla="*/ 28042 h 37480"/>
                      <a:gd name="connsiteX2" fmla="*/ 0 w 37480"/>
                      <a:gd name="connsiteY2" fmla="*/ 37481 h 37480"/>
                      <a:gd name="connsiteX3" fmla="*/ 9439 w 37480"/>
                      <a:gd name="connsiteY3" fmla="*/ 21572 h 37480"/>
                      <a:gd name="connsiteX4" fmla="*/ 31011 w 37480"/>
                      <a:gd name="connsiteY4" fmla="*/ 0 h 37480"/>
                      <a:gd name="connsiteX5" fmla="*/ 37480 w 37480"/>
                      <a:gd name="connsiteY5" fmla="*/ 6470 h 3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480" h="37480">
                        <a:moveTo>
                          <a:pt x="37480" y="6470"/>
                        </a:moveTo>
                        <a:lnTo>
                          <a:pt x="15908" y="28042"/>
                        </a:lnTo>
                        <a:cubicBezTo>
                          <a:pt x="11484" y="32466"/>
                          <a:pt x="6017" y="35711"/>
                          <a:pt x="0" y="37481"/>
                        </a:cubicBezTo>
                        <a:cubicBezTo>
                          <a:pt x="1770" y="31463"/>
                          <a:pt x="5014" y="25997"/>
                          <a:pt x="9439" y="21572"/>
                        </a:cubicBezTo>
                        <a:lnTo>
                          <a:pt x="31011" y="0"/>
                        </a:lnTo>
                        <a:lnTo>
                          <a:pt x="37480" y="6470"/>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17" name="Freeform: Shape 1316">
                    <a:extLst>
                      <a:ext uri="{FF2B5EF4-FFF2-40B4-BE49-F238E27FC236}">
                        <a16:creationId xmlns:a16="http://schemas.microsoft.com/office/drawing/2014/main" id="{229653C8-AD34-44C8-9858-289E9B7A5B97}"/>
                      </a:ext>
                    </a:extLst>
                  </p:cNvPr>
                  <p:cNvSpPr/>
                  <p:nvPr/>
                </p:nvSpPr>
                <p:spPr>
                  <a:xfrm>
                    <a:off x="7990017" y="9992673"/>
                    <a:ext cx="51472" cy="51471"/>
                  </a:xfrm>
                  <a:custGeom>
                    <a:avLst/>
                    <a:gdLst>
                      <a:gd name="connsiteX0" fmla="*/ 2861 w 51472"/>
                      <a:gd name="connsiteY0" fmla="*/ 48611 h 51471"/>
                      <a:gd name="connsiteX1" fmla="*/ 2861 w 51472"/>
                      <a:gd name="connsiteY1" fmla="*/ 34787 h 51471"/>
                      <a:gd name="connsiteX2" fmla="*/ 37648 w 51472"/>
                      <a:gd name="connsiteY2" fmla="*/ 0 h 51471"/>
                      <a:gd name="connsiteX3" fmla="*/ 51472 w 51472"/>
                      <a:gd name="connsiteY3" fmla="*/ 13824 h 51471"/>
                      <a:gd name="connsiteX4" fmla="*/ 16685 w 51472"/>
                      <a:gd name="connsiteY4" fmla="*/ 48611 h 51471"/>
                      <a:gd name="connsiteX5" fmla="*/ 2861 w 51472"/>
                      <a:gd name="connsiteY5" fmla="*/ 48611 h 51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472" h="51471">
                        <a:moveTo>
                          <a:pt x="2861" y="48611"/>
                        </a:moveTo>
                        <a:cubicBezTo>
                          <a:pt x="-954" y="44796"/>
                          <a:pt x="-954" y="38601"/>
                          <a:pt x="2861" y="34787"/>
                        </a:cubicBezTo>
                        <a:lnTo>
                          <a:pt x="37648" y="0"/>
                        </a:lnTo>
                        <a:lnTo>
                          <a:pt x="51472" y="13824"/>
                        </a:lnTo>
                        <a:lnTo>
                          <a:pt x="16685" y="48611"/>
                        </a:lnTo>
                        <a:cubicBezTo>
                          <a:pt x="12870" y="52426"/>
                          <a:pt x="6676" y="52426"/>
                          <a:pt x="2861" y="48611"/>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18" name="Freeform: Shape 1317">
                    <a:extLst>
                      <a:ext uri="{FF2B5EF4-FFF2-40B4-BE49-F238E27FC236}">
                        <a16:creationId xmlns:a16="http://schemas.microsoft.com/office/drawing/2014/main" id="{DA29292F-B4DC-441A-9B6B-43179CE6EC00}"/>
                      </a:ext>
                    </a:extLst>
                  </p:cNvPr>
                  <p:cNvSpPr/>
                  <p:nvPr/>
                </p:nvSpPr>
                <p:spPr>
                  <a:xfrm rot="8100000">
                    <a:off x="8067297" y="9921687"/>
                    <a:ext cx="14335" cy="76042"/>
                  </a:xfrm>
                  <a:custGeom>
                    <a:avLst/>
                    <a:gdLst>
                      <a:gd name="connsiteX0" fmla="*/ 0 w 14335"/>
                      <a:gd name="connsiteY0" fmla="*/ 0 h 76042"/>
                      <a:gd name="connsiteX1" fmla="*/ 14336 w 14335"/>
                      <a:gd name="connsiteY1" fmla="*/ 0 h 76042"/>
                      <a:gd name="connsiteX2" fmla="*/ 14336 w 14335"/>
                      <a:gd name="connsiteY2" fmla="*/ 76043 h 76042"/>
                      <a:gd name="connsiteX3" fmla="*/ 0 w 14335"/>
                      <a:gd name="connsiteY3" fmla="*/ 76043 h 76042"/>
                    </a:gdLst>
                    <a:ahLst/>
                    <a:cxnLst>
                      <a:cxn ang="0">
                        <a:pos x="connsiteX0" y="connsiteY0"/>
                      </a:cxn>
                      <a:cxn ang="0">
                        <a:pos x="connsiteX1" y="connsiteY1"/>
                      </a:cxn>
                      <a:cxn ang="0">
                        <a:pos x="connsiteX2" y="connsiteY2"/>
                      </a:cxn>
                      <a:cxn ang="0">
                        <a:pos x="connsiteX3" y="connsiteY3"/>
                      </a:cxn>
                    </a:cxnLst>
                    <a:rect l="l" t="t" r="r" b="b"/>
                    <a:pathLst>
                      <a:path w="14335" h="76042">
                        <a:moveTo>
                          <a:pt x="0" y="0"/>
                        </a:moveTo>
                        <a:lnTo>
                          <a:pt x="14336" y="0"/>
                        </a:lnTo>
                        <a:lnTo>
                          <a:pt x="14336" y="76043"/>
                        </a:lnTo>
                        <a:lnTo>
                          <a:pt x="0" y="76043"/>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19" name="Freeform: Shape 1318">
                    <a:extLst>
                      <a:ext uri="{FF2B5EF4-FFF2-40B4-BE49-F238E27FC236}">
                        <a16:creationId xmlns:a16="http://schemas.microsoft.com/office/drawing/2014/main" id="{2B71CDED-1908-4F01-99C6-A99332FA87CA}"/>
                      </a:ext>
                    </a:extLst>
                  </p:cNvPr>
                  <p:cNvSpPr/>
                  <p:nvPr/>
                </p:nvSpPr>
                <p:spPr>
                  <a:xfrm>
                    <a:off x="8050156" y="9935425"/>
                    <a:ext cx="48561" cy="48554"/>
                  </a:xfrm>
                  <a:custGeom>
                    <a:avLst/>
                    <a:gdLst>
                      <a:gd name="connsiteX0" fmla="*/ 4056 w 48561"/>
                      <a:gd name="connsiteY0" fmla="*/ 4056 h 48554"/>
                      <a:gd name="connsiteX1" fmla="*/ 23602 w 48561"/>
                      <a:gd name="connsiteY1" fmla="*/ 4056 h 48554"/>
                      <a:gd name="connsiteX2" fmla="*/ 44505 w 48561"/>
                      <a:gd name="connsiteY2" fmla="*/ 24959 h 48554"/>
                      <a:gd name="connsiteX3" fmla="*/ 44505 w 48561"/>
                      <a:gd name="connsiteY3" fmla="*/ 44506 h 48554"/>
                      <a:gd name="connsiteX4" fmla="*/ 24959 w 48561"/>
                      <a:gd name="connsiteY4" fmla="*/ 44506 h 48554"/>
                      <a:gd name="connsiteX5" fmla="*/ 4056 w 48561"/>
                      <a:gd name="connsiteY5" fmla="*/ 23602 h 48554"/>
                      <a:gd name="connsiteX6" fmla="*/ 4056 w 48561"/>
                      <a:gd name="connsiteY6" fmla="*/ 4056 h 4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61" h="48554">
                        <a:moveTo>
                          <a:pt x="4056" y="4056"/>
                        </a:moveTo>
                        <a:cubicBezTo>
                          <a:pt x="9464" y="-1352"/>
                          <a:pt x="18214" y="-1352"/>
                          <a:pt x="23602" y="4056"/>
                        </a:cubicBezTo>
                        <a:lnTo>
                          <a:pt x="44505" y="24959"/>
                        </a:lnTo>
                        <a:cubicBezTo>
                          <a:pt x="49913" y="30367"/>
                          <a:pt x="49913" y="39118"/>
                          <a:pt x="44505" y="44506"/>
                        </a:cubicBezTo>
                        <a:cubicBezTo>
                          <a:pt x="39098" y="49894"/>
                          <a:pt x="30347" y="49913"/>
                          <a:pt x="24959" y="44506"/>
                        </a:cubicBezTo>
                        <a:lnTo>
                          <a:pt x="4056" y="23602"/>
                        </a:lnTo>
                        <a:cubicBezTo>
                          <a:pt x="-1352" y="18195"/>
                          <a:pt x="-1352" y="9444"/>
                          <a:pt x="4056" y="4056"/>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20" name="Freeform: Shape 1319">
                    <a:extLst>
                      <a:ext uri="{FF2B5EF4-FFF2-40B4-BE49-F238E27FC236}">
                        <a16:creationId xmlns:a16="http://schemas.microsoft.com/office/drawing/2014/main" id="{361AE67C-B5F3-4D66-A8E5-51AC0E0783EC}"/>
                      </a:ext>
                    </a:extLst>
                  </p:cNvPr>
                  <p:cNvSpPr/>
                  <p:nvPr/>
                </p:nvSpPr>
                <p:spPr>
                  <a:xfrm rot="2700000">
                    <a:off x="8001491" y="9973703"/>
                    <a:ext cx="58973" cy="58973"/>
                  </a:xfrm>
                  <a:custGeom>
                    <a:avLst/>
                    <a:gdLst>
                      <a:gd name="connsiteX0" fmla="*/ 45445 w 58973"/>
                      <a:gd name="connsiteY0" fmla="*/ 0 h 58973"/>
                      <a:gd name="connsiteX1" fmla="*/ 58974 w 58973"/>
                      <a:gd name="connsiteY1" fmla="*/ 13529 h 58973"/>
                      <a:gd name="connsiteX2" fmla="*/ 58974 w 58973"/>
                      <a:gd name="connsiteY2" fmla="*/ 45445 h 58973"/>
                      <a:gd name="connsiteX3" fmla="*/ 45445 w 58973"/>
                      <a:gd name="connsiteY3" fmla="*/ 58974 h 58973"/>
                      <a:gd name="connsiteX4" fmla="*/ 13530 w 58973"/>
                      <a:gd name="connsiteY4" fmla="*/ 58974 h 58973"/>
                      <a:gd name="connsiteX5" fmla="*/ 1 w 58973"/>
                      <a:gd name="connsiteY5" fmla="*/ 45445 h 58973"/>
                      <a:gd name="connsiteX6" fmla="*/ 1 w 58973"/>
                      <a:gd name="connsiteY6" fmla="*/ 13529 h 58973"/>
                      <a:gd name="connsiteX7" fmla="*/ 13530 w 58973"/>
                      <a:gd name="connsiteY7" fmla="*/ 0 h 58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973" h="58973">
                        <a:moveTo>
                          <a:pt x="45445" y="0"/>
                        </a:moveTo>
                        <a:cubicBezTo>
                          <a:pt x="52917" y="0"/>
                          <a:pt x="58974" y="6057"/>
                          <a:pt x="58974" y="13529"/>
                        </a:cubicBezTo>
                        <a:lnTo>
                          <a:pt x="58974" y="45445"/>
                        </a:lnTo>
                        <a:cubicBezTo>
                          <a:pt x="58974" y="52917"/>
                          <a:pt x="52917" y="58974"/>
                          <a:pt x="45445" y="58974"/>
                        </a:cubicBezTo>
                        <a:lnTo>
                          <a:pt x="13530" y="58974"/>
                        </a:lnTo>
                        <a:cubicBezTo>
                          <a:pt x="6058" y="58974"/>
                          <a:pt x="1" y="52917"/>
                          <a:pt x="1" y="45445"/>
                        </a:cubicBezTo>
                        <a:lnTo>
                          <a:pt x="1" y="13529"/>
                        </a:lnTo>
                        <a:cubicBezTo>
                          <a:pt x="1" y="6057"/>
                          <a:pt x="6058" y="0"/>
                          <a:pt x="13530" y="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21" name="Freeform: Shape 1320">
                    <a:extLst>
                      <a:ext uri="{FF2B5EF4-FFF2-40B4-BE49-F238E27FC236}">
                        <a16:creationId xmlns:a16="http://schemas.microsoft.com/office/drawing/2014/main" id="{4DAE63A4-18FF-4C9E-BCB3-B6303AC88243}"/>
                      </a:ext>
                    </a:extLst>
                  </p:cNvPr>
                  <p:cNvSpPr/>
                  <p:nvPr/>
                </p:nvSpPr>
                <p:spPr>
                  <a:xfrm>
                    <a:off x="8034768" y="9888564"/>
                    <a:ext cx="110829" cy="110829"/>
                  </a:xfrm>
                  <a:custGeom>
                    <a:avLst/>
                    <a:gdLst>
                      <a:gd name="connsiteX0" fmla="*/ 35096 w 110829"/>
                      <a:gd name="connsiteY0" fmla="*/ 7359 h 110829"/>
                      <a:gd name="connsiteX1" fmla="*/ 3023 w 110829"/>
                      <a:gd name="connsiteY1" fmla="*/ 39432 h 110829"/>
                      <a:gd name="connsiteX2" fmla="*/ 3023 w 110829"/>
                      <a:gd name="connsiteY2" fmla="*/ 54043 h 110829"/>
                      <a:gd name="connsiteX3" fmla="*/ 22845 w 110829"/>
                      <a:gd name="connsiteY3" fmla="*/ 34221 h 110829"/>
                      <a:gd name="connsiteX4" fmla="*/ 58379 w 110829"/>
                      <a:gd name="connsiteY4" fmla="*/ 34221 h 110829"/>
                      <a:gd name="connsiteX5" fmla="*/ 76608 w 110829"/>
                      <a:gd name="connsiteY5" fmla="*/ 52450 h 110829"/>
                      <a:gd name="connsiteX6" fmla="*/ 76608 w 110829"/>
                      <a:gd name="connsiteY6" fmla="*/ 87984 h 110829"/>
                      <a:gd name="connsiteX7" fmla="*/ 56786 w 110829"/>
                      <a:gd name="connsiteY7" fmla="*/ 107806 h 110829"/>
                      <a:gd name="connsiteX8" fmla="*/ 71397 w 110829"/>
                      <a:gd name="connsiteY8" fmla="*/ 107806 h 110829"/>
                      <a:gd name="connsiteX9" fmla="*/ 103470 w 110829"/>
                      <a:gd name="connsiteY9" fmla="*/ 75733 h 110829"/>
                      <a:gd name="connsiteX10" fmla="*/ 103470 w 110829"/>
                      <a:gd name="connsiteY10" fmla="*/ 40199 h 110829"/>
                      <a:gd name="connsiteX11" fmla="*/ 70630 w 110829"/>
                      <a:gd name="connsiteY11" fmla="*/ 7359 h 110829"/>
                      <a:gd name="connsiteX12" fmla="*/ 35096 w 110829"/>
                      <a:gd name="connsiteY12" fmla="*/ 7359 h 11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829" h="110829">
                        <a:moveTo>
                          <a:pt x="35096" y="7359"/>
                        </a:moveTo>
                        <a:lnTo>
                          <a:pt x="3023" y="39432"/>
                        </a:lnTo>
                        <a:cubicBezTo>
                          <a:pt x="-1008" y="43463"/>
                          <a:pt x="-1008" y="50012"/>
                          <a:pt x="3023" y="54043"/>
                        </a:cubicBezTo>
                        <a:lnTo>
                          <a:pt x="22845" y="34221"/>
                        </a:lnTo>
                        <a:cubicBezTo>
                          <a:pt x="32658" y="24409"/>
                          <a:pt x="48567" y="24409"/>
                          <a:pt x="58379" y="34221"/>
                        </a:cubicBezTo>
                        <a:lnTo>
                          <a:pt x="76608" y="52450"/>
                        </a:lnTo>
                        <a:cubicBezTo>
                          <a:pt x="86421" y="62263"/>
                          <a:pt x="86421" y="78171"/>
                          <a:pt x="76608" y="87984"/>
                        </a:cubicBezTo>
                        <a:lnTo>
                          <a:pt x="56786" y="107806"/>
                        </a:lnTo>
                        <a:cubicBezTo>
                          <a:pt x="60818" y="111837"/>
                          <a:pt x="67366" y="111837"/>
                          <a:pt x="71397" y="107806"/>
                        </a:cubicBezTo>
                        <a:lnTo>
                          <a:pt x="103470" y="75733"/>
                        </a:lnTo>
                        <a:cubicBezTo>
                          <a:pt x="113282" y="65920"/>
                          <a:pt x="113282" y="50012"/>
                          <a:pt x="103470" y="40199"/>
                        </a:cubicBezTo>
                        <a:lnTo>
                          <a:pt x="70630" y="7359"/>
                        </a:lnTo>
                        <a:cubicBezTo>
                          <a:pt x="60818" y="-2453"/>
                          <a:pt x="44909" y="-2453"/>
                          <a:pt x="35096" y="7359"/>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286" name="Graphic 10">
                  <a:extLst>
                    <a:ext uri="{FF2B5EF4-FFF2-40B4-BE49-F238E27FC236}">
                      <a16:creationId xmlns:a16="http://schemas.microsoft.com/office/drawing/2014/main" id="{545CEF86-13F9-4602-9040-1718606909EA}"/>
                    </a:ext>
                  </a:extLst>
                </p:cNvPr>
                <p:cNvGrpSpPr/>
                <p:nvPr/>
              </p:nvGrpSpPr>
              <p:grpSpPr>
                <a:xfrm>
                  <a:off x="8159731" y="9817030"/>
                  <a:ext cx="192377" cy="56410"/>
                  <a:chOff x="8159731" y="9817030"/>
                  <a:chExt cx="192377" cy="56410"/>
                </a:xfrm>
              </p:grpSpPr>
              <p:sp>
                <p:nvSpPr>
                  <p:cNvPr id="1309" name="Freeform: Shape 1308">
                    <a:extLst>
                      <a:ext uri="{FF2B5EF4-FFF2-40B4-BE49-F238E27FC236}">
                        <a16:creationId xmlns:a16="http://schemas.microsoft.com/office/drawing/2014/main" id="{3BDCE3D3-BA39-4282-898D-A26CD370DF4D}"/>
                      </a:ext>
                    </a:extLst>
                  </p:cNvPr>
                  <p:cNvSpPr/>
                  <p:nvPr/>
                </p:nvSpPr>
                <p:spPr>
                  <a:xfrm rot="5400000">
                    <a:off x="8236561" y="9786982"/>
                    <a:ext cx="16734" cy="116472"/>
                  </a:xfrm>
                  <a:custGeom>
                    <a:avLst/>
                    <a:gdLst>
                      <a:gd name="connsiteX0" fmla="*/ 0 w 16734"/>
                      <a:gd name="connsiteY0" fmla="*/ 0 h 116472"/>
                      <a:gd name="connsiteX1" fmla="*/ 16734 w 16734"/>
                      <a:gd name="connsiteY1" fmla="*/ 0 h 116472"/>
                      <a:gd name="connsiteX2" fmla="*/ 16734 w 16734"/>
                      <a:gd name="connsiteY2" fmla="*/ 116473 h 116472"/>
                      <a:gd name="connsiteX3" fmla="*/ 0 w 16734"/>
                      <a:gd name="connsiteY3" fmla="*/ 116473 h 116472"/>
                    </a:gdLst>
                    <a:ahLst/>
                    <a:cxnLst>
                      <a:cxn ang="0">
                        <a:pos x="connsiteX0" y="connsiteY0"/>
                      </a:cxn>
                      <a:cxn ang="0">
                        <a:pos x="connsiteX1" y="connsiteY1"/>
                      </a:cxn>
                      <a:cxn ang="0">
                        <a:pos x="connsiteX2" y="connsiteY2"/>
                      </a:cxn>
                      <a:cxn ang="0">
                        <a:pos x="connsiteX3" y="connsiteY3"/>
                      </a:cxn>
                    </a:cxnLst>
                    <a:rect l="l" t="t" r="r" b="b"/>
                    <a:pathLst>
                      <a:path w="16734" h="116472">
                        <a:moveTo>
                          <a:pt x="0" y="0"/>
                        </a:moveTo>
                        <a:lnTo>
                          <a:pt x="16734" y="0"/>
                        </a:lnTo>
                        <a:lnTo>
                          <a:pt x="16734" y="116473"/>
                        </a:lnTo>
                        <a:lnTo>
                          <a:pt x="0" y="116473"/>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10" name="Freeform: Shape 1309">
                    <a:extLst>
                      <a:ext uri="{FF2B5EF4-FFF2-40B4-BE49-F238E27FC236}">
                        <a16:creationId xmlns:a16="http://schemas.microsoft.com/office/drawing/2014/main" id="{E8D356C7-6475-46F0-8A34-3637E3C24356}"/>
                      </a:ext>
                    </a:extLst>
                  </p:cNvPr>
                  <p:cNvSpPr/>
                  <p:nvPr/>
                </p:nvSpPr>
                <p:spPr>
                  <a:xfrm>
                    <a:off x="8186692" y="9817050"/>
                    <a:ext cx="116472" cy="56378"/>
                  </a:xfrm>
                  <a:custGeom>
                    <a:avLst/>
                    <a:gdLst>
                      <a:gd name="connsiteX0" fmla="*/ 116473 w 116472"/>
                      <a:gd name="connsiteY0" fmla="*/ 49732 h 56378"/>
                      <a:gd name="connsiteX1" fmla="*/ 0 w 116472"/>
                      <a:gd name="connsiteY1" fmla="*/ 49732 h 56378"/>
                      <a:gd name="connsiteX2" fmla="*/ 0 w 116472"/>
                      <a:gd name="connsiteY2" fmla="*/ 56378 h 56378"/>
                      <a:gd name="connsiteX3" fmla="*/ 116473 w 116472"/>
                      <a:gd name="connsiteY3" fmla="*/ 56378 h 56378"/>
                      <a:gd name="connsiteX4" fmla="*/ 116473 w 116472"/>
                      <a:gd name="connsiteY4" fmla="*/ 49732 h 56378"/>
                      <a:gd name="connsiteX5" fmla="*/ 0 w 116472"/>
                      <a:gd name="connsiteY5" fmla="*/ 0 h 56378"/>
                      <a:gd name="connsiteX6" fmla="*/ 0 w 116472"/>
                      <a:gd name="connsiteY6" fmla="*/ 6647 h 56378"/>
                      <a:gd name="connsiteX7" fmla="*/ 116473 w 116472"/>
                      <a:gd name="connsiteY7" fmla="*/ 6647 h 56378"/>
                      <a:gd name="connsiteX8" fmla="*/ 116473 w 116472"/>
                      <a:gd name="connsiteY8" fmla="*/ 0 h 56378"/>
                      <a:gd name="connsiteX9" fmla="*/ 0 w 116472"/>
                      <a:gd name="connsiteY9" fmla="*/ 0 h 5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472" h="56378">
                        <a:moveTo>
                          <a:pt x="116473" y="49732"/>
                        </a:moveTo>
                        <a:lnTo>
                          <a:pt x="0" y="49732"/>
                        </a:lnTo>
                        <a:lnTo>
                          <a:pt x="0" y="56378"/>
                        </a:lnTo>
                        <a:lnTo>
                          <a:pt x="116473" y="56378"/>
                        </a:lnTo>
                        <a:lnTo>
                          <a:pt x="116473" y="49732"/>
                        </a:lnTo>
                        <a:close/>
                        <a:moveTo>
                          <a:pt x="0" y="0"/>
                        </a:moveTo>
                        <a:lnTo>
                          <a:pt x="0" y="6647"/>
                        </a:lnTo>
                        <a:lnTo>
                          <a:pt x="116473" y="6647"/>
                        </a:lnTo>
                        <a:lnTo>
                          <a:pt x="116473" y="0"/>
                        </a:lnTo>
                        <a:lnTo>
                          <a:pt x="0" y="0"/>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11" name="Freeform: Shape 1310">
                    <a:extLst>
                      <a:ext uri="{FF2B5EF4-FFF2-40B4-BE49-F238E27FC236}">
                        <a16:creationId xmlns:a16="http://schemas.microsoft.com/office/drawing/2014/main" id="{F0DB698D-B893-4360-BCC3-E200765F4125}"/>
                      </a:ext>
                    </a:extLst>
                  </p:cNvPr>
                  <p:cNvSpPr/>
                  <p:nvPr/>
                </p:nvSpPr>
                <p:spPr>
                  <a:xfrm>
                    <a:off x="8303165" y="9817030"/>
                    <a:ext cx="48944" cy="56378"/>
                  </a:xfrm>
                  <a:custGeom>
                    <a:avLst/>
                    <a:gdLst>
                      <a:gd name="connsiteX0" fmla="*/ 0 w 48944"/>
                      <a:gd name="connsiteY0" fmla="*/ 20 h 56378"/>
                      <a:gd name="connsiteX1" fmla="*/ 48944 w 48944"/>
                      <a:gd name="connsiteY1" fmla="*/ 20 h 56378"/>
                      <a:gd name="connsiteX2" fmla="*/ 48944 w 48944"/>
                      <a:gd name="connsiteY2" fmla="*/ 6273 h 56378"/>
                      <a:gd name="connsiteX3" fmla="*/ 38680 w 48944"/>
                      <a:gd name="connsiteY3" fmla="*/ 6273 h 56378"/>
                      <a:gd name="connsiteX4" fmla="*/ 16754 w 48944"/>
                      <a:gd name="connsiteY4" fmla="*/ 28199 h 56378"/>
                      <a:gd name="connsiteX5" fmla="*/ 38680 w 48944"/>
                      <a:gd name="connsiteY5" fmla="*/ 50125 h 56378"/>
                      <a:gd name="connsiteX6" fmla="*/ 48944 w 48944"/>
                      <a:gd name="connsiteY6" fmla="*/ 50125 h 56378"/>
                      <a:gd name="connsiteX7" fmla="*/ 48944 w 48944"/>
                      <a:gd name="connsiteY7" fmla="*/ 56378 h 56378"/>
                      <a:gd name="connsiteX8" fmla="*/ 0 w 48944"/>
                      <a:gd name="connsiteY8" fmla="*/ 56378 h 56378"/>
                      <a:gd name="connsiteX9" fmla="*/ 0 w 48944"/>
                      <a:gd name="connsiteY9" fmla="*/ 0 h 5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944" h="56378">
                        <a:moveTo>
                          <a:pt x="0" y="20"/>
                        </a:moveTo>
                        <a:lnTo>
                          <a:pt x="48944" y="20"/>
                        </a:lnTo>
                        <a:lnTo>
                          <a:pt x="48944" y="6273"/>
                        </a:lnTo>
                        <a:lnTo>
                          <a:pt x="38680" y="6273"/>
                        </a:lnTo>
                        <a:cubicBezTo>
                          <a:pt x="26566" y="6273"/>
                          <a:pt x="16754" y="16086"/>
                          <a:pt x="16754" y="28199"/>
                        </a:cubicBezTo>
                        <a:cubicBezTo>
                          <a:pt x="16754" y="40312"/>
                          <a:pt x="26566" y="50125"/>
                          <a:pt x="38680" y="50125"/>
                        </a:cubicBezTo>
                        <a:lnTo>
                          <a:pt x="48944" y="50125"/>
                        </a:lnTo>
                        <a:lnTo>
                          <a:pt x="48944" y="56378"/>
                        </a:lnTo>
                        <a:lnTo>
                          <a:pt x="0" y="56378"/>
                        </a:lnTo>
                        <a:lnTo>
                          <a:pt x="0" y="0"/>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12" name="Freeform: Shape 1311">
                    <a:extLst>
                      <a:ext uri="{FF2B5EF4-FFF2-40B4-BE49-F238E27FC236}">
                        <a16:creationId xmlns:a16="http://schemas.microsoft.com/office/drawing/2014/main" id="{DAF6BB48-A417-48DD-8F1C-3E89D516563B}"/>
                      </a:ext>
                    </a:extLst>
                  </p:cNvPr>
                  <p:cNvSpPr/>
                  <p:nvPr/>
                </p:nvSpPr>
                <p:spPr>
                  <a:xfrm>
                    <a:off x="8159731" y="9817069"/>
                    <a:ext cx="56378" cy="56370"/>
                  </a:xfrm>
                  <a:custGeom>
                    <a:avLst/>
                    <a:gdLst>
                      <a:gd name="connsiteX0" fmla="*/ 8259 w 56378"/>
                      <a:gd name="connsiteY0" fmla="*/ 8259 h 56370"/>
                      <a:gd name="connsiteX1" fmla="*/ 8259 w 56378"/>
                      <a:gd name="connsiteY1" fmla="*/ 48119 h 56370"/>
                      <a:gd name="connsiteX2" fmla="*/ 48119 w 56378"/>
                      <a:gd name="connsiteY2" fmla="*/ 48119 h 56370"/>
                      <a:gd name="connsiteX3" fmla="*/ 48119 w 56378"/>
                      <a:gd name="connsiteY3" fmla="*/ 8259 h 56370"/>
                      <a:gd name="connsiteX4" fmla="*/ 8259 w 56378"/>
                      <a:gd name="connsiteY4" fmla="*/ 8259 h 56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378" h="56370">
                        <a:moveTo>
                          <a:pt x="8259" y="8259"/>
                        </a:moveTo>
                        <a:cubicBezTo>
                          <a:pt x="-2753" y="19271"/>
                          <a:pt x="-2753" y="37127"/>
                          <a:pt x="8259" y="48119"/>
                        </a:cubicBezTo>
                        <a:cubicBezTo>
                          <a:pt x="19272" y="59112"/>
                          <a:pt x="37127" y="59131"/>
                          <a:pt x="48119" y="48119"/>
                        </a:cubicBezTo>
                        <a:cubicBezTo>
                          <a:pt x="59132" y="37107"/>
                          <a:pt x="59132" y="19252"/>
                          <a:pt x="48119" y="8259"/>
                        </a:cubicBezTo>
                        <a:cubicBezTo>
                          <a:pt x="37107" y="-2753"/>
                          <a:pt x="19251" y="-2753"/>
                          <a:pt x="8259" y="8259"/>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13" name="Freeform: Shape 1312">
                    <a:extLst>
                      <a:ext uri="{FF2B5EF4-FFF2-40B4-BE49-F238E27FC236}">
                        <a16:creationId xmlns:a16="http://schemas.microsoft.com/office/drawing/2014/main" id="{0310DC71-5202-4CF4-B1CB-1FCE372D7D26}"/>
                      </a:ext>
                    </a:extLst>
                  </p:cNvPr>
                  <p:cNvSpPr/>
                  <p:nvPr/>
                </p:nvSpPr>
                <p:spPr>
                  <a:xfrm>
                    <a:off x="8170606" y="9827944"/>
                    <a:ext cx="34648" cy="34648"/>
                  </a:xfrm>
                  <a:custGeom>
                    <a:avLst/>
                    <a:gdLst>
                      <a:gd name="connsiteX0" fmla="*/ 5073 w 34648"/>
                      <a:gd name="connsiteY0" fmla="*/ 5073 h 34648"/>
                      <a:gd name="connsiteX1" fmla="*/ 5073 w 34648"/>
                      <a:gd name="connsiteY1" fmla="*/ 29575 h 34648"/>
                      <a:gd name="connsiteX2" fmla="*/ 29575 w 34648"/>
                      <a:gd name="connsiteY2" fmla="*/ 29575 h 34648"/>
                      <a:gd name="connsiteX3" fmla="*/ 29575 w 34648"/>
                      <a:gd name="connsiteY3" fmla="*/ 5073 h 34648"/>
                      <a:gd name="connsiteX4" fmla="*/ 5073 w 34648"/>
                      <a:gd name="connsiteY4" fmla="*/ 5073 h 34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48" h="34648">
                        <a:moveTo>
                          <a:pt x="5073" y="5073"/>
                        </a:moveTo>
                        <a:cubicBezTo>
                          <a:pt x="-1691" y="11838"/>
                          <a:pt x="-1691" y="22811"/>
                          <a:pt x="5073" y="29575"/>
                        </a:cubicBezTo>
                        <a:cubicBezTo>
                          <a:pt x="11838" y="36340"/>
                          <a:pt x="22811" y="36340"/>
                          <a:pt x="29575" y="29575"/>
                        </a:cubicBezTo>
                        <a:cubicBezTo>
                          <a:pt x="36340" y="22811"/>
                          <a:pt x="36340" y="11838"/>
                          <a:pt x="29575" y="5073"/>
                        </a:cubicBezTo>
                        <a:cubicBezTo>
                          <a:pt x="22811" y="-1691"/>
                          <a:pt x="11838" y="-1691"/>
                          <a:pt x="5073" y="5073"/>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287" name="Freeform: Shape 1286">
                  <a:extLst>
                    <a:ext uri="{FF2B5EF4-FFF2-40B4-BE49-F238E27FC236}">
                      <a16:creationId xmlns:a16="http://schemas.microsoft.com/office/drawing/2014/main" id="{476146F9-6D44-4A59-A954-161CBB9EC0BA}"/>
                    </a:ext>
                  </a:extLst>
                </p:cNvPr>
                <p:cNvSpPr/>
                <p:nvPr/>
              </p:nvSpPr>
              <p:spPr>
                <a:xfrm>
                  <a:off x="8369611" y="9818210"/>
                  <a:ext cx="74489" cy="45248"/>
                </a:xfrm>
                <a:custGeom>
                  <a:avLst/>
                  <a:gdLst>
                    <a:gd name="connsiteX0" fmla="*/ 0 w 74489"/>
                    <a:gd name="connsiteY0" fmla="*/ 0 h 45248"/>
                    <a:gd name="connsiteX1" fmla="*/ 74489 w 74489"/>
                    <a:gd name="connsiteY1" fmla="*/ 0 h 45248"/>
                    <a:gd name="connsiteX2" fmla="*/ 74489 w 74489"/>
                    <a:gd name="connsiteY2" fmla="*/ 45248 h 45248"/>
                    <a:gd name="connsiteX3" fmla="*/ 0 w 74489"/>
                    <a:gd name="connsiteY3" fmla="*/ 45248 h 45248"/>
                  </a:gdLst>
                  <a:ahLst/>
                  <a:cxnLst>
                    <a:cxn ang="0">
                      <a:pos x="connsiteX0" y="connsiteY0"/>
                    </a:cxn>
                    <a:cxn ang="0">
                      <a:pos x="connsiteX1" y="connsiteY1"/>
                    </a:cxn>
                    <a:cxn ang="0">
                      <a:pos x="connsiteX2" y="connsiteY2"/>
                    </a:cxn>
                    <a:cxn ang="0">
                      <a:pos x="connsiteX3" y="connsiteY3"/>
                    </a:cxn>
                  </a:cxnLst>
                  <a:rect l="l" t="t" r="r" b="b"/>
                  <a:pathLst>
                    <a:path w="74489" h="45248">
                      <a:moveTo>
                        <a:pt x="0" y="0"/>
                      </a:moveTo>
                      <a:lnTo>
                        <a:pt x="74489" y="0"/>
                      </a:lnTo>
                      <a:lnTo>
                        <a:pt x="74489" y="45248"/>
                      </a:lnTo>
                      <a:lnTo>
                        <a:pt x="0" y="45248"/>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88" name="Freeform: Shape 1287">
                  <a:extLst>
                    <a:ext uri="{FF2B5EF4-FFF2-40B4-BE49-F238E27FC236}">
                      <a16:creationId xmlns:a16="http://schemas.microsoft.com/office/drawing/2014/main" id="{6B68A7B9-2A0C-4D4B-B9E1-FC8125D4D9AE}"/>
                    </a:ext>
                  </a:extLst>
                </p:cNvPr>
                <p:cNvSpPr/>
                <p:nvPr/>
              </p:nvSpPr>
              <p:spPr>
                <a:xfrm rot="10800000">
                  <a:off x="8333192" y="9798939"/>
                  <a:ext cx="49652" cy="83790"/>
                </a:xfrm>
                <a:custGeom>
                  <a:avLst/>
                  <a:gdLst>
                    <a:gd name="connsiteX0" fmla="*/ 41944 w 49652"/>
                    <a:gd name="connsiteY0" fmla="*/ 0 h 83790"/>
                    <a:gd name="connsiteX1" fmla="*/ 49653 w 49652"/>
                    <a:gd name="connsiteY1" fmla="*/ 7708 h 83790"/>
                    <a:gd name="connsiteX2" fmla="*/ 49653 w 49652"/>
                    <a:gd name="connsiteY2" fmla="*/ 76082 h 83790"/>
                    <a:gd name="connsiteX3" fmla="*/ 41944 w 49652"/>
                    <a:gd name="connsiteY3" fmla="*/ 83790 h 83790"/>
                    <a:gd name="connsiteX4" fmla="*/ 7708 w 49652"/>
                    <a:gd name="connsiteY4" fmla="*/ 83790 h 83790"/>
                    <a:gd name="connsiteX5" fmla="*/ 0 w 49652"/>
                    <a:gd name="connsiteY5" fmla="*/ 76082 h 83790"/>
                    <a:gd name="connsiteX6" fmla="*/ 0 w 49652"/>
                    <a:gd name="connsiteY6" fmla="*/ 7708 h 83790"/>
                    <a:gd name="connsiteX7" fmla="*/ 7708 w 49652"/>
                    <a:gd name="connsiteY7" fmla="*/ 0 h 8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52" h="83790">
                      <a:moveTo>
                        <a:pt x="41944" y="0"/>
                      </a:moveTo>
                      <a:cubicBezTo>
                        <a:pt x="46202" y="0"/>
                        <a:pt x="49653" y="3451"/>
                        <a:pt x="49653" y="7708"/>
                      </a:cubicBezTo>
                      <a:lnTo>
                        <a:pt x="49653" y="76082"/>
                      </a:lnTo>
                      <a:cubicBezTo>
                        <a:pt x="49653" y="80339"/>
                        <a:pt x="46202" y="83790"/>
                        <a:pt x="41944" y="83790"/>
                      </a:cubicBezTo>
                      <a:lnTo>
                        <a:pt x="7708" y="83790"/>
                      </a:lnTo>
                      <a:cubicBezTo>
                        <a:pt x="3451" y="83790"/>
                        <a:pt x="0" y="80339"/>
                        <a:pt x="0" y="76082"/>
                      </a:cubicBezTo>
                      <a:lnTo>
                        <a:pt x="0" y="7708"/>
                      </a:lnTo>
                      <a:cubicBezTo>
                        <a:pt x="0" y="3451"/>
                        <a:pt x="3451" y="0"/>
                        <a:pt x="7708" y="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89" name="Freeform: Shape 1288">
                  <a:extLst>
                    <a:ext uri="{FF2B5EF4-FFF2-40B4-BE49-F238E27FC236}">
                      <a16:creationId xmlns:a16="http://schemas.microsoft.com/office/drawing/2014/main" id="{E999BEDF-F3C6-4341-BEF3-15EE4586768A}"/>
                    </a:ext>
                  </a:extLst>
                </p:cNvPr>
                <p:cNvSpPr/>
                <p:nvPr/>
              </p:nvSpPr>
              <p:spPr>
                <a:xfrm>
                  <a:off x="8343595" y="9811897"/>
                  <a:ext cx="13411" cy="13411"/>
                </a:xfrm>
                <a:custGeom>
                  <a:avLst/>
                  <a:gdLst>
                    <a:gd name="connsiteX0" fmla="*/ 13411 w 13411"/>
                    <a:gd name="connsiteY0" fmla="*/ 6706 h 13411"/>
                    <a:gd name="connsiteX1" fmla="*/ 6705 w 13411"/>
                    <a:gd name="connsiteY1" fmla="*/ 13411 h 13411"/>
                    <a:gd name="connsiteX2" fmla="*/ -1 w 13411"/>
                    <a:gd name="connsiteY2" fmla="*/ 6706 h 13411"/>
                    <a:gd name="connsiteX3" fmla="*/ 6705 w 13411"/>
                    <a:gd name="connsiteY3" fmla="*/ 0 h 13411"/>
                    <a:gd name="connsiteX4" fmla="*/ 13411 w 13411"/>
                    <a:gd name="connsiteY4" fmla="*/ 6706 h 13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1" h="13411">
                      <a:moveTo>
                        <a:pt x="13411" y="6706"/>
                      </a:moveTo>
                      <a:cubicBezTo>
                        <a:pt x="13411" y="10409"/>
                        <a:pt x="10409" y="13411"/>
                        <a:pt x="6705" y="13411"/>
                      </a:cubicBezTo>
                      <a:cubicBezTo>
                        <a:pt x="3002" y="13411"/>
                        <a:pt x="-1" y="10409"/>
                        <a:pt x="-1" y="6706"/>
                      </a:cubicBezTo>
                      <a:cubicBezTo>
                        <a:pt x="-1" y="3002"/>
                        <a:pt x="3002" y="0"/>
                        <a:pt x="6705" y="0"/>
                      </a:cubicBezTo>
                      <a:cubicBezTo>
                        <a:pt x="10409" y="0"/>
                        <a:pt x="13411" y="3002"/>
                        <a:pt x="13411" y="6706"/>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90" name="Freeform: Shape 1289">
                  <a:extLst>
                    <a:ext uri="{FF2B5EF4-FFF2-40B4-BE49-F238E27FC236}">
                      <a16:creationId xmlns:a16="http://schemas.microsoft.com/office/drawing/2014/main" id="{14D01ABF-FCB9-4B97-99DD-E56AE9BE94ED}"/>
                    </a:ext>
                  </a:extLst>
                </p:cNvPr>
                <p:cNvSpPr/>
                <p:nvPr/>
              </p:nvSpPr>
              <p:spPr>
                <a:xfrm>
                  <a:off x="8343595" y="9831542"/>
                  <a:ext cx="13410" cy="40508"/>
                </a:xfrm>
                <a:custGeom>
                  <a:avLst/>
                  <a:gdLst>
                    <a:gd name="connsiteX0" fmla="*/ 6705 w 13410"/>
                    <a:gd name="connsiteY0" fmla="*/ 0 h 40508"/>
                    <a:gd name="connsiteX1" fmla="*/ 0 w 13410"/>
                    <a:gd name="connsiteY1" fmla="*/ 6706 h 40508"/>
                    <a:gd name="connsiteX2" fmla="*/ 0 w 13410"/>
                    <a:gd name="connsiteY2" fmla="*/ 33803 h 40508"/>
                    <a:gd name="connsiteX3" fmla="*/ 6705 w 13410"/>
                    <a:gd name="connsiteY3" fmla="*/ 40509 h 40508"/>
                    <a:gd name="connsiteX4" fmla="*/ 13411 w 13410"/>
                    <a:gd name="connsiteY4" fmla="*/ 33803 h 40508"/>
                    <a:gd name="connsiteX5" fmla="*/ 13411 w 13410"/>
                    <a:gd name="connsiteY5" fmla="*/ 6706 h 40508"/>
                    <a:gd name="connsiteX6" fmla="*/ 6705 w 13410"/>
                    <a:gd name="connsiteY6" fmla="*/ 0 h 4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10" h="40508">
                      <a:moveTo>
                        <a:pt x="6705" y="0"/>
                      </a:moveTo>
                      <a:cubicBezTo>
                        <a:pt x="2989" y="0"/>
                        <a:pt x="0" y="3009"/>
                        <a:pt x="0" y="6706"/>
                      </a:cubicBezTo>
                      <a:lnTo>
                        <a:pt x="0" y="33803"/>
                      </a:lnTo>
                      <a:cubicBezTo>
                        <a:pt x="0" y="37520"/>
                        <a:pt x="3008" y="40509"/>
                        <a:pt x="6705" y="40509"/>
                      </a:cubicBezTo>
                      <a:cubicBezTo>
                        <a:pt x="10402" y="40509"/>
                        <a:pt x="13411" y="37500"/>
                        <a:pt x="13411" y="33803"/>
                      </a:cubicBezTo>
                      <a:lnTo>
                        <a:pt x="13411" y="6706"/>
                      </a:lnTo>
                      <a:cubicBezTo>
                        <a:pt x="13411" y="2989"/>
                        <a:pt x="10402" y="0"/>
                        <a:pt x="6705" y="0"/>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91" name="Freeform: Shape 1290">
                  <a:extLst>
                    <a:ext uri="{FF2B5EF4-FFF2-40B4-BE49-F238E27FC236}">
                      <a16:creationId xmlns:a16="http://schemas.microsoft.com/office/drawing/2014/main" id="{1BAFC18D-5FF3-46BA-83E6-0178378170A1}"/>
                    </a:ext>
                  </a:extLst>
                </p:cNvPr>
                <p:cNvSpPr/>
                <p:nvPr/>
              </p:nvSpPr>
              <p:spPr>
                <a:xfrm>
                  <a:off x="8417101" y="9358296"/>
                  <a:ext cx="75315" cy="75020"/>
                </a:xfrm>
                <a:custGeom>
                  <a:avLst/>
                  <a:gdLst>
                    <a:gd name="connsiteX0" fmla="*/ 0 w 75315"/>
                    <a:gd name="connsiteY0" fmla="*/ 0 h 75020"/>
                    <a:gd name="connsiteX1" fmla="*/ 75315 w 75315"/>
                    <a:gd name="connsiteY1" fmla="*/ 0 h 75020"/>
                    <a:gd name="connsiteX2" fmla="*/ 75315 w 75315"/>
                    <a:gd name="connsiteY2" fmla="*/ 75020 h 75020"/>
                    <a:gd name="connsiteX3" fmla="*/ 0 w 75315"/>
                    <a:gd name="connsiteY3" fmla="*/ 75020 h 75020"/>
                  </a:gdLst>
                  <a:ahLst/>
                  <a:cxnLst>
                    <a:cxn ang="0">
                      <a:pos x="connsiteX0" y="connsiteY0"/>
                    </a:cxn>
                    <a:cxn ang="0">
                      <a:pos x="connsiteX1" y="connsiteY1"/>
                    </a:cxn>
                    <a:cxn ang="0">
                      <a:pos x="connsiteX2" y="connsiteY2"/>
                    </a:cxn>
                    <a:cxn ang="0">
                      <a:pos x="connsiteX3" y="connsiteY3"/>
                    </a:cxn>
                  </a:cxnLst>
                  <a:rect l="l" t="t" r="r" b="b"/>
                  <a:pathLst>
                    <a:path w="75315" h="75020">
                      <a:moveTo>
                        <a:pt x="0" y="0"/>
                      </a:moveTo>
                      <a:lnTo>
                        <a:pt x="75315" y="0"/>
                      </a:lnTo>
                      <a:lnTo>
                        <a:pt x="75315" y="75020"/>
                      </a:lnTo>
                      <a:lnTo>
                        <a:pt x="0" y="75020"/>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92" name="Freeform: Shape 1291">
                  <a:extLst>
                    <a:ext uri="{FF2B5EF4-FFF2-40B4-BE49-F238E27FC236}">
                      <a16:creationId xmlns:a16="http://schemas.microsoft.com/office/drawing/2014/main" id="{3D045F3B-DFCF-4B44-9823-387830F14E27}"/>
                    </a:ext>
                  </a:extLst>
                </p:cNvPr>
                <p:cNvSpPr/>
                <p:nvPr/>
              </p:nvSpPr>
              <p:spPr>
                <a:xfrm>
                  <a:off x="8318463" y="9284987"/>
                  <a:ext cx="272589" cy="40036"/>
                </a:xfrm>
                <a:custGeom>
                  <a:avLst/>
                  <a:gdLst>
                    <a:gd name="connsiteX0" fmla="*/ 40037 w 272589"/>
                    <a:gd name="connsiteY0" fmla="*/ 40037 h 40036"/>
                    <a:gd name="connsiteX1" fmla="*/ 232553 w 272589"/>
                    <a:gd name="connsiteY1" fmla="*/ 40037 h 40036"/>
                    <a:gd name="connsiteX2" fmla="*/ 272590 w 272589"/>
                    <a:gd name="connsiteY2" fmla="*/ 0 h 40036"/>
                    <a:gd name="connsiteX3" fmla="*/ 0 w 272589"/>
                    <a:gd name="connsiteY3" fmla="*/ 0 h 40036"/>
                    <a:gd name="connsiteX4" fmla="*/ 40037 w 272589"/>
                    <a:gd name="connsiteY4" fmla="*/ 40037 h 40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589" h="40036">
                      <a:moveTo>
                        <a:pt x="40037" y="40037"/>
                      </a:moveTo>
                      <a:lnTo>
                        <a:pt x="232553" y="40037"/>
                      </a:lnTo>
                      <a:cubicBezTo>
                        <a:pt x="254655" y="40037"/>
                        <a:pt x="272590" y="22103"/>
                        <a:pt x="272590" y="0"/>
                      </a:cubicBezTo>
                      <a:lnTo>
                        <a:pt x="0" y="0"/>
                      </a:lnTo>
                      <a:cubicBezTo>
                        <a:pt x="0" y="22103"/>
                        <a:pt x="17934" y="40037"/>
                        <a:pt x="40037" y="40037"/>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93" name="Freeform: Shape 1292">
                  <a:extLst>
                    <a:ext uri="{FF2B5EF4-FFF2-40B4-BE49-F238E27FC236}">
                      <a16:creationId xmlns:a16="http://schemas.microsoft.com/office/drawing/2014/main" id="{38EC7FD8-0DCA-4971-9E3A-17099ADECCB2}"/>
                    </a:ext>
                  </a:extLst>
                </p:cNvPr>
                <p:cNvSpPr/>
                <p:nvPr/>
              </p:nvSpPr>
              <p:spPr>
                <a:xfrm rot="10800000">
                  <a:off x="8358481" y="9325024"/>
                  <a:ext cx="192535" cy="66525"/>
                </a:xfrm>
                <a:custGeom>
                  <a:avLst/>
                  <a:gdLst>
                    <a:gd name="connsiteX0" fmla="*/ 26665 w 192535"/>
                    <a:gd name="connsiteY0" fmla="*/ 0 h 66525"/>
                    <a:gd name="connsiteX1" fmla="*/ 165851 w 192535"/>
                    <a:gd name="connsiteY1" fmla="*/ 0 h 66525"/>
                    <a:gd name="connsiteX2" fmla="*/ 192536 w 192535"/>
                    <a:gd name="connsiteY2" fmla="*/ 26685 h 66525"/>
                    <a:gd name="connsiteX3" fmla="*/ 192536 w 192535"/>
                    <a:gd name="connsiteY3" fmla="*/ 66525 h 66525"/>
                    <a:gd name="connsiteX4" fmla="*/ 0 w 192535"/>
                    <a:gd name="connsiteY4" fmla="*/ 66525 h 66525"/>
                    <a:gd name="connsiteX5" fmla="*/ 0 w 192535"/>
                    <a:gd name="connsiteY5" fmla="*/ 26685 h 66525"/>
                    <a:gd name="connsiteX6" fmla="*/ 26685 w 192535"/>
                    <a:gd name="connsiteY6" fmla="*/ 0 h 6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2535" h="66525">
                      <a:moveTo>
                        <a:pt x="26665" y="0"/>
                      </a:moveTo>
                      <a:lnTo>
                        <a:pt x="165851" y="0"/>
                      </a:lnTo>
                      <a:cubicBezTo>
                        <a:pt x="180579" y="0"/>
                        <a:pt x="192536" y="11956"/>
                        <a:pt x="192536" y="26685"/>
                      </a:cubicBezTo>
                      <a:lnTo>
                        <a:pt x="192536" y="66525"/>
                      </a:lnTo>
                      <a:lnTo>
                        <a:pt x="0" y="66525"/>
                      </a:lnTo>
                      <a:lnTo>
                        <a:pt x="0" y="26685"/>
                      </a:lnTo>
                      <a:cubicBezTo>
                        <a:pt x="0" y="11956"/>
                        <a:pt x="11956" y="0"/>
                        <a:pt x="26685" y="0"/>
                      </a:cubicBezTo>
                      <a:close/>
                    </a:path>
                  </a:pathLst>
                </a:custGeom>
                <a:solidFill>
                  <a:srgbClr val="B3D6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94" name="Freeform: Shape 1293">
                  <a:extLst>
                    <a:ext uri="{FF2B5EF4-FFF2-40B4-BE49-F238E27FC236}">
                      <a16:creationId xmlns:a16="http://schemas.microsoft.com/office/drawing/2014/main" id="{E04FC669-6262-4C15-BEEA-85A59D364EE2}"/>
                    </a:ext>
                  </a:extLst>
                </p:cNvPr>
                <p:cNvSpPr/>
                <p:nvPr/>
              </p:nvSpPr>
              <p:spPr>
                <a:xfrm>
                  <a:off x="8207772" y="9203713"/>
                  <a:ext cx="493973" cy="81273"/>
                </a:xfrm>
                <a:custGeom>
                  <a:avLst/>
                  <a:gdLst>
                    <a:gd name="connsiteX0" fmla="*/ 81254 w 493973"/>
                    <a:gd name="connsiteY0" fmla="*/ 81273 h 81273"/>
                    <a:gd name="connsiteX1" fmla="*/ 412699 w 493973"/>
                    <a:gd name="connsiteY1" fmla="*/ 81273 h 81273"/>
                    <a:gd name="connsiteX2" fmla="*/ 493973 w 493973"/>
                    <a:gd name="connsiteY2" fmla="*/ 0 h 81273"/>
                    <a:gd name="connsiteX3" fmla="*/ 0 w 493973"/>
                    <a:gd name="connsiteY3" fmla="*/ 0 h 81273"/>
                    <a:gd name="connsiteX4" fmla="*/ 81274 w 493973"/>
                    <a:gd name="connsiteY4" fmla="*/ 81273 h 812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973" h="81273">
                      <a:moveTo>
                        <a:pt x="81254" y="81273"/>
                      </a:moveTo>
                      <a:lnTo>
                        <a:pt x="412699" y="81273"/>
                      </a:lnTo>
                      <a:cubicBezTo>
                        <a:pt x="457574" y="81273"/>
                        <a:pt x="493973" y="44894"/>
                        <a:pt x="493973" y="0"/>
                      </a:cubicBezTo>
                      <a:lnTo>
                        <a:pt x="0" y="0"/>
                      </a:lnTo>
                      <a:cubicBezTo>
                        <a:pt x="0" y="44874"/>
                        <a:pt x="36379" y="81273"/>
                        <a:pt x="81274" y="81273"/>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295" name="Graphic 10">
                  <a:extLst>
                    <a:ext uri="{FF2B5EF4-FFF2-40B4-BE49-F238E27FC236}">
                      <a16:creationId xmlns:a16="http://schemas.microsoft.com/office/drawing/2014/main" id="{75AB4D83-CD28-4442-9619-EA84E43B9B31}"/>
                    </a:ext>
                  </a:extLst>
                </p:cNvPr>
                <p:cNvGrpSpPr/>
                <p:nvPr/>
              </p:nvGrpSpPr>
              <p:grpSpPr>
                <a:xfrm>
                  <a:off x="8395273" y="9607603"/>
                  <a:ext cx="278999" cy="279000"/>
                  <a:chOff x="8395273" y="9607603"/>
                  <a:chExt cx="278999" cy="279000"/>
                </a:xfrm>
              </p:grpSpPr>
              <p:sp>
                <p:nvSpPr>
                  <p:cNvPr id="1307" name="Freeform: Shape 1306">
                    <a:extLst>
                      <a:ext uri="{FF2B5EF4-FFF2-40B4-BE49-F238E27FC236}">
                        <a16:creationId xmlns:a16="http://schemas.microsoft.com/office/drawing/2014/main" id="{7FDA9F85-DC6B-4D62-9600-B6252197A4B9}"/>
                      </a:ext>
                    </a:extLst>
                  </p:cNvPr>
                  <p:cNvSpPr/>
                  <p:nvPr/>
                </p:nvSpPr>
                <p:spPr>
                  <a:xfrm>
                    <a:off x="8395273" y="9607603"/>
                    <a:ext cx="278999" cy="279000"/>
                  </a:xfrm>
                  <a:custGeom>
                    <a:avLst/>
                    <a:gdLst>
                      <a:gd name="connsiteX0" fmla="*/ 13155 w 278999"/>
                      <a:gd name="connsiteY0" fmla="*/ 202348 h 279000"/>
                      <a:gd name="connsiteX1" fmla="*/ 202348 w 278999"/>
                      <a:gd name="connsiteY1" fmla="*/ 13156 h 279000"/>
                      <a:gd name="connsiteX2" fmla="*/ 265844 w 278999"/>
                      <a:gd name="connsiteY2" fmla="*/ 13156 h 279000"/>
                      <a:gd name="connsiteX3" fmla="*/ 265844 w 278999"/>
                      <a:gd name="connsiteY3" fmla="*/ 76652 h 279000"/>
                      <a:gd name="connsiteX4" fmla="*/ 76652 w 278999"/>
                      <a:gd name="connsiteY4" fmla="*/ 265845 h 279000"/>
                      <a:gd name="connsiteX5" fmla="*/ 13155 w 278999"/>
                      <a:gd name="connsiteY5" fmla="*/ 265845 h 279000"/>
                      <a:gd name="connsiteX6" fmla="*/ 13155 w 278999"/>
                      <a:gd name="connsiteY6" fmla="*/ 202348 h 27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999" h="279000">
                        <a:moveTo>
                          <a:pt x="13155" y="202348"/>
                        </a:moveTo>
                        <a:lnTo>
                          <a:pt x="202348" y="13156"/>
                        </a:lnTo>
                        <a:cubicBezTo>
                          <a:pt x="219888" y="-4385"/>
                          <a:pt x="248304" y="-4385"/>
                          <a:pt x="265844" y="13156"/>
                        </a:cubicBezTo>
                        <a:cubicBezTo>
                          <a:pt x="283385" y="30696"/>
                          <a:pt x="283385" y="59111"/>
                          <a:pt x="265844" y="76652"/>
                        </a:cubicBezTo>
                        <a:lnTo>
                          <a:pt x="76652" y="265845"/>
                        </a:lnTo>
                        <a:cubicBezTo>
                          <a:pt x="59112" y="283385"/>
                          <a:pt x="30696" y="283385"/>
                          <a:pt x="13155" y="265845"/>
                        </a:cubicBezTo>
                        <a:cubicBezTo>
                          <a:pt x="-4385" y="248304"/>
                          <a:pt x="-4385" y="219889"/>
                          <a:pt x="13155" y="202348"/>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08" name="Freeform: Shape 1307">
                    <a:extLst>
                      <a:ext uri="{FF2B5EF4-FFF2-40B4-BE49-F238E27FC236}">
                        <a16:creationId xmlns:a16="http://schemas.microsoft.com/office/drawing/2014/main" id="{635D8EB4-A776-497D-BB81-013C8C5F0188}"/>
                      </a:ext>
                    </a:extLst>
                  </p:cNvPr>
                  <p:cNvSpPr/>
                  <p:nvPr/>
                </p:nvSpPr>
                <p:spPr>
                  <a:xfrm>
                    <a:off x="8416140" y="9628469"/>
                    <a:ext cx="237274" cy="237267"/>
                  </a:xfrm>
                  <a:custGeom>
                    <a:avLst/>
                    <a:gdLst>
                      <a:gd name="connsiteX0" fmla="*/ 42866 w 237274"/>
                      <a:gd name="connsiteY0" fmla="*/ 229915 h 237267"/>
                      <a:gd name="connsiteX1" fmla="*/ 42866 w 237274"/>
                      <a:gd name="connsiteY1" fmla="*/ 194401 h 237267"/>
                      <a:gd name="connsiteX2" fmla="*/ 7352 w 237274"/>
                      <a:gd name="connsiteY2" fmla="*/ 194401 h 237267"/>
                      <a:gd name="connsiteX3" fmla="*/ 7352 w 237274"/>
                      <a:gd name="connsiteY3" fmla="*/ 229915 h 237267"/>
                      <a:gd name="connsiteX4" fmla="*/ 42866 w 237274"/>
                      <a:gd name="connsiteY4" fmla="*/ 229915 h 237267"/>
                      <a:gd name="connsiteX5" fmla="*/ 229915 w 237274"/>
                      <a:gd name="connsiteY5" fmla="*/ 42866 h 237267"/>
                      <a:gd name="connsiteX6" fmla="*/ 229915 w 237274"/>
                      <a:gd name="connsiteY6" fmla="*/ 7352 h 237267"/>
                      <a:gd name="connsiteX7" fmla="*/ 194401 w 237274"/>
                      <a:gd name="connsiteY7" fmla="*/ 7352 h 237267"/>
                      <a:gd name="connsiteX8" fmla="*/ 194401 w 237274"/>
                      <a:gd name="connsiteY8" fmla="*/ 42866 h 237267"/>
                      <a:gd name="connsiteX9" fmla="*/ 229915 w 237274"/>
                      <a:gd name="connsiteY9" fmla="*/ 42866 h 237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274" h="237267">
                        <a:moveTo>
                          <a:pt x="42866" y="229915"/>
                        </a:moveTo>
                        <a:cubicBezTo>
                          <a:pt x="52679" y="220102"/>
                          <a:pt x="52679" y="204194"/>
                          <a:pt x="42866" y="194401"/>
                        </a:cubicBezTo>
                        <a:cubicBezTo>
                          <a:pt x="33053" y="184608"/>
                          <a:pt x="17145" y="184588"/>
                          <a:pt x="7352" y="194401"/>
                        </a:cubicBezTo>
                        <a:cubicBezTo>
                          <a:pt x="-2441" y="204214"/>
                          <a:pt x="-2461" y="220122"/>
                          <a:pt x="7352" y="229915"/>
                        </a:cubicBezTo>
                        <a:cubicBezTo>
                          <a:pt x="17164" y="239708"/>
                          <a:pt x="33074" y="239728"/>
                          <a:pt x="42866" y="229915"/>
                        </a:cubicBezTo>
                        <a:close/>
                        <a:moveTo>
                          <a:pt x="229915" y="42866"/>
                        </a:moveTo>
                        <a:cubicBezTo>
                          <a:pt x="239728" y="33054"/>
                          <a:pt x="239728" y="17145"/>
                          <a:pt x="229915" y="7352"/>
                        </a:cubicBezTo>
                        <a:cubicBezTo>
                          <a:pt x="220103" y="-2441"/>
                          <a:pt x="204194" y="-2461"/>
                          <a:pt x="194401" y="7352"/>
                        </a:cubicBezTo>
                        <a:cubicBezTo>
                          <a:pt x="184608" y="17165"/>
                          <a:pt x="184588" y="33073"/>
                          <a:pt x="194401" y="42866"/>
                        </a:cubicBezTo>
                        <a:cubicBezTo>
                          <a:pt x="204213" y="52659"/>
                          <a:pt x="220122" y="52679"/>
                          <a:pt x="229915" y="42866"/>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296" name="Graphic 10">
                  <a:extLst>
                    <a:ext uri="{FF2B5EF4-FFF2-40B4-BE49-F238E27FC236}">
                      <a16:creationId xmlns:a16="http://schemas.microsoft.com/office/drawing/2014/main" id="{087ABB76-B06B-484C-A945-E55A8B6B03A1}"/>
                    </a:ext>
                  </a:extLst>
                </p:cNvPr>
                <p:cNvGrpSpPr/>
                <p:nvPr/>
              </p:nvGrpSpPr>
              <p:grpSpPr>
                <a:xfrm>
                  <a:off x="8393272" y="9419202"/>
                  <a:ext cx="296354" cy="296354"/>
                  <a:chOff x="8393272" y="9419202"/>
                  <a:chExt cx="296354" cy="296354"/>
                </a:xfrm>
              </p:grpSpPr>
              <p:sp>
                <p:nvSpPr>
                  <p:cNvPr id="1305" name="Freeform: Shape 1304">
                    <a:extLst>
                      <a:ext uri="{FF2B5EF4-FFF2-40B4-BE49-F238E27FC236}">
                        <a16:creationId xmlns:a16="http://schemas.microsoft.com/office/drawing/2014/main" id="{6080DD5C-0CC2-4C15-8304-104F1BE5CCCF}"/>
                      </a:ext>
                    </a:extLst>
                  </p:cNvPr>
                  <p:cNvSpPr/>
                  <p:nvPr/>
                </p:nvSpPr>
                <p:spPr>
                  <a:xfrm>
                    <a:off x="8393272" y="9419202"/>
                    <a:ext cx="296354" cy="296354"/>
                  </a:xfrm>
                  <a:custGeom>
                    <a:avLst/>
                    <a:gdLst>
                      <a:gd name="connsiteX0" fmla="*/ 17595 w 296354"/>
                      <a:gd name="connsiteY0" fmla="*/ 102545 h 296354"/>
                      <a:gd name="connsiteX1" fmla="*/ 193809 w 296354"/>
                      <a:gd name="connsiteY1" fmla="*/ 278759 h 296354"/>
                      <a:gd name="connsiteX2" fmla="*/ 278760 w 296354"/>
                      <a:gd name="connsiteY2" fmla="*/ 278759 h 296354"/>
                      <a:gd name="connsiteX3" fmla="*/ 278760 w 296354"/>
                      <a:gd name="connsiteY3" fmla="*/ 193808 h 296354"/>
                      <a:gd name="connsiteX4" fmla="*/ 102545 w 296354"/>
                      <a:gd name="connsiteY4" fmla="*/ 17595 h 296354"/>
                      <a:gd name="connsiteX5" fmla="*/ 17595 w 296354"/>
                      <a:gd name="connsiteY5" fmla="*/ 17595 h 296354"/>
                      <a:gd name="connsiteX6" fmla="*/ 17595 w 296354"/>
                      <a:gd name="connsiteY6" fmla="*/ 102545 h 29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354" h="296354">
                        <a:moveTo>
                          <a:pt x="17595" y="102545"/>
                        </a:moveTo>
                        <a:lnTo>
                          <a:pt x="193809" y="278759"/>
                        </a:lnTo>
                        <a:cubicBezTo>
                          <a:pt x="217269" y="302219"/>
                          <a:pt x="255300" y="302219"/>
                          <a:pt x="278760" y="278759"/>
                        </a:cubicBezTo>
                        <a:cubicBezTo>
                          <a:pt x="302219" y="255299"/>
                          <a:pt x="302219" y="217268"/>
                          <a:pt x="278760" y="193808"/>
                        </a:cubicBezTo>
                        <a:lnTo>
                          <a:pt x="102545" y="17595"/>
                        </a:lnTo>
                        <a:cubicBezTo>
                          <a:pt x="79086" y="-5865"/>
                          <a:pt x="41054" y="-5865"/>
                          <a:pt x="17595" y="17595"/>
                        </a:cubicBezTo>
                        <a:cubicBezTo>
                          <a:pt x="-5865" y="41055"/>
                          <a:pt x="-5865" y="79086"/>
                          <a:pt x="17595" y="102545"/>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06" name="Freeform: Shape 1305">
                    <a:extLst>
                      <a:ext uri="{FF2B5EF4-FFF2-40B4-BE49-F238E27FC236}">
                        <a16:creationId xmlns:a16="http://schemas.microsoft.com/office/drawing/2014/main" id="{376A503D-F29B-44C2-B09C-A3A1129DAD66}"/>
                      </a:ext>
                    </a:extLst>
                  </p:cNvPr>
                  <p:cNvSpPr/>
                  <p:nvPr/>
                </p:nvSpPr>
                <p:spPr>
                  <a:xfrm>
                    <a:off x="8421166" y="9447116"/>
                    <a:ext cx="240526" cy="240526"/>
                  </a:xfrm>
                  <a:custGeom>
                    <a:avLst/>
                    <a:gdLst>
                      <a:gd name="connsiteX0" fmla="*/ 9837 w 240526"/>
                      <a:gd name="connsiteY0" fmla="*/ 9837 h 240526"/>
                      <a:gd name="connsiteX1" fmla="*/ 9837 w 240526"/>
                      <a:gd name="connsiteY1" fmla="*/ 57347 h 240526"/>
                      <a:gd name="connsiteX2" fmla="*/ 57347 w 240526"/>
                      <a:gd name="connsiteY2" fmla="*/ 57347 h 240526"/>
                      <a:gd name="connsiteX3" fmla="*/ 57347 w 240526"/>
                      <a:gd name="connsiteY3" fmla="*/ 9837 h 240526"/>
                      <a:gd name="connsiteX4" fmla="*/ 9837 w 240526"/>
                      <a:gd name="connsiteY4" fmla="*/ 9837 h 240526"/>
                      <a:gd name="connsiteX5" fmla="*/ 183180 w 240526"/>
                      <a:gd name="connsiteY5" fmla="*/ 183180 h 240526"/>
                      <a:gd name="connsiteX6" fmla="*/ 183180 w 240526"/>
                      <a:gd name="connsiteY6" fmla="*/ 230689 h 240526"/>
                      <a:gd name="connsiteX7" fmla="*/ 230689 w 240526"/>
                      <a:gd name="connsiteY7" fmla="*/ 230689 h 240526"/>
                      <a:gd name="connsiteX8" fmla="*/ 230689 w 240526"/>
                      <a:gd name="connsiteY8" fmla="*/ 183180 h 240526"/>
                      <a:gd name="connsiteX9" fmla="*/ 183180 w 240526"/>
                      <a:gd name="connsiteY9" fmla="*/ 183180 h 24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526" h="240526">
                        <a:moveTo>
                          <a:pt x="9837" y="9837"/>
                        </a:moveTo>
                        <a:cubicBezTo>
                          <a:pt x="-3279" y="22953"/>
                          <a:pt x="-3279" y="44230"/>
                          <a:pt x="9837" y="57347"/>
                        </a:cubicBezTo>
                        <a:cubicBezTo>
                          <a:pt x="22953" y="70463"/>
                          <a:pt x="44231" y="70463"/>
                          <a:pt x="57347" y="57347"/>
                        </a:cubicBezTo>
                        <a:cubicBezTo>
                          <a:pt x="70463" y="44230"/>
                          <a:pt x="70463" y="22953"/>
                          <a:pt x="57347" y="9837"/>
                        </a:cubicBezTo>
                        <a:cubicBezTo>
                          <a:pt x="44231" y="-3279"/>
                          <a:pt x="22953" y="-3279"/>
                          <a:pt x="9837" y="9837"/>
                        </a:cubicBezTo>
                        <a:close/>
                        <a:moveTo>
                          <a:pt x="183180" y="183180"/>
                        </a:moveTo>
                        <a:cubicBezTo>
                          <a:pt x="170064" y="196296"/>
                          <a:pt x="170064" y="217573"/>
                          <a:pt x="183180" y="230689"/>
                        </a:cubicBezTo>
                        <a:cubicBezTo>
                          <a:pt x="196297" y="243806"/>
                          <a:pt x="217573" y="243806"/>
                          <a:pt x="230689" y="230689"/>
                        </a:cubicBezTo>
                        <a:cubicBezTo>
                          <a:pt x="243805" y="217573"/>
                          <a:pt x="243805" y="196296"/>
                          <a:pt x="230689" y="183180"/>
                        </a:cubicBezTo>
                        <a:cubicBezTo>
                          <a:pt x="217573" y="170064"/>
                          <a:pt x="196297" y="170064"/>
                          <a:pt x="183180" y="183180"/>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297" name="Graphic 10">
                  <a:extLst>
                    <a:ext uri="{FF2B5EF4-FFF2-40B4-BE49-F238E27FC236}">
                      <a16:creationId xmlns:a16="http://schemas.microsoft.com/office/drawing/2014/main" id="{FD7404E2-BB5B-443C-BCA4-F89FDD59D068}"/>
                    </a:ext>
                  </a:extLst>
                </p:cNvPr>
                <p:cNvGrpSpPr/>
                <p:nvPr/>
              </p:nvGrpSpPr>
              <p:grpSpPr>
                <a:xfrm>
                  <a:off x="8432341" y="9638297"/>
                  <a:ext cx="107335" cy="210844"/>
                  <a:chOff x="8432341" y="9638297"/>
                  <a:chExt cx="107335" cy="210844"/>
                </a:xfrm>
              </p:grpSpPr>
              <p:sp>
                <p:nvSpPr>
                  <p:cNvPr id="1301" name="Freeform: Shape 1300">
                    <a:extLst>
                      <a:ext uri="{FF2B5EF4-FFF2-40B4-BE49-F238E27FC236}">
                        <a16:creationId xmlns:a16="http://schemas.microsoft.com/office/drawing/2014/main" id="{6909FA2B-8DAA-4691-A0A8-0477A64B33A9}"/>
                      </a:ext>
                    </a:extLst>
                  </p:cNvPr>
                  <p:cNvSpPr/>
                  <p:nvPr/>
                </p:nvSpPr>
                <p:spPr>
                  <a:xfrm rot="-2700000">
                    <a:off x="8421539" y="9682151"/>
                    <a:ext cx="131221" cy="17344"/>
                  </a:xfrm>
                  <a:custGeom>
                    <a:avLst/>
                    <a:gdLst>
                      <a:gd name="connsiteX0" fmla="*/ 0 w 131221"/>
                      <a:gd name="connsiteY0" fmla="*/ 0 h 17344"/>
                      <a:gd name="connsiteX1" fmla="*/ 131221 w 131221"/>
                      <a:gd name="connsiteY1" fmla="*/ 0 h 17344"/>
                      <a:gd name="connsiteX2" fmla="*/ 131221 w 131221"/>
                      <a:gd name="connsiteY2" fmla="*/ 17344 h 17344"/>
                      <a:gd name="connsiteX3" fmla="*/ 0 w 131221"/>
                      <a:gd name="connsiteY3" fmla="*/ 17344 h 17344"/>
                    </a:gdLst>
                    <a:ahLst/>
                    <a:cxnLst>
                      <a:cxn ang="0">
                        <a:pos x="connsiteX0" y="connsiteY0"/>
                      </a:cxn>
                      <a:cxn ang="0">
                        <a:pos x="connsiteX1" y="connsiteY1"/>
                      </a:cxn>
                      <a:cxn ang="0">
                        <a:pos x="connsiteX2" y="connsiteY2"/>
                      </a:cxn>
                      <a:cxn ang="0">
                        <a:pos x="connsiteX3" y="connsiteY3"/>
                      </a:cxn>
                    </a:cxnLst>
                    <a:rect l="l" t="t" r="r" b="b"/>
                    <a:pathLst>
                      <a:path w="131221" h="17344">
                        <a:moveTo>
                          <a:pt x="0" y="0"/>
                        </a:moveTo>
                        <a:lnTo>
                          <a:pt x="131221" y="0"/>
                        </a:lnTo>
                        <a:lnTo>
                          <a:pt x="131221" y="17344"/>
                        </a:lnTo>
                        <a:lnTo>
                          <a:pt x="0" y="1734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02" name="Freeform: Shape 1301">
                    <a:extLst>
                      <a:ext uri="{FF2B5EF4-FFF2-40B4-BE49-F238E27FC236}">
                        <a16:creationId xmlns:a16="http://schemas.microsoft.com/office/drawing/2014/main" id="{B25FE632-B55B-430D-91C4-D608235C080C}"/>
                      </a:ext>
                    </a:extLst>
                  </p:cNvPr>
                  <p:cNvSpPr/>
                  <p:nvPr/>
                </p:nvSpPr>
                <p:spPr>
                  <a:xfrm>
                    <a:off x="8432341" y="9728795"/>
                    <a:ext cx="17343" cy="120346"/>
                  </a:xfrm>
                  <a:custGeom>
                    <a:avLst/>
                    <a:gdLst>
                      <a:gd name="connsiteX0" fmla="*/ 8671 w 17343"/>
                      <a:gd name="connsiteY0" fmla="*/ 120347 h 120346"/>
                      <a:gd name="connsiteX1" fmla="*/ 17344 w 17343"/>
                      <a:gd name="connsiteY1" fmla="*/ 111675 h 120346"/>
                      <a:gd name="connsiteX2" fmla="*/ 17344 w 17343"/>
                      <a:gd name="connsiteY2" fmla="*/ 8672 h 120346"/>
                      <a:gd name="connsiteX3" fmla="*/ 8671 w 17343"/>
                      <a:gd name="connsiteY3" fmla="*/ 0 h 120346"/>
                      <a:gd name="connsiteX4" fmla="*/ 0 w 17343"/>
                      <a:gd name="connsiteY4" fmla="*/ 8672 h 120346"/>
                      <a:gd name="connsiteX5" fmla="*/ 0 w 17343"/>
                      <a:gd name="connsiteY5" fmla="*/ 111675 h 120346"/>
                      <a:gd name="connsiteX6" fmla="*/ 8671 w 17343"/>
                      <a:gd name="connsiteY6" fmla="*/ 120347 h 12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43" h="120346">
                        <a:moveTo>
                          <a:pt x="8671" y="120347"/>
                        </a:moveTo>
                        <a:cubicBezTo>
                          <a:pt x="13470" y="120347"/>
                          <a:pt x="17344" y="116473"/>
                          <a:pt x="17344" y="111675"/>
                        </a:cubicBezTo>
                        <a:lnTo>
                          <a:pt x="17344" y="8672"/>
                        </a:lnTo>
                        <a:cubicBezTo>
                          <a:pt x="17344" y="3874"/>
                          <a:pt x="13470" y="0"/>
                          <a:pt x="8671" y="0"/>
                        </a:cubicBezTo>
                        <a:cubicBezTo>
                          <a:pt x="3873" y="0"/>
                          <a:pt x="0" y="3874"/>
                          <a:pt x="0" y="8672"/>
                        </a:cubicBezTo>
                        <a:lnTo>
                          <a:pt x="0" y="111675"/>
                        </a:lnTo>
                        <a:cubicBezTo>
                          <a:pt x="0" y="116473"/>
                          <a:pt x="3873" y="120347"/>
                          <a:pt x="8671" y="120347"/>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03" name="Freeform: Shape 1302">
                    <a:extLst>
                      <a:ext uri="{FF2B5EF4-FFF2-40B4-BE49-F238E27FC236}">
                        <a16:creationId xmlns:a16="http://schemas.microsoft.com/office/drawing/2014/main" id="{ED677BF3-25B9-42F0-9B5A-E8E68A7849BA}"/>
                      </a:ext>
                    </a:extLst>
                  </p:cNvPr>
                  <p:cNvSpPr/>
                  <p:nvPr/>
                </p:nvSpPr>
                <p:spPr>
                  <a:xfrm>
                    <a:off x="8435295" y="9731750"/>
                    <a:ext cx="10943" cy="10943"/>
                  </a:xfrm>
                  <a:custGeom>
                    <a:avLst/>
                    <a:gdLst>
                      <a:gd name="connsiteX0" fmla="*/ 9336 w 10943"/>
                      <a:gd name="connsiteY0" fmla="*/ 1608 h 10943"/>
                      <a:gd name="connsiteX1" fmla="*/ 1607 w 10943"/>
                      <a:gd name="connsiteY1" fmla="*/ 1608 h 10943"/>
                      <a:gd name="connsiteX2" fmla="*/ 1607 w 10943"/>
                      <a:gd name="connsiteY2" fmla="*/ 9336 h 10943"/>
                      <a:gd name="connsiteX3" fmla="*/ 9336 w 10943"/>
                      <a:gd name="connsiteY3" fmla="*/ 9336 h 10943"/>
                      <a:gd name="connsiteX4" fmla="*/ 9336 w 10943"/>
                      <a:gd name="connsiteY4" fmla="*/ 1608 h 10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43" h="10943">
                        <a:moveTo>
                          <a:pt x="9336" y="1608"/>
                        </a:moveTo>
                        <a:cubicBezTo>
                          <a:pt x="7192" y="-536"/>
                          <a:pt x="3750" y="-536"/>
                          <a:pt x="1607" y="1608"/>
                        </a:cubicBezTo>
                        <a:cubicBezTo>
                          <a:pt x="-536" y="3751"/>
                          <a:pt x="-536" y="7192"/>
                          <a:pt x="1607" y="9336"/>
                        </a:cubicBezTo>
                        <a:cubicBezTo>
                          <a:pt x="3750" y="11479"/>
                          <a:pt x="7192" y="11479"/>
                          <a:pt x="9336" y="9336"/>
                        </a:cubicBezTo>
                        <a:cubicBezTo>
                          <a:pt x="11479" y="7192"/>
                          <a:pt x="11479" y="3751"/>
                          <a:pt x="9336" y="1608"/>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04" name="Freeform: Shape 1303">
                    <a:extLst>
                      <a:ext uri="{FF2B5EF4-FFF2-40B4-BE49-F238E27FC236}">
                        <a16:creationId xmlns:a16="http://schemas.microsoft.com/office/drawing/2014/main" id="{7516EBCF-8157-48C0-8749-C6AA38A66B7A}"/>
                      </a:ext>
                    </a:extLst>
                  </p:cNvPr>
                  <p:cNvSpPr/>
                  <p:nvPr/>
                </p:nvSpPr>
                <p:spPr>
                  <a:xfrm>
                    <a:off x="8435551" y="9834988"/>
                    <a:ext cx="10943" cy="10943"/>
                  </a:xfrm>
                  <a:custGeom>
                    <a:avLst/>
                    <a:gdLst>
                      <a:gd name="connsiteX0" fmla="*/ 9336 w 10943"/>
                      <a:gd name="connsiteY0" fmla="*/ 1608 h 10943"/>
                      <a:gd name="connsiteX1" fmla="*/ 1607 w 10943"/>
                      <a:gd name="connsiteY1" fmla="*/ 1608 h 10943"/>
                      <a:gd name="connsiteX2" fmla="*/ 1607 w 10943"/>
                      <a:gd name="connsiteY2" fmla="*/ 9336 h 10943"/>
                      <a:gd name="connsiteX3" fmla="*/ 9336 w 10943"/>
                      <a:gd name="connsiteY3" fmla="*/ 9336 h 10943"/>
                      <a:gd name="connsiteX4" fmla="*/ 9336 w 10943"/>
                      <a:gd name="connsiteY4" fmla="*/ 1608 h 10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43" h="10943">
                        <a:moveTo>
                          <a:pt x="9336" y="1608"/>
                        </a:moveTo>
                        <a:cubicBezTo>
                          <a:pt x="7193" y="-536"/>
                          <a:pt x="3751" y="-536"/>
                          <a:pt x="1607" y="1608"/>
                        </a:cubicBezTo>
                        <a:cubicBezTo>
                          <a:pt x="-536" y="3751"/>
                          <a:pt x="-536" y="7192"/>
                          <a:pt x="1607" y="9336"/>
                        </a:cubicBezTo>
                        <a:cubicBezTo>
                          <a:pt x="3751" y="11479"/>
                          <a:pt x="7193" y="11479"/>
                          <a:pt x="9336" y="9336"/>
                        </a:cubicBezTo>
                        <a:cubicBezTo>
                          <a:pt x="11479" y="7192"/>
                          <a:pt x="11479" y="3751"/>
                          <a:pt x="9336" y="1608"/>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298" name="Graphic 10">
                  <a:extLst>
                    <a:ext uri="{FF2B5EF4-FFF2-40B4-BE49-F238E27FC236}">
                      <a16:creationId xmlns:a16="http://schemas.microsoft.com/office/drawing/2014/main" id="{3BD11F86-81C9-47E2-A1E4-E74096E8826E}"/>
                    </a:ext>
                  </a:extLst>
                </p:cNvPr>
                <p:cNvGrpSpPr/>
                <p:nvPr/>
              </p:nvGrpSpPr>
              <p:grpSpPr>
                <a:xfrm>
                  <a:off x="7985288" y="8758135"/>
                  <a:ext cx="904311" cy="449530"/>
                  <a:chOff x="7985288" y="8758135"/>
                  <a:chExt cx="904311" cy="449530"/>
                </a:xfrm>
              </p:grpSpPr>
              <p:sp>
                <p:nvSpPr>
                  <p:cNvPr id="1299" name="Freeform: Shape 1298">
                    <a:extLst>
                      <a:ext uri="{FF2B5EF4-FFF2-40B4-BE49-F238E27FC236}">
                        <a16:creationId xmlns:a16="http://schemas.microsoft.com/office/drawing/2014/main" id="{F2D21ECA-7648-479B-9052-C676441F5C57}"/>
                      </a:ext>
                    </a:extLst>
                  </p:cNvPr>
                  <p:cNvSpPr/>
                  <p:nvPr/>
                </p:nvSpPr>
                <p:spPr>
                  <a:xfrm>
                    <a:off x="7989220" y="8762068"/>
                    <a:ext cx="896426" cy="441664"/>
                  </a:xfrm>
                  <a:custGeom>
                    <a:avLst/>
                    <a:gdLst>
                      <a:gd name="connsiteX0" fmla="*/ 80900 w 896426"/>
                      <a:gd name="connsiteY0" fmla="*/ 441665 h 441664"/>
                      <a:gd name="connsiteX1" fmla="*/ 0 w 896426"/>
                      <a:gd name="connsiteY1" fmla="*/ 360765 h 441664"/>
                      <a:gd name="connsiteX2" fmla="*/ 80900 w 896426"/>
                      <a:gd name="connsiteY2" fmla="*/ 279865 h 441664"/>
                      <a:gd name="connsiteX3" fmla="*/ 114035 w 896426"/>
                      <a:gd name="connsiteY3" fmla="*/ 287023 h 441664"/>
                      <a:gd name="connsiteX4" fmla="*/ 113680 w 896426"/>
                      <a:gd name="connsiteY4" fmla="*/ 279865 h 441664"/>
                      <a:gd name="connsiteX5" fmla="*/ 275480 w 896426"/>
                      <a:gd name="connsiteY5" fmla="*/ 118066 h 441664"/>
                      <a:gd name="connsiteX6" fmla="*/ 382731 w 896426"/>
                      <a:gd name="connsiteY6" fmla="*/ 158948 h 441664"/>
                      <a:gd name="connsiteX7" fmla="*/ 594695 w 896426"/>
                      <a:gd name="connsiteY7" fmla="*/ 0 h 441664"/>
                      <a:gd name="connsiteX8" fmla="*/ 815527 w 896426"/>
                      <a:gd name="connsiteY8" fmla="*/ 220832 h 441664"/>
                      <a:gd name="connsiteX9" fmla="*/ 807366 w 896426"/>
                      <a:gd name="connsiteY9" fmla="*/ 280278 h 441664"/>
                      <a:gd name="connsiteX10" fmla="*/ 815527 w 896426"/>
                      <a:gd name="connsiteY10" fmla="*/ 279865 h 441664"/>
                      <a:gd name="connsiteX11" fmla="*/ 896427 w 896426"/>
                      <a:gd name="connsiteY11" fmla="*/ 360765 h 441664"/>
                      <a:gd name="connsiteX12" fmla="*/ 815527 w 896426"/>
                      <a:gd name="connsiteY12" fmla="*/ 441665 h 441664"/>
                      <a:gd name="connsiteX13" fmla="*/ 80920 w 896426"/>
                      <a:gd name="connsiteY13" fmla="*/ 441665 h 44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6426" h="441664">
                        <a:moveTo>
                          <a:pt x="80900" y="441665"/>
                        </a:moveTo>
                        <a:cubicBezTo>
                          <a:pt x="36222" y="441665"/>
                          <a:pt x="0" y="405443"/>
                          <a:pt x="0" y="360765"/>
                        </a:cubicBezTo>
                        <a:cubicBezTo>
                          <a:pt x="0" y="316087"/>
                          <a:pt x="36222" y="279865"/>
                          <a:pt x="80900" y="279865"/>
                        </a:cubicBezTo>
                        <a:cubicBezTo>
                          <a:pt x="92718" y="279865"/>
                          <a:pt x="103927" y="282461"/>
                          <a:pt x="114035" y="287023"/>
                        </a:cubicBezTo>
                        <a:cubicBezTo>
                          <a:pt x="113937" y="284644"/>
                          <a:pt x="113680" y="282284"/>
                          <a:pt x="113680" y="279865"/>
                        </a:cubicBezTo>
                        <a:cubicBezTo>
                          <a:pt x="113680" y="190510"/>
                          <a:pt x="186125" y="118066"/>
                          <a:pt x="275480" y="118066"/>
                        </a:cubicBezTo>
                        <a:cubicBezTo>
                          <a:pt x="316677" y="118066"/>
                          <a:pt x="354158" y="133601"/>
                          <a:pt x="382731" y="158948"/>
                        </a:cubicBezTo>
                        <a:cubicBezTo>
                          <a:pt x="409494" y="67115"/>
                          <a:pt x="494228" y="0"/>
                          <a:pt x="594695" y="0"/>
                        </a:cubicBezTo>
                        <a:cubicBezTo>
                          <a:pt x="716654" y="0"/>
                          <a:pt x="815527" y="98873"/>
                          <a:pt x="815527" y="220832"/>
                        </a:cubicBezTo>
                        <a:cubicBezTo>
                          <a:pt x="815527" y="241441"/>
                          <a:pt x="812636" y="261361"/>
                          <a:pt x="807366" y="280278"/>
                        </a:cubicBezTo>
                        <a:cubicBezTo>
                          <a:pt x="810040" y="280003"/>
                          <a:pt x="812774" y="279865"/>
                          <a:pt x="815527" y="279865"/>
                        </a:cubicBezTo>
                        <a:cubicBezTo>
                          <a:pt x="860205" y="279865"/>
                          <a:pt x="896427" y="316087"/>
                          <a:pt x="896427" y="360765"/>
                        </a:cubicBezTo>
                        <a:cubicBezTo>
                          <a:pt x="896427" y="405443"/>
                          <a:pt x="860205" y="441665"/>
                          <a:pt x="815527" y="441665"/>
                        </a:cubicBezTo>
                        <a:lnTo>
                          <a:pt x="80920" y="441665"/>
                        </a:lnTo>
                        <a:close/>
                      </a:path>
                    </a:pathLst>
                  </a:custGeom>
                  <a:solidFill>
                    <a:srgbClr val="305289"/>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300" name="Freeform: Shape 1299">
                    <a:extLst>
                      <a:ext uri="{FF2B5EF4-FFF2-40B4-BE49-F238E27FC236}">
                        <a16:creationId xmlns:a16="http://schemas.microsoft.com/office/drawing/2014/main" id="{5DEC0EA5-0BBD-400D-979E-51DB41D48983}"/>
                      </a:ext>
                    </a:extLst>
                  </p:cNvPr>
                  <p:cNvSpPr/>
                  <p:nvPr/>
                </p:nvSpPr>
                <p:spPr>
                  <a:xfrm>
                    <a:off x="7985288" y="8758135"/>
                    <a:ext cx="904311" cy="449530"/>
                  </a:xfrm>
                  <a:custGeom>
                    <a:avLst/>
                    <a:gdLst>
                      <a:gd name="connsiteX0" fmla="*/ 819440 w 904311"/>
                      <a:gd name="connsiteY0" fmla="*/ 449531 h 449530"/>
                      <a:gd name="connsiteX1" fmla="*/ 84833 w 904311"/>
                      <a:gd name="connsiteY1" fmla="*/ 449531 h 449530"/>
                      <a:gd name="connsiteX2" fmla="*/ 0 w 904311"/>
                      <a:gd name="connsiteY2" fmla="*/ 364698 h 449530"/>
                      <a:gd name="connsiteX3" fmla="*/ 84833 w 904311"/>
                      <a:gd name="connsiteY3" fmla="*/ 279865 h 449530"/>
                      <a:gd name="connsiteX4" fmla="*/ 113700 w 904311"/>
                      <a:gd name="connsiteY4" fmla="*/ 284958 h 449530"/>
                      <a:gd name="connsiteX5" fmla="*/ 113700 w 904311"/>
                      <a:gd name="connsiteY5" fmla="*/ 283798 h 449530"/>
                      <a:gd name="connsiteX6" fmla="*/ 279433 w 904311"/>
                      <a:gd name="connsiteY6" fmla="*/ 118066 h 449530"/>
                      <a:gd name="connsiteX7" fmla="*/ 384677 w 904311"/>
                      <a:gd name="connsiteY7" fmla="*/ 155979 h 449530"/>
                      <a:gd name="connsiteX8" fmla="*/ 462647 w 904311"/>
                      <a:gd name="connsiteY8" fmla="*/ 45838 h 449530"/>
                      <a:gd name="connsiteX9" fmla="*/ 598647 w 904311"/>
                      <a:gd name="connsiteY9" fmla="*/ 0 h 449530"/>
                      <a:gd name="connsiteX10" fmla="*/ 823413 w 904311"/>
                      <a:gd name="connsiteY10" fmla="*/ 224765 h 449530"/>
                      <a:gd name="connsiteX11" fmla="*/ 816530 w 904311"/>
                      <a:gd name="connsiteY11" fmla="*/ 279924 h 449530"/>
                      <a:gd name="connsiteX12" fmla="*/ 819480 w 904311"/>
                      <a:gd name="connsiteY12" fmla="*/ 279865 h 449530"/>
                      <a:gd name="connsiteX13" fmla="*/ 904312 w 904311"/>
                      <a:gd name="connsiteY13" fmla="*/ 364698 h 449530"/>
                      <a:gd name="connsiteX14" fmla="*/ 819480 w 904311"/>
                      <a:gd name="connsiteY14" fmla="*/ 449531 h 449530"/>
                      <a:gd name="connsiteX15" fmla="*/ 84833 w 904311"/>
                      <a:gd name="connsiteY15" fmla="*/ 287731 h 449530"/>
                      <a:gd name="connsiteX16" fmla="*/ 7866 w 904311"/>
                      <a:gd name="connsiteY16" fmla="*/ 364698 h 449530"/>
                      <a:gd name="connsiteX17" fmla="*/ 84833 w 904311"/>
                      <a:gd name="connsiteY17" fmla="*/ 441665 h 449530"/>
                      <a:gd name="connsiteX18" fmla="*/ 819440 w 904311"/>
                      <a:gd name="connsiteY18" fmla="*/ 441665 h 449530"/>
                      <a:gd name="connsiteX19" fmla="*/ 896407 w 904311"/>
                      <a:gd name="connsiteY19" fmla="*/ 364698 h 449530"/>
                      <a:gd name="connsiteX20" fmla="*/ 819440 w 904311"/>
                      <a:gd name="connsiteY20" fmla="*/ 287731 h 449530"/>
                      <a:gd name="connsiteX21" fmla="*/ 811673 w 904311"/>
                      <a:gd name="connsiteY21" fmla="*/ 288124 h 449530"/>
                      <a:gd name="connsiteX22" fmla="*/ 805950 w 904311"/>
                      <a:gd name="connsiteY22" fmla="*/ 288695 h 449530"/>
                      <a:gd name="connsiteX23" fmla="*/ 807504 w 904311"/>
                      <a:gd name="connsiteY23" fmla="*/ 283149 h 449530"/>
                      <a:gd name="connsiteX24" fmla="*/ 815527 w 904311"/>
                      <a:gd name="connsiteY24" fmla="*/ 224765 h 449530"/>
                      <a:gd name="connsiteX25" fmla="*/ 598628 w 904311"/>
                      <a:gd name="connsiteY25" fmla="*/ 7866 h 449530"/>
                      <a:gd name="connsiteX26" fmla="*/ 390439 w 904311"/>
                      <a:gd name="connsiteY26" fmla="*/ 163982 h 449530"/>
                      <a:gd name="connsiteX27" fmla="*/ 388709 w 904311"/>
                      <a:gd name="connsiteY27" fmla="*/ 169941 h 449530"/>
                      <a:gd name="connsiteX28" fmla="*/ 384067 w 904311"/>
                      <a:gd name="connsiteY28" fmla="*/ 165811 h 449530"/>
                      <a:gd name="connsiteX29" fmla="*/ 279433 w 904311"/>
                      <a:gd name="connsiteY29" fmla="*/ 125932 h 449530"/>
                      <a:gd name="connsiteX30" fmla="*/ 121566 w 904311"/>
                      <a:gd name="connsiteY30" fmla="*/ 283798 h 449530"/>
                      <a:gd name="connsiteX31" fmla="*/ 121763 w 904311"/>
                      <a:gd name="connsiteY31" fmla="*/ 288026 h 449530"/>
                      <a:gd name="connsiteX32" fmla="*/ 121920 w 904311"/>
                      <a:gd name="connsiteY32" fmla="*/ 290779 h 449530"/>
                      <a:gd name="connsiteX33" fmla="*/ 122195 w 904311"/>
                      <a:gd name="connsiteY33" fmla="*/ 297150 h 449530"/>
                      <a:gd name="connsiteX34" fmla="*/ 116374 w 904311"/>
                      <a:gd name="connsiteY34" fmla="*/ 294535 h 449530"/>
                      <a:gd name="connsiteX35" fmla="*/ 84853 w 904311"/>
                      <a:gd name="connsiteY35" fmla="*/ 287731 h 449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04311" h="449530">
                        <a:moveTo>
                          <a:pt x="819440" y="449531"/>
                        </a:moveTo>
                        <a:lnTo>
                          <a:pt x="84833" y="449531"/>
                        </a:lnTo>
                        <a:cubicBezTo>
                          <a:pt x="38051" y="449531"/>
                          <a:pt x="0" y="411480"/>
                          <a:pt x="0" y="364698"/>
                        </a:cubicBezTo>
                        <a:cubicBezTo>
                          <a:pt x="0" y="317916"/>
                          <a:pt x="38051" y="279865"/>
                          <a:pt x="84833" y="279865"/>
                        </a:cubicBezTo>
                        <a:cubicBezTo>
                          <a:pt x="94724" y="279865"/>
                          <a:pt x="104418" y="281576"/>
                          <a:pt x="113700" y="284958"/>
                        </a:cubicBezTo>
                        <a:cubicBezTo>
                          <a:pt x="113700" y="284565"/>
                          <a:pt x="113700" y="284192"/>
                          <a:pt x="113700" y="283798"/>
                        </a:cubicBezTo>
                        <a:cubicBezTo>
                          <a:pt x="113700" y="192417"/>
                          <a:pt x="188052" y="118066"/>
                          <a:pt x="279433" y="118066"/>
                        </a:cubicBezTo>
                        <a:cubicBezTo>
                          <a:pt x="317838" y="118066"/>
                          <a:pt x="354983" y="131497"/>
                          <a:pt x="384677" y="155979"/>
                        </a:cubicBezTo>
                        <a:cubicBezTo>
                          <a:pt x="398659" y="112560"/>
                          <a:pt x="426169" y="73624"/>
                          <a:pt x="462647" y="45838"/>
                        </a:cubicBezTo>
                        <a:cubicBezTo>
                          <a:pt x="502015" y="15850"/>
                          <a:pt x="549033" y="0"/>
                          <a:pt x="598647" y="0"/>
                        </a:cubicBezTo>
                        <a:cubicBezTo>
                          <a:pt x="722573" y="0"/>
                          <a:pt x="823413" y="100820"/>
                          <a:pt x="823413" y="224765"/>
                        </a:cubicBezTo>
                        <a:cubicBezTo>
                          <a:pt x="823413" y="243329"/>
                          <a:pt x="821092" y="261853"/>
                          <a:pt x="816530" y="279924"/>
                        </a:cubicBezTo>
                        <a:cubicBezTo>
                          <a:pt x="817513" y="279885"/>
                          <a:pt x="818497" y="279865"/>
                          <a:pt x="819480" y="279865"/>
                        </a:cubicBezTo>
                        <a:cubicBezTo>
                          <a:pt x="866261" y="279865"/>
                          <a:pt x="904312" y="317916"/>
                          <a:pt x="904312" y="364698"/>
                        </a:cubicBezTo>
                        <a:cubicBezTo>
                          <a:pt x="904312" y="411480"/>
                          <a:pt x="866261" y="449531"/>
                          <a:pt x="819480" y="449531"/>
                        </a:cubicBezTo>
                        <a:close/>
                        <a:moveTo>
                          <a:pt x="84833" y="287731"/>
                        </a:moveTo>
                        <a:cubicBezTo>
                          <a:pt x="42397" y="287731"/>
                          <a:pt x="7866" y="322262"/>
                          <a:pt x="7866" y="364698"/>
                        </a:cubicBezTo>
                        <a:cubicBezTo>
                          <a:pt x="7866" y="407134"/>
                          <a:pt x="42397" y="441665"/>
                          <a:pt x="84833" y="441665"/>
                        </a:cubicBezTo>
                        <a:lnTo>
                          <a:pt x="819440" y="441665"/>
                        </a:lnTo>
                        <a:cubicBezTo>
                          <a:pt x="861876" y="441665"/>
                          <a:pt x="896407" y="407134"/>
                          <a:pt x="896407" y="364698"/>
                        </a:cubicBezTo>
                        <a:cubicBezTo>
                          <a:pt x="896407" y="322262"/>
                          <a:pt x="861876" y="287731"/>
                          <a:pt x="819440" y="287731"/>
                        </a:cubicBezTo>
                        <a:cubicBezTo>
                          <a:pt x="816864" y="287731"/>
                          <a:pt x="814268" y="287869"/>
                          <a:pt x="811673" y="288124"/>
                        </a:cubicBezTo>
                        <a:lnTo>
                          <a:pt x="805950" y="288695"/>
                        </a:lnTo>
                        <a:lnTo>
                          <a:pt x="807504" y="283149"/>
                        </a:lnTo>
                        <a:cubicBezTo>
                          <a:pt x="812813" y="264075"/>
                          <a:pt x="815527" y="244430"/>
                          <a:pt x="815527" y="224765"/>
                        </a:cubicBezTo>
                        <a:cubicBezTo>
                          <a:pt x="815527" y="105166"/>
                          <a:pt x="718227" y="7866"/>
                          <a:pt x="598628" y="7866"/>
                        </a:cubicBezTo>
                        <a:cubicBezTo>
                          <a:pt x="502842" y="7866"/>
                          <a:pt x="417222" y="72070"/>
                          <a:pt x="390439" y="163982"/>
                        </a:cubicBezTo>
                        <a:lnTo>
                          <a:pt x="388709" y="169941"/>
                        </a:lnTo>
                        <a:lnTo>
                          <a:pt x="384067" y="165811"/>
                        </a:lnTo>
                        <a:cubicBezTo>
                          <a:pt x="355082" y="140090"/>
                          <a:pt x="317936" y="125932"/>
                          <a:pt x="279433" y="125932"/>
                        </a:cubicBezTo>
                        <a:cubicBezTo>
                          <a:pt x="192398" y="125932"/>
                          <a:pt x="121566" y="196743"/>
                          <a:pt x="121566" y="283798"/>
                        </a:cubicBezTo>
                        <a:cubicBezTo>
                          <a:pt x="121566" y="285175"/>
                          <a:pt x="121664" y="286551"/>
                          <a:pt x="121763" y="288026"/>
                        </a:cubicBezTo>
                        <a:cubicBezTo>
                          <a:pt x="121822" y="288950"/>
                          <a:pt x="121881" y="289855"/>
                          <a:pt x="121920" y="290779"/>
                        </a:cubicBezTo>
                        <a:lnTo>
                          <a:pt x="122195" y="297150"/>
                        </a:lnTo>
                        <a:lnTo>
                          <a:pt x="116374" y="294535"/>
                        </a:lnTo>
                        <a:cubicBezTo>
                          <a:pt x="106345" y="290012"/>
                          <a:pt x="95727" y="287731"/>
                          <a:pt x="84853" y="287731"/>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795" name="Graphic 10">
                <a:extLst>
                  <a:ext uri="{FF2B5EF4-FFF2-40B4-BE49-F238E27FC236}">
                    <a16:creationId xmlns:a16="http://schemas.microsoft.com/office/drawing/2014/main" id="{A16B2DB6-89FA-4725-84D0-07FF3716E73E}"/>
                  </a:ext>
                </a:extLst>
              </p:cNvPr>
              <p:cNvGrpSpPr/>
              <p:nvPr/>
            </p:nvGrpSpPr>
            <p:grpSpPr>
              <a:xfrm>
                <a:off x="9402391" y="9203713"/>
                <a:ext cx="983422" cy="1290877"/>
                <a:chOff x="9402391" y="9203713"/>
                <a:chExt cx="983422" cy="1290877"/>
              </a:xfrm>
            </p:grpSpPr>
            <p:grpSp>
              <p:nvGrpSpPr>
                <p:cNvPr id="1255" name="Graphic 10">
                  <a:extLst>
                    <a:ext uri="{FF2B5EF4-FFF2-40B4-BE49-F238E27FC236}">
                      <a16:creationId xmlns:a16="http://schemas.microsoft.com/office/drawing/2014/main" id="{701B4870-4296-4655-B928-183EDDA3A3D0}"/>
                    </a:ext>
                  </a:extLst>
                </p:cNvPr>
                <p:cNvGrpSpPr/>
                <p:nvPr/>
              </p:nvGrpSpPr>
              <p:grpSpPr>
                <a:xfrm>
                  <a:off x="9963597" y="10072039"/>
                  <a:ext cx="422216" cy="422551"/>
                  <a:chOff x="9963597" y="10072039"/>
                  <a:chExt cx="422216" cy="422551"/>
                </a:xfrm>
              </p:grpSpPr>
              <p:grpSp>
                <p:nvGrpSpPr>
                  <p:cNvPr id="1266" name="Graphic 10">
                    <a:extLst>
                      <a:ext uri="{FF2B5EF4-FFF2-40B4-BE49-F238E27FC236}">
                        <a16:creationId xmlns:a16="http://schemas.microsoft.com/office/drawing/2014/main" id="{B5AD0D02-7901-4385-97E3-7838BBF02536}"/>
                      </a:ext>
                    </a:extLst>
                  </p:cNvPr>
                  <p:cNvGrpSpPr/>
                  <p:nvPr/>
                </p:nvGrpSpPr>
                <p:grpSpPr>
                  <a:xfrm>
                    <a:off x="10274060" y="10125035"/>
                    <a:ext cx="111753" cy="369555"/>
                    <a:chOff x="10274060" y="10125035"/>
                    <a:chExt cx="111753" cy="369555"/>
                  </a:xfrm>
                </p:grpSpPr>
                <p:sp>
                  <p:nvSpPr>
                    <p:cNvPr id="1277" name="Freeform: Shape 1276">
                      <a:extLst>
                        <a:ext uri="{FF2B5EF4-FFF2-40B4-BE49-F238E27FC236}">
                          <a16:creationId xmlns:a16="http://schemas.microsoft.com/office/drawing/2014/main" id="{1EF32C11-4F1B-4394-9FDF-B839499396B1}"/>
                        </a:ext>
                      </a:extLst>
                    </p:cNvPr>
                    <p:cNvSpPr/>
                    <p:nvPr/>
                  </p:nvSpPr>
                  <p:spPr>
                    <a:xfrm>
                      <a:off x="10318640" y="10302979"/>
                      <a:ext cx="22574" cy="51933"/>
                    </a:xfrm>
                    <a:custGeom>
                      <a:avLst/>
                      <a:gdLst>
                        <a:gd name="connsiteX0" fmla="*/ 0 w 22574"/>
                        <a:gd name="connsiteY0" fmla="*/ 0 h 51933"/>
                        <a:gd name="connsiteX1" fmla="*/ 22575 w 22574"/>
                        <a:gd name="connsiteY1" fmla="*/ 0 h 51933"/>
                        <a:gd name="connsiteX2" fmla="*/ 22575 w 22574"/>
                        <a:gd name="connsiteY2" fmla="*/ 51934 h 51933"/>
                        <a:gd name="connsiteX3" fmla="*/ 0 w 22574"/>
                        <a:gd name="connsiteY3" fmla="*/ 51934 h 51933"/>
                      </a:gdLst>
                      <a:ahLst/>
                      <a:cxnLst>
                        <a:cxn ang="0">
                          <a:pos x="connsiteX0" y="connsiteY0"/>
                        </a:cxn>
                        <a:cxn ang="0">
                          <a:pos x="connsiteX1" y="connsiteY1"/>
                        </a:cxn>
                        <a:cxn ang="0">
                          <a:pos x="connsiteX2" y="connsiteY2"/>
                        </a:cxn>
                        <a:cxn ang="0">
                          <a:pos x="connsiteX3" y="connsiteY3"/>
                        </a:cxn>
                      </a:cxnLst>
                      <a:rect l="l" t="t" r="r" b="b"/>
                      <a:pathLst>
                        <a:path w="22574" h="51933">
                          <a:moveTo>
                            <a:pt x="0" y="0"/>
                          </a:moveTo>
                          <a:lnTo>
                            <a:pt x="22575" y="0"/>
                          </a:lnTo>
                          <a:lnTo>
                            <a:pt x="22575" y="51934"/>
                          </a:lnTo>
                          <a:lnTo>
                            <a:pt x="0" y="51934"/>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78" name="Freeform: Shape 1277">
                      <a:extLst>
                        <a:ext uri="{FF2B5EF4-FFF2-40B4-BE49-F238E27FC236}">
                          <a16:creationId xmlns:a16="http://schemas.microsoft.com/office/drawing/2014/main" id="{DE424F1E-955E-41E1-8FEB-26BC05445C73}"/>
                        </a:ext>
                      </a:extLst>
                    </p:cNvPr>
                    <p:cNvSpPr/>
                    <p:nvPr/>
                  </p:nvSpPr>
                  <p:spPr>
                    <a:xfrm>
                      <a:off x="10318640" y="10125035"/>
                      <a:ext cx="22574" cy="126423"/>
                    </a:xfrm>
                    <a:custGeom>
                      <a:avLst/>
                      <a:gdLst>
                        <a:gd name="connsiteX0" fmla="*/ 0 w 22574"/>
                        <a:gd name="connsiteY0" fmla="*/ 0 h 126423"/>
                        <a:gd name="connsiteX1" fmla="*/ 22575 w 22574"/>
                        <a:gd name="connsiteY1" fmla="*/ 0 h 126423"/>
                        <a:gd name="connsiteX2" fmla="*/ 22575 w 22574"/>
                        <a:gd name="connsiteY2" fmla="*/ 126423 h 126423"/>
                        <a:gd name="connsiteX3" fmla="*/ 0 w 22574"/>
                        <a:gd name="connsiteY3" fmla="*/ 126423 h 126423"/>
                      </a:gdLst>
                      <a:ahLst/>
                      <a:cxnLst>
                        <a:cxn ang="0">
                          <a:pos x="connsiteX0" y="connsiteY0"/>
                        </a:cxn>
                        <a:cxn ang="0">
                          <a:pos x="connsiteX1" y="connsiteY1"/>
                        </a:cxn>
                        <a:cxn ang="0">
                          <a:pos x="connsiteX2" y="connsiteY2"/>
                        </a:cxn>
                        <a:cxn ang="0">
                          <a:pos x="connsiteX3" y="connsiteY3"/>
                        </a:cxn>
                      </a:cxnLst>
                      <a:rect l="l" t="t" r="r" b="b"/>
                      <a:pathLst>
                        <a:path w="22574" h="126423">
                          <a:moveTo>
                            <a:pt x="0" y="0"/>
                          </a:moveTo>
                          <a:lnTo>
                            <a:pt x="22575" y="0"/>
                          </a:lnTo>
                          <a:lnTo>
                            <a:pt x="22575" y="126423"/>
                          </a:lnTo>
                          <a:lnTo>
                            <a:pt x="0" y="126423"/>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79" name="Freeform: Shape 1278">
                      <a:extLst>
                        <a:ext uri="{FF2B5EF4-FFF2-40B4-BE49-F238E27FC236}">
                          <a16:creationId xmlns:a16="http://schemas.microsoft.com/office/drawing/2014/main" id="{B016317F-1A24-4713-B99A-43593CDBA406}"/>
                        </a:ext>
                      </a:extLst>
                    </p:cNvPr>
                    <p:cNvSpPr/>
                    <p:nvPr/>
                  </p:nvSpPr>
                  <p:spPr>
                    <a:xfrm>
                      <a:off x="10324638" y="10438625"/>
                      <a:ext cx="10579" cy="55965"/>
                    </a:xfrm>
                    <a:custGeom>
                      <a:avLst/>
                      <a:gdLst>
                        <a:gd name="connsiteX0" fmla="*/ 10579 w 10579"/>
                        <a:gd name="connsiteY0" fmla="*/ 0 h 55965"/>
                        <a:gd name="connsiteX1" fmla="*/ 10579 w 10579"/>
                        <a:gd name="connsiteY1" fmla="*/ 35258 h 55965"/>
                        <a:gd name="connsiteX2" fmla="*/ 5290 w 10579"/>
                        <a:gd name="connsiteY2" fmla="*/ 55965 h 55965"/>
                        <a:gd name="connsiteX3" fmla="*/ 0 w 10579"/>
                        <a:gd name="connsiteY3" fmla="*/ 35258 h 55965"/>
                        <a:gd name="connsiteX4" fmla="*/ 0 w 10579"/>
                        <a:gd name="connsiteY4" fmla="*/ 0 h 55965"/>
                        <a:gd name="connsiteX5" fmla="*/ 10559 w 10579"/>
                        <a:gd name="connsiteY5" fmla="*/ 0 h 5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79" h="55965">
                          <a:moveTo>
                            <a:pt x="10579" y="0"/>
                          </a:moveTo>
                          <a:lnTo>
                            <a:pt x="10579" y="35258"/>
                          </a:lnTo>
                          <a:cubicBezTo>
                            <a:pt x="10579" y="42495"/>
                            <a:pt x="8770" y="49614"/>
                            <a:pt x="5290" y="55965"/>
                          </a:cubicBezTo>
                          <a:cubicBezTo>
                            <a:pt x="1828" y="49614"/>
                            <a:pt x="0" y="42495"/>
                            <a:pt x="0" y="35258"/>
                          </a:cubicBezTo>
                          <a:lnTo>
                            <a:pt x="0" y="0"/>
                          </a:lnTo>
                          <a:lnTo>
                            <a:pt x="10559" y="0"/>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80" name="Freeform: Shape 1279">
                      <a:extLst>
                        <a:ext uri="{FF2B5EF4-FFF2-40B4-BE49-F238E27FC236}">
                          <a16:creationId xmlns:a16="http://schemas.microsoft.com/office/drawing/2014/main" id="{AC6C95C8-DC91-4D09-9A9E-D815ECF99F91}"/>
                        </a:ext>
                      </a:extLst>
                    </p:cNvPr>
                    <p:cNvSpPr/>
                    <p:nvPr/>
                  </p:nvSpPr>
                  <p:spPr>
                    <a:xfrm>
                      <a:off x="10318639" y="10378963"/>
                      <a:ext cx="22574" cy="68137"/>
                    </a:xfrm>
                    <a:custGeom>
                      <a:avLst/>
                      <a:gdLst>
                        <a:gd name="connsiteX0" fmla="*/ 11288 w 22574"/>
                        <a:gd name="connsiteY0" fmla="*/ 68138 h 68137"/>
                        <a:gd name="connsiteX1" fmla="*/ 0 w 22574"/>
                        <a:gd name="connsiteY1" fmla="*/ 56850 h 68137"/>
                        <a:gd name="connsiteX2" fmla="*/ 0 w 22574"/>
                        <a:gd name="connsiteY2" fmla="*/ 0 h 68137"/>
                        <a:gd name="connsiteX3" fmla="*/ 22575 w 22574"/>
                        <a:gd name="connsiteY3" fmla="*/ 0 h 68137"/>
                        <a:gd name="connsiteX4" fmla="*/ 22575 w 22574"/>
                        <a:gd name="connsiteY4" fmla="*/ 56850 h 68137"/>
                        <a:gd name="connsiteX5" fmla="*/ 11288 w 22574"/>
                        <a:gd name="connsiteY5" fmla="*/ 68138 h 68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74" h="68137">
                          <a:moveTo>
                            <a:pt x="11288" y="68138"/>
                          </a:moveTo>
                          <a:cubicBezTo>
                            <a:pt x="5054" y="68138"/>
                            <a:pt x="0" y="63084"/>
                            <a:pt x="0" y="56850"/>
                          </a:cubicBezTo>
                          <a:lnTo>
                            <a:pt x="0" y="0"/>
                          </a:lnTo>
                          <a:lnTo>
                            <a:pt x="22575" y="0"/>
                          </a:lnTo>
                          <a:lnTo>
                            <a:pt x="22575" y="56850"/>
                          </a:lnTo>
                          <a:cubicBezTo>
                            <a:pt x="22575" y="63084"/>
                            <a:pt x="17521" y="68138"/>
                            <a:pt x="11288" y="68138"/>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81" name="Freeform: Shape 1280">
                      <a:extLst>
                        <a:ext uri="{FF2B5EF4-FFF2-40B4-BE49-F238E27FC236}">
                          <a16:creationId xmlns:a16="http://schemas.microsoft.com/office/drawing/2014/main" id="{EF5B1412-5766-4BF0-99F8-59D188D511E4}"/>
                        </a:ext>
                      </a:extLst>
                    </p:cNvPr>
                    <p:cNvSpPr/>
                    <p:nvPr/>
                  </p:nvSpPr>
                  <p:spPr>
                    <a:xfrm rot="5400000">
                      <a:off x="10321648" y="10269766"/>
                      <a:ext cx="16557" cy="87861"/>
                    </a:xfrm>
                    <a:custGeom>
                      <a:avLst/>
                      <a:gdLst>
                        <a:gd name="connsiteX0" fmla="*/ 0 w 16557"/>
                        <a:gd name="connsiteY0" fmla="*/ 0 h 87861"/>
                        <a:gd name="connsiteX1" fmla="*/ 16558 w 16557"/>
                        <a:gd name="connsiteY1" fmla="*/ 0 h 87861"/>
                        <a:gd name="connsiteX2" fmla="*/ 16558 w 16557"/>
                        <a:gd name="connsiteY2" fmla="*/ 87861 h 87861"/>
                        <a:gd name="connsiteX3" fmla="*/ 0 w 16557"/>
                        <a:gd name="connsiteY3" fmla="*/ 87861 h 87861"/>
                      </a:gdLst>
                      <a:ahLst/>
                      <a:cxnLst>
                        <a:cxn ang="0">
                          <a:pos x="connsiteX0" y="connsiteY0"/>
                        </a:cxn>
                        <a:cxn ang="0">
                          <a:pos x="connsiteX1" y="connsiteY1"/>
                        </a:cxn>
                        <a:cxn ang="0">
                          <a:pos x="connsiteX2" y="connsiteY2"/>
                        </a:cxn>
                        <a:cxn ang="0">
                          <a:pos x="connsiteX3" y="connsiteY3"/>
                        </a:cxn>
                      </a:cxnLst>
                      <a:rect l="l" t="t" r="r" b="b"/>
                      <a:pathLst>
                        <a:path w="16557" h="87861">
                          <a:moveTo>
                            <a:pt x="0" y="0"/>
                          </a:moveTo>
                          <a:lnTo>
                            <a:pt x="16558" y="0"/>
                          </a:lnTo>
                          <a:lnTo>
                            <a:pt x="16558" y="87861"/>
                          </a:lnTo>
                          <a:lnTo>
                            <a:pt x="0" y="87861"/>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82" name="Freeform: Shape 1281">
                      <a:extLst>
                        <a:ext uri="{FF2B5EF4-FFF2-40B4-BE49-F238E27FC236}">
                          <a16:creationId xmlns:a16="http://schemas.microsoft.com/office/drawing/2014/main" id="{BFE5F6D5-4580-48B0-9A39-763C8037D0A7}"/>
                        </a:ext>
                      </a:extLst>
                    </p:cNvPr>
                    <p:cNvSpPr/>
                    <p:nvPr/>
                  </p:nvSpPr>
                  <p:spPr>
                    <a:xfrm>
                      <a:off x="10296871" y="10297729"/>
                      <a:ext cx="66112" cy="31935"/>
                    </a:xfrm>
                    <a:custGeom>
                      <a:avLst/>
                      <a:gdLst>
                        <a:gd name="connsiteX0" fmla="*/ 0 w 66112"/>
                        <a:gd name="connsiteY0" fmla="*/ 15968 h 31935"/>
                        <a:gd name="connsiteX1" fmla="*/ 15968 w 66112"/>
                        <a:gd name="connsiteY1" fmla="*/ 0 h 31935"/>
                        <a:gd name="connsiteX2" fmla="*/ 50145 w 66112"/>
                        <a:gd name="connsiteY2" fmla="*/ 0 h 31935"/>
                        <a:gd name="connsiteX3" fmla="*/ 66112 w 66112"/>
                        <a:gd name="connsiteY3" fmla="*/ 15968 h 31935"/>
                        <a:gd name="connsiteX4" fmla="*/ 50145 w 66112"/>
                        <a:gd name="connsiteY4" fmla="*/ 31935 h 31935"/>
                        <a:gd name="connsiteX5" fmla="*/ 15968 w 66112"/>
                        <a:gd name="connsiteY5" fmla="*/ 31935 h 31935"/>
                        <a:gd name="connsiteX6" fmla="*/ 0 w 66112"/>
                        <a:gd name="connsiteY6" fmla="*/ 15968 h 3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12" h="31935">
                          <a:moveTo>
                            <a:pt x="0" y="15968"/>
                          </a:moveTo>
                          <a:cubicBezTo>
                            <a:pt x="0" y="7138"/>
                            <a:pt x="7158" y="0"/>
                            <a:pt x="15968" y="0"/>
                          </a:cubicBezTo>
                          <a:lnTo>
                            <a:pt x="50145" y="0"/>
                          </a:lnTo>
                          <a:cubicBezTo>
                            <a:pt x="58973" y="0"/>
                            <a:pt x="66112" y="7158"/>
                            <a:pt x="66112" y="15968"/>
                          </a:cubicBezTo>
                          <a:cubicBezTo>
                            <a:pt x="66112" y="24777"/>
                            <a:pt x="58954" y="31935"/>
                            <a:pt x="50145" y="31935"/>
                          </a:cubicBezTo>
                          <a:lnTo>
                            <a:pt x="15968" y="31935"/>
                          </a:lnTo>
                          <a:cubicBezTo>
                            <a:pt x="7138" y="31935"/>
                            <a:pt x="0" y="24777"/>
                            <a:pt x="0" y="15968"/>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83" name="Freeform: Shape 1282">
                      <a:extLst>
                        <a:ext uri="{FF2B5EF4-FFF2-40B4-BE49-F238E27FC236}">
                          <a16:creationId xmlns:a16="http://schemas.microsoft.com/office/drawing/2014/main" id="{36BD579B-B666-419E-9CA2-2EE9D8024F01}"/>
                        </a:ext>
                      </a:extLst>
                    </p:cNvPr>
                    <p:cNvSpPr/>
                    <p:nvPr/>
                  </p:nvSpPr>
                  <p:spPr>
                    <a:xfrm>
                      <a:off x="10295868" y="10350646"/>
                      <a:ext cx="68137" cy="68137"/>
                    </a:xfrm>
                    <a:custGeom>
                      <a:avLst/>
                      <a:gdLst>
                        <a:gd name="connsiteX0" fmla="*/ 52504 w 68137"/>
                        <a:gd name="connsiteY0" fmla="*/ 0 h 68137"/>
                        <a:gd name="connsiteX1" fmla="*/ 68138 w 68137"/>
                        <a:gd name="connsiteY1" fmla="*/ 15633 h 68137"/>
                        <a:gd name="connsiteX2" fmla="*/ 68138 w 68137"/>
                        <a:gd name="connsiteY2" fmla="*/ 52504 h 68137"/>
                        <a:gd name="connsiteX3" fmla="*/ 52504 w 68137"/>
                        <a:gd name="connsiteY3" fmla="*/ 68138 h 68137"/>
                        <a:gd name="connsiteX4" fmla="*/ 15633 w 68137"/>
                        <a:gd name="connsiteY4" fmla="*/ 68138 h 68137"/>
                        <a:gd name="connsiteX5" fmla="*/ 0 w 68137"/>
                        <a:gd name="connsiteY5" fmla="*/ 52504 h 68137"/>
                        <a:gd name="connsiteX6" fmla="*/ 0 w 68137"/>
                        <a:gd name="connsiteY6" fmla="*/ 15633 h 68137"/>
                        <a:gd name="connsiteX7" fmla="*/ 15633 w 68137"/>
                        <a:gd name="connsiteY7" fmla="*/ 0 h 68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37" h="68137">
                          <a:moveTo>
                            <a:pt x="52504" y="0"/>
                          </a:moveTo>
                          <a:cubicBezTo>
                            <a:pt x="61138" y="0"/>
                            <a:pt x="68138" y="6999"/>
                            <a:pt x="68138" y="15633"/>
                          </a:cubicBezTo>
                          <a:lnTo>
                            <a:pt x="68138" y="52504"/>
                          </a:lnTo>
                          <a:cubicBezTo>
                            <a:pt x="68138" y="61138"/>
                            <a:pt x="61138" y="68138"/>
                            <a:pt x="52504" y="68138"/>
                          </a:cubicBezTo>
                          <a:lnTo>
                            <a:pt x="15633" y="68138"/>
                          </a:lnTo>
                          <a:cubicBezTo>
                            <a:pt x="6999" y="68138"/>
                            <a:pt x="0" y="61138"/>
                            <a:pt x="0" y="52504"/>
                          </a:cubicBezTo>
                          <a:lnTo>
                            <a:pt x="0" y="15633"/>
                          </a:lnTo>
                          <a:cubicBezTo>
                            <a:pt x="0" y="6999"/>
                            <a:pt x="6999" y="0"/>
                            <a:pt x="15633" y="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84" name="Freeform: Shape 1283">
                      <a:extLst>
                        <a:ext uri="{FF2B5EF4-FFF2-40B4-BE49-F238E27FC236}">
                          <a16:creationId xmlns:a16="http://schemas.microsoft.com/office/drawing/2014/main" id="{97E269FF-DC40-4137-B3E6-BCBD4B3FCC3B}"/>
                        </a:ext>
                      </a:extLst>
                    </p:cNvPr>
                    <p:cNvSpPr/>
                    <p:nvPr/>
                  </p:nvSpPr>
                  <p:spPr>
                    <a:xfrm>
                      <a:off x="10274060" y="10236277"/>
                      <a:ext cx="111753" cy="93386"/>
                    </a:xfrm>
                    <a:custGeom>
                      <a:avLst/>
                      <a:gdLst>
                        <a:gd name="connsiteX0" fmla="*/ 0 w 111753"/>
                        <a:gd name="connsiteY0" fmla="*/ 29045 h 93386"/>
                        <a:gd name="connsiteX1" fmla="*/ 0 w 111753"/>
                        <a:gd name="connsiteY1" fmla="*/ 81450 h 93386"/>
                        <a:gd name="connsiteX2" fmla="*/ 11937 w 111753"/>
                        <a:gd name="connsiteY2" fmla="*/ 93387 h 93386"/>
                        <a:gd name="connsiteX3" fmla="*/ 11937 w 111753"/>
                        <a:gd name="connsiteY3" fmla="*/ 60999 h 93386"/>
                        <a:gd name="connsiteX4" fmla="*/ 40981 w 111753"/>
                        <a:gd name="connsiteY4" fmla="*/ 31955 h 93386"/>
                        <a:gd name="connsiteX5" fmla="*/ 70773 w 111753"/>
                        <a:gd name="connsiteY5" fmla="*/ 31955 h 93386"/>
                        <a:gd name="connsiteX6" fmla="*/ 99818 w 111753"/>
                        <a:gd name="connsiteY6" fmla="*/ 60999 h 93386"/>
                        <a:gd name="connsiteX7" fmla="*/ 99818 w 111753"/>
                        <a:gd name="connsiteY7" fmla="*/ 93387 h 93386"/>
                        <a:gd name="connsiteX8" fmla="*/ 111754 w 111753"/>
                        <a:gd name="connsiteY8" fmla="*/ 81450 h 93386"/>
                        <a:gd name="connsiteX9" fmla="*/ 111754 w 111753"/>
                        <a:gd name="connsiteY9" fmla="*/ 29045 h 93386"/>
                        <a:gd name="connsiteX10" fmla="*/ 82709 w 111753"/>
                        <a:gd name="connsiteY10" fmla="*/ 0 h 93386"/>
                        <a:gd name="connsiteX11" fmla="*/ 29045 w 111753"/>
                        <a:gd name="connsiteY11" fmla="*/ 0 h 93386"/>
                        <a:gd name="connsiteX12" fmla="*/ 0 w 111753"/>
                        <a:gd name="connsiteY12" fmla="*/ 29045 h 9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753" h="93386">
                          <a:moveTo>
                            <a:pt x="0" y="29045"/>
                          </a:moveTo>
                          <a:lnTo>
                            <a:pt x="0" y="81450"/>
                          </a:lnTo>
                          <a:cubicBezTo>
                            <a:pt x="0" y="88038"/>
                            <a:pt x="5349" y="93387"/>
                            <a:pt x="11937" y="93387"/>
                          </a:cubicBezTo>
                          <a:lnTo>
                            <a:pt x="11937" y="60999"/>
                          </a:lnTo>
                          <a:cubicBezTo>
                            <a:pt x="11937" y="44973"/>
                            <a:pt x="24935" y="31955"/>
                            <a:pt x="40981" y="31955"/>
                          </a:cubicBezTo>
                          <a:lnTo>
                            <a:pt x="70773" y="31955"/>
                          </a:lnTo>
                          <a:cubicBezTo>
                            <a:pt x="86799" y="31955"/>
                            <a:pt x="99818" y="44953"/>
                            <a:pt x="99818" y="60999"/>
                          </a:cubicBezTo>
                          <a:lnTo>
                            <a:pt x="99818" y="93387"/>
                          </a:lnTo>
                          <a:cubicBezTo>
                            <a:pt x="106404" y="93387"/>
                            <a:pt x="111754" y="88038"/>
                            <a:pt x="111754" y="81450"/>
                          </a:cubicBezTo>
                          <a:lnTo>
                            <a:pt x="111754" y="29045"/>
                          </a:lnTo>
                          <a:cubicBezTo>
                            <a:pt x="111754" y="13018"/>
                            <a:pt x="98756" y="0"/>
                            <a:pt x="82709" y="0"/>
                          </a:cubicBezTo>
                          <a:lnTo>
                            <a:pt x="29045" y="0"/>
                          </a:lnTo>
                          <a:cubicBezTo>
                            <a:pt x="12998" y="0"/>
                            <a:pt x="0" y="12998"/>
                            <a:pt x="0" y="29045"/>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267" name="Graphic 10">
                    <a:extLst>
                      <a:ext uri="{FF2B5EF4-FFF2-40B4-BE49-F238E27FC236}">
                        <a16:creationId xmlns:a16="http://schemas.microsoft.com/office/drawing/2014/main" id="{5825695D-AF97-4476-B66C-4E4AA3E963FE}"/>
                      </a:ext>
                    </a:extLst>
                  </p:cNvPr>
                  <p:cNvGrpSpPr/>
                  <p:nvPr/>
                </p:nvGrpSpPr>
                <p:grpSpPr>
                  <a:xfrm>
                    <a:off x="10088349" y="10089895"/>
                    <a:ext cx="279177" cy="73584"/>
                    <a:chOff x="10088349" y="10089895"/>
                    <a:chExt cx="279177" cy="73584"/>
                  </a:xfrm>
                </p:grpSpPr>
                <p:sp>
                  <p:nvSpPr>
                    <p:cNvPr id="1272" name="Freeform: Shape 1271">
                      <a:extLst>
                        <a:ext uri="{FF2B5EF4-FFF2-40B4-BE49-F238E27FC236}">
                          <a16:creationId xmlns:a16="http://schemas.microsoft.com/office/drawing/2014/main" id="{93CC17FB-B617-4A60-8C6B-C597F5A09A5E}"/>
                        </a:ext>
                      </a:extLst>
                    </p:cNvPr>
                    <p:cNvSpPr/>
                    <p:nvPr/>
                  </p:nvSpPr>
                  <p:spPr>
                    <a:xfrm rot="5400000">
                      <a:off x="10231349" y="10036545"/>
                      <a:ext cx="21827" cy="180205"/>
                    </a:xfrm>
                    <a:custGeom>
                      <a:avLst/>
                      <a:gdLst>
                        <a:gd name="connsiteX0" fmla="*/ 0 w 21827"/>
                        <a:gd name="connsiteY0" fmla="*/ 0 h 180205"/>
                        <a:gd name="connsiteX1" fmla="*/ 21828 w 21827"/>
                        <a:gd name="connsiteY1" fmla="*/ 0 h 180205"/>
                        <a:gd name="connsiteX2" fmla="*/ 21828 w 21827"/>
                        <a:gd name="connsiteY2" fmla="*/ 180206 h 180205"/>
                        <a:gd name="connsiteX3" fmla="*/ 0 w 21827"/>
                        <a:gd name="connsiteY3" fmla="*/ 180206 h 180205"/>
                      </a:gdLst>
                      <a:ahLst/>
                      <a:cxnLst>
                        <a:cxn ang="0">
                          <a:pos x="connsiteX0" y="connsiteY0"/>
                        </a:cxn>
                        <a:cxn ang="0">
                          <a:pos x="connsiteX1" y="connsiteY1"/>
                        </a:cxn>
                        <a:cxn ang="0">
                          <a:pos x="connsiteX2" y="connsiteY2"/>
                        </a:cxn>
                        <a:cxn ang="0">
                          <a:pos x="connsiteX3" y="connsiteY3"/>
                        </a:cxn>
                      </a:cxnLst>
                      <a:rect l="l" t="t" r="r" b="b"/>
                      <a:pathLst>
                        <a:path w="21827" h="180205">
                          <a:moveTo>
                            <a:pt x="0" y="0"/>
                          </a:moveTo>
                          <a:lnTo>
                            <a:pt x="21828" y="0"/>
                          </a:lnTo>
                          <a:lnTo>
                            <a:pt x="21828" y="180206"/>
                          </a:lnTo>
                          <a:lnTo>
                            <a:pt x="0" y="180206"/>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73" name="Freeform: Shape 1272">
                      <a:extLst>
                        <a:ext uri="{FF2B5EF4-FFF2-40B4-BE49-F238E27FC236}">
                          <a16:creationId xmlns:a16="http://schemas.microsoft.com/office/drawing/2014/main" id="{FCBB1AF7-B22F-4BB1-B397-EA0BD5806340}"/>
                        </a:ext>
                      </a:extLst>
                    </p:cNvPr>
                    <p:cNvSpPr/>
                    <p:nvPr/>
                  </p:nvSpPr>
                  <p:spPr>
                    <a:xfrm>
                      <a:off x="10152179" y="10089895"/>
                      <a:ext cx="180205" cy="73525"/>
                    </a:xfrm>
                    <a:custGeom>
                      <a:avLst/>
                      <a:gdLst>
                        <a:gd name="connsiteX0" fmla="*/ 0 w 180205"/>
                        <a:gd name="connsiteY0" fmla="*/ 73526 h 73525"/>
                        <a:gd name="connsiteX1" fmla="*/ 180206 w 180205"/>
                        <a:gd name="connsiteY1" fmla="*/ 73526 h 73525"/>
                        <a:gd name="connsiteX2" fmla="*/ 180206 w 180205"/>
                        <a:gd name="connsiteY2" fmla="*/ 64854 h 73525"/>
                        <a:gd name="connsiteX3" fmla="*/ 0 w 180205"/>
                        <a:gd name="connsiteY3" fmla="*/ 64854 h 73525"/>
                        <a:gd name="connsiteX4" fmla="*/ 0 w 180205"/>
                        <a:gd name="connsiteY4" fmla="*/ 73526 h 73525"/>
                        <a:gd name="connsiteX5" fmla="*/ 0 w 180205"/>
                        <a:gd name="connsiteY5" fmla="*/ 0 h 73525"/>
                        <a:gd name="connsiteX6" fmla="*/ 0 w 180205"/>
                        <a:gd name="connsiteY6" fmla="*/ 8672 h 73525"/>
                        <a:gd name="connsiteX7" fmla="*/ 180206 w 180205"/>
                        <a:gd name="connsiteY7" fmla="*/ 8672 h 73525"/>
                        <a:gd name="connsiteX8" fmla="*/ 180206 w 180205"/>
                        <a:gd name="connsiteY8" fmla="*/ 0 h 73525"/>
                        <a:gd name="connsiteX9" fmla="*/ 0 w 180205"/>
                        <a:gd name="connsiteY9" fmla="*/ 0 h 7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205" h="73525">
                          <a:moveTo>
                            <a:pt x="0" y="73526"/>
                          </a:moveTo>
                          <a:lnTo>
                            <a:pt x="180206" y="73526"/>
                          </a:lnTo>
                          <a:lnTo>
                            <a:pt x="180206" y="64854"/>
                          </a:lnTo>
                          <a:lnTo>
                            <a:pt x="0" y="64854"/>
                          </a:lnTo>
                          <a:lnTo>
                            <a:pt x="0" y="73526"/>
                          </a:lnTo>
                          <a:close/>
                          <a:moveTo>
                            <a:pt x="0" y="0"/>
                          </a:moveTo>
                          <a:lnTo>
                            <a:pt x="0" y="8672"/>
                          </a:lnTo>
                          <a:lnTo>
                            <a:pt x="180206" y="8672"/>
                          </a:lnTo>
                          <a:lnTo>
                            <a:pt x="180206" y="0"/>
                          </a:lnTo>
                          <a:lnTo>
                            <a:pt x="0" y="0"/>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74" name="Freeform: Shape 1273">
                      <a:extLst>
                        <a:ext uri="{FF2B5EF4-FFF2-40B4-BE49-F238E27FC236}">
                          <a16:creationId xmlns:a16="http://schemas.microsoft.com/office/drawing/2014/main" id="{BAAFB2D3-C2F0-4198-B456-F39B2D9FC7E0}"/>
                        </a:ext>
                      </a:extLst>
                    </p:cNvPr>
                    <p:cNvSpPr/>
                    <p:nvPr/>
                  </p:nvSpPr>
                  <p:spPr>
                    <a:xfrm>
                      <a:off x="10088349" y="10089895"/>
                      <a:ext cx="63830" cy="73545"/>
                    </a:xfrm>
                    <a:custGeom>
                      <a:avLst/>
                      <a:gdLst>
                        <a:gd name="connsiteX0" fmla="*/ 63831 w 63830"/>
                        <a:gd name="connsiteY0" fmla="*/ 0 h 73545"/>
                        <a:gd name="connsiteX1" fmla="*/ 0 w 63830"/>
                        <a:gd name="connsiteY1" fmla="*/ 0 h 73545"/>
                        <a:gd name="connsiteX2" fmla="*/ 0 w 63830"/>
                        <a:gd name="connsiteY2" fmla="*/ 8161 h 73545"/>
                        <a:gd name="connsiteX3" fmla="*/ 13392 w 63830"/>
                        <a:gd name="connsiteY3" fmla="*/ 8161 h 73545"/>
                        <a:gd name="connsiteX4" fmla="*/ 42003 w 63830"/>
                        <a:gd name="connsiteY4" fmla="*/ 36773 h 73545"/>
                        <a:gd name="connsiteX5" fmla="*/ 13392 w 63830"/>
                        <a:gd name="connsiteY5" fmla="*/ 65385 h 73545"/>
                        <a:gd name="connsiteX6" fmla="*/ 0 w 63830"/>
                        <a:gd name="connsiteY6" fmla="*/ 65385 h 73545"/>
                        <a:gd name="connsiteX7" fmla="*/ 0 w 63830"/>
                        <a:gd name="connsiteY7" fmla="*/ 73545 h 73545"/>
                        <a:gd name="connsiteX8" fmla="*/ 63831 w 63830"/>
                        <a:gd name="connsiteY8" fmla="*/ 73545 h 73545"/>
                        <a:gd name="connsiteX9" fmla="*/ 63831 w 63830"/>
                        <a:gd name="connsiteY9" fmla="*/ 20 h 73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830" h="73545">
                          <a:moveTo>
                            <a:pt x="63831" y="0"/>
                          </a:moveTo>
                          <a:lnTo>
                            <a:pt x="0" y="0"/>
                          </a:lnTo>
                          <a:lnTo>
                            <a:pt x="0" y="8161"/>
                          </a:lnTo>
                          <a:lnTo>
                            <a:pt x="13392" y="8161"/>
                          </a:lnTo>
                          <a:cubicBezTo>
                            <a:pt x="29182" y="8161"/>
                            <a:pt x="42003" y="20962"/>
                            <a:pt x="42003" y="36773"/>
                          </a:cubicBezTo>
                          <a:cubicBezTo>
                            <a:pt x="42003" y="52583"/>
                            <a:pt x="29202" y="65385"/>
                            <a:pt x="13392" y="65385"/>
                          </a:cubicBezTo>
                          <a:lnTo>
                            <a:pt x="0" y="65385"/>
                          </a:lnTo>
                          <a:lnTo>
                            <a:pt x="0" y="73545"/>
                          </a:lnTo>
                          <a:lnTo>
                            <a:pt x="63831" y="73545"/>
                          </a:lnTo>
                          <a:lnTo>
                            <a:pt x="63831" y="20"/>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75" name="Freeform: Shape 1274">
                      <a:extLst>
                        <a:ext uri="{FF2B5EF4-FFF2-40B4-BE49-F238E27FC236}">
                          <a16:creationId xmlns:a16="http://schemas.microsoft.com/office/drawing/2014/main" id="{5C0E7150-2EA9-4951-8774-C2AECF32D7AE}"/>
                        </a:ext>
                      </a:extLst>
                    </p:cNvPr>
                    <p:cNvSpPr/>
                    <p:nvPr/>
                  </p:nvSpPr>
                  <p:spPr>
                    <a:xfrm>
                      <a:off x="10293980" y="10089934"/>
                      <a:ext cx="73545" cy="73545"/>
                    </a:xfrm>
                    <a:custGeom>
                      <a:avLst/>
                      <a:gdLst>
                        <a:gd name="connsiteX0" fmla="*/ 73546 w 73545"/>
                        <a:gd name="connsiteY0" fmla="*/ 36773 h 73545"/>
                        <a:gd name="connsiteX1" fmla="*/ 36773 w 73545"/>
                        <a:gd name="connsiteY1" fmla="*/ 73545 h 73545"/>
                        <a:gd name="connsiteX2" fmla="*/ 0 w 73545"/>
                        <a:gd name="connsiteY2" fmla="*/ 36773 h 73545"/>
                        <a:gd name="connsiteX3" fmla="*/ 36773 w 73545"/>
                        <a:gd name="connsiteY3" fmla="*/ 0 h 73545"/>
                        <a:gd name="connsiteX4" fmla="*/ 73546 w 73545"/>
                        <a:gd name="connsiteY4" fmla="*/ 36773 h 73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545" h="73545">
                          <a:moveTo>
                            <a:pt x="73546" y="36773"/>
                          </a:moveTo>
                          <a:cubicBezTo>
                            <a:pt x="73546" y="57082"/>
                            <a:pt x="57082" y="73545"/>
                            <a:pt x="36773" y="73545"/>
                          </a:cubicBezTo>
                          <a:cubicBezTo>
                            <a:pt x="16464" y="73545"/>
                            <a:pt x="0" y="57082"/>
                            <a:pt x="0" y="36773"/>
                          </a:cubicBezTo>
                          <a:cubicBezTo>
                            <a:pt x="0" y="16464"/>
                            <a:pt x="16463" y="0"/>
                            <a:pt x="36773" y="0"/>
                          </a:cubicBezTo>
                          <a:cubicBezTo>
                            <a:pt x="57081" y="0"/>
                            <a:pt x="73546" y="16464"/>
                            <a:pt x="73546" y="36773"/>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76" name="Freeform: Shape 1275">
                      <a:extLst>
                        <a:ext uri="{FF2B5EF4-FFF2-40B4-BE49-F238E27FC236}">
                          <a16:creationId xmlns:a16="http://schemas.microsoft.com/office/drawing/2014/main" id="{2713CB76-9927-48B5-B738-ECF1169E273F}"/>
                        </a:ext>
                      </a:extLst>
                    </p:cNvPr>
                    <p:cNvSpPr/>
                    <p:nvPr/>
                  </p:nvSpPr>
                  <p:spPr>
                    <a:xfrm>
                      <a:off x="10308159" y="10104112"/>
                      <a:ext cx="45189" cy="45189"/>
                    </a:xfrm>
                    <a:custGeom>
                      <a:avLst/>
                      <a:gdLst>
                        <a:gd name="connsiteX0" fmla="*/ 45190 w 45189"/>
                        <a:gd name="connsiteY0" fmla="*/ 22594 h 45189"/>
                        <a:gd name="connsiteX1" fmla="*/ 22595 w 45189"/>
                        <a:gd name="connsiteY1" fmla="*/ 45189 h 45189"/>
                        <a:gd name="connsiteX2" fmla="*/ 0 w 45189"/>
                        <a:gd name="connsiteY2" fmla="*/ 22594 h 45189"/>
                        <a:gd name="connsiteX3" fmla="*/ 22595 w 45189"/>
                        <a:gd name="connsiteY3" fmla="*/ 0 h 45189"/>
                        <a:gd name="connsiteX4" fmla="*/ 45190 w 45189"/>
                        <a:gd name="connsiteY4" fmla="*/ 22594 h 451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89" h="45189">
                          <a:moveTo>
                            <a:pt x="45190" y="22594"/>
                          </a:moveTo>
                          <a:cubicBezTo>
                            <a:pt x="45190" y="35073"/>
                            <a:pt x="35074" y="45189"/>
                            <a:pt x="22595" y="45189"/>
                          </a:cubicBezTo>
                          <a:cubicBezTo>
                            <a:pt x="10116" y="45189"/>
                            <a:pt x="0" y="35073"/>
                            <a:pt x="0" y="22594"/>
                          </a:cubicBezTo>
                          <a:cubicBezTo>
                            <a:pt x="0" y="10116"/>
                            <a:pt x="10115" y="0"/>
                            <a:pt x="22595" y="0"/>
                          </a:cubicBezTo>
                          <a:cubicBezTo>
                            <a:pt x="35073" y="0"/>
                            <a:pt x="45190" y="10116"/>
                            <a:pt x="45190" y="22594"/>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268" name="Freeform: Shape 1267">
                    <a:extLst>
                      <a:ext uri="{FF2B5EF4-FFF2-40B4-BE49-F238E27FC236}">
                        <a16:creationId xmlns:a16="http://schemas.microsoft.com/office/drawing/2014/main" id="{B9C00F9B-7CA7-4E2F-B059-AF686F3EC5E5}"/>
                      </a:ext>
                    </a:extLst>
                  </p:cNvPr>
                  <p:cNvSpPr/>
                  <p:nvPr/>
                </p:nvSpPr>
                <p:spPr>
                  <a:xfrm>
                    <a:off x="9963597" y="10097151"/>
                    <a:ext cx="97162" cy="59013"/>
                  </a:xfrm>
                  <a:custGeom>
                    <a:avLst/>
                    <a:gdLst>
                      <a:gd name="connsiteX0" fmla="*/ 0 w 97162"/>
                      <a:gd name="connsiteY0" fmla="*/ 0 h 59013"/>
                      <a:gd name="connsiteX1" fmla="*/ 97163 w 97162"/>
                      <a:gd name="connsiteY1" fmla="*/ 0 h 59013"/>
                      <a:gd name="connsiteX2" fmla="*/ 97163 w 97162"/>
                      <a:gd name="connsiteY2" fmla="*/ 59013 h 59013"/>
                      <a:gd name="connsiteX3" fmla="*/ 0 w 97162"/>
                      <a:gd name="connsiteY3" fmla="*/ 59013 h 59013"/>
                    </a:gdLst>
                    <a:ahLst/>
                    <a:cxnLst>
                      <a:cxn ang="0">
                        <a:pos x="connsiteX0" y="connsiteY0"/>
                      </a:cxn>
                      <a:cxn ang="0">
                        <a:pos x="connsiteX1" y="connsiteY1"/>
                      </a:cxn>
                      <a:cxn ang="0">
                        <a:pos x="connsiteX2" y="connsiteY2"/>
                      </a:cxn>
                      <a:cxn ang="0">
                        <a:pos x="connsiteX3" y="connsiteY3"/>
                      </a:cxn>
                    </a:cxnLst>
                    <a:rect l="l" t="t" r="r" b="b"/>
                    <a:pathLst>
                      <a:path w="97162" h="59013">
                        <a:moveTo>
                          <a:pt x="0" y="0"/>
                        </a:moveTo>
                        <a:lnTo>
                          <a:pt x="97163" y="0"/>
                        </a:lnTo>
                        <a:lnTo>
                          <a:pt x="97163" y="59013"/>
                        </a:lnTo>
                        <a:lnTo>
                          <a:pt x="0" y="59013"/>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69" name="Freeform: Shape 1268">
                    <a:extLst>
                      <a:ext uri="{FF2B5EF4-FFF2-40B4-BE49-F238E27FC236}">
                        <a16:creationId xmlns:a16="http://schemas.microsoft.com/office/drawing/2014/main" id="{CB462170-18AE-4580-BDB1-3A909313FFA6}"/>
                      </a:ext>
                    </a:extLst>
                  </p:cNvPr>
                  <p:cNvSpPr/>
                  <p:nvPr/>
                </p:nvSpPr>
                <p:spPr>
                  <a:xfrm>
                    <a:off x="10043494" y="10072039"/>
                    <a:ext cx="64755" cy="109275"/>
                  </a:xfrm>
                  <a:custGeom>
                    <a:avLst/>
                    <a:gdLst>
                      <a:gd name="connsiteX0" fmla="*/ 54707 w 64755"/>
                      <a:gd name="connsiteY0" fmla="*/ 0 h 109275"/>
                      <a:gd name="connsiteX1" fmla="*/ 64755 w 64755"/>
                      <a:gd name="connsiteY1" fmla="*/ 10049 h 109275"/>
                      <a:gd name="connsiteX2" fmla="*/ 64755 w 64755"/>
                      <a:gd name="connsiteY2" fmla="*/ 99227 h 109275"/>
                      <a:gd name="connsiteX3" fmla="*/ 54707 w 64755"/>
                      <a:gd name="connsiteY3" fmla="*/ 109276 h 109275"/>
                      <a:gd name="connsiteX4" fmla="*/ 10049 w 64755"/>
                      <a:gd name="connsiteY4" fmla="*/ 109276 h 109275"/>
                      <a:gd name="connsiteX5" fmla="*/ 1 w 64755"/>
                      <a:gd name="connsiteY5" fmla="*/ 99227 h 109275"/>
                      <a:gd name="connsiteX6" fmla="*/ 1 w 64755"/>
                      <a:gd name="connsiteY6" fmla="*/ 10049 h 109275"/>
                      <a:gd name="connsiteX7" fmla="*/ 10049 w 64755"/>
                      <a:gd name="connsiteY7" fmla="*/ 0 h 10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55" h="109275">
                        <a:moveTo>
                          <a:pt x="54707" y="0"/>
                        </a:moveTo>
                        <a:cubicBezTo>
                          <a:pt x="60257" y="0"/>
                          <a:pt x="64755" y="4499"/>
                          <a:pt x="64755" y="10049"/>
                        </a:cubicBezTo>
                        <a:lnTo>
                          <a:pt x="64755" y="99227"/>
                        </a:lnTo>
                        <a:cubicBezTo>
                          <a:pt x="64755" y="104777"/>
                          <a:pt x="60257" y="109276"/>
                          <a:pt x="54707" y="109276"/>
                        </a:cubicBezTo>
                        <a:lnTo>
                          <a:pt x="10049" y="109276"/>
                        </a:lnTo>
                        <a:cubicBezTo>
                          <a:pt x="4499" y="109276"/>
                          <a:pt x="1" y="104777"/>
                          <a:pt x="1" y="99227"/>
                        </a:cubicBezTo>
                        <a:lnTo>
                          <a:pt x="1" y="10049"/>
                        </a:lnTo>
                        <a:cubicBezTo>
                          <a:pt x="1" y="4499"/>
                          <a:pt x="4499" y="0"/>
                          <a:pt x="10049" y="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70" name="Freeform: Shape 1269">
                    <a:extLst>
                      <a:ext uri="{FF2B5EF4-FFF2-40B4-BE49-F238E27FC236}">
                        <a16:creationId xmlns:a16="http://schemas.microsoft.com/office/drawing/2014/main" id="{F757D5EF-76DB-4B03-8897-227E94291306}"/>
                      </a:ext>
                    </a:extLst>
                  </p:cNvPr>
                  <p:cNvSpPr/>
                  <p:nvPr/>
                </p:nvSpPr>
                <p:spPr>
                  <a:xfrm>
                    <a:off x="10077218" y="10088931"/>
                    <a:ext cx="17502" cy="17501"/>
                  </a:xfrm>
                  <a:custGeom>
                    <a:avLst/>
                    <a:gdLst>
                      <a:gd name="connsiteX0" fmla="*/ 0 w 17502"/>
                      <a:gd name="connsiteY0" fmla="*/ 8751 h 17501"/>
                      <a:gd name="connsiteX1" fmla="*/ 8751 w 17502"/>
                      <a:gd name="connsiteY1" fmla="*/ 0 h 17501"/>
                      <a:gd name="connsiteX2" fmla="*/ 17502 w 17502"/>
                      <a:gd name="connsiteY2" fmla="*/ 8751 h 17501"/>
                      <a:gd name="connsiteX3" fmla="*/ 8751 w 17502"/>
                      <a:gd name="connsiteY3" fmla="*/ 17501 h 17501"/>
                      <a:gd name="connsiteX4" fmla="*/ 0 w 17502"/>
                      <a:gd name="connsiteY4" fmla="*/ 8751 h 175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02" h="17501">
                        <a:moveTo>
                          <a:pt x="0" y="8751"/>
                        </a:moveTo>
                        <a:cubicBezTo>
                          <a:pt x="0" y="3913"/>
                          <a:pt x="3914" y="0"/>
                          <a:pt x="8751" y="0"/>
                        </a:cubicBezTo>
                        <a:cubicBezTo>
                          <a:pt x="13588" y="0"/>
                          <a:pt x="17502" y="3913"/>
                          <a:pt x="17502" y="8751"/>
                        </a:cubicBezTo>
                        <a:cubicBezTo>
                          <a:pt x="17502" y="13588"/>
                          <a:pt x="13588" y="17501"/>
                          <a:pt x="8751" y="17501"/>
                        </a:cubicBezTo>
                        <a:cubicBezTo>
                          <a:pt x="3914" y="17501"/>
                          <a:pt x="0" y="13588"/>
                          <a:pt x="0" y="8751"/>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71" name="Freeform: Shape 1270">
                    <a:extLst>
                      <a:ext uri="{FF2B5EF4-FFF2-40B4-BE49-F238E27FC236}">
                        <a16:creationId xmlns:a16="http://schemas.microsoft.com/office/drawing/2014/main" id="{3D716ECE-3EB2-456A-9C84-90FD36E2B5BB}"/>
                      </a:ext>
                    </a:extLst>
                  </p:cNvPr>
                  <p:cNvSpPr/>
                  <p:nvPr/>
                </p:nvSpPr>
                <p:spPr>
                  <a:xfrm>
                    <a:off x="10077218" y="10114554"/>
                    <a:ext cx="17502" cy="52858"/>
                  </a:xfrm>
                  <a:custGeom>
                    <a:avLst/>
                    <a:gdLst>
                      <a:gd name="connsiteX0" fmla="*/ 8751 w 17502"/>
                      <a:gd name="connsiteY0" fmla="*/ 0 h 52858"/>
                      <a:gd name="connsiteX1" fmla="*/ 17502 w 17502"/>
                      <a:gd name="connsiteY1" fmla="*/ 8751 h 52858"/>
                      <a:gd name="connsiteX2" fmla="*/ 17502 w 17502"/>
                      <a:gd name="connsiteY2" fmla="*/ 44107 h 52858"/>
                      <a:gd name="connsiteX3" fmla="*/ 8751 w 17502"/>
                      <a:gd name="connsiteY3" fmla="*/ 52858 h 52858"/>
                      <a:gd name="connsiteX4" fmla="*/ 0 w 17502"/>
                      <a:gd name="connsiteY4" fmla="*/ 44107 h 52858"/>
                      <a:gd name="connsiteX5" fmla="*/ 0 w 17502"/>
                      <a:gd name="connsiteY5" fmla="*/ 8751 h 52858"/>
                      <a:gd name="connsiteX6" fmla="*/ 8751 w 17502"/>
                      <a:gd name="connsiteY6" fmla="*/ 0 h 5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02" h="52858">
                        <a:moveTo>
                          <a:pt x="8751" y="0"/>
                        </a:moveTo>
                        <a:cubicBezTo>
                          <a:pt x="13588" y="0"/>
                          <a:pt x="17502" y="3913"/>
                          <a:pt x="17502" y="8751"/>
                        </a:cubicBezTo>
                        <a:lnTo>
                          <a:pt x="17502" y="44107"/>
                        </a:lnTo>
                        <a:cubicBezTo>
                          <a:pt x="17502" y="48945"/>
                          <a:pt x="13588" y="52858"/>
                          <a:pt x="8751" y="52858"/>
                        </a:cubicBezTo>
                        <a:cubicBezTo>
                          <a:pt x="3914" y="52858"/>
                          <a:pt x="0" y="48945"/>
                          <a:pt x="0" y="44107"/>
                        </a:cubicBezTo>
                        <a:lnTo>
                          <a:pt x="0" y="8751"/>
                        </a:lnTo>
                        <a:cubicBezTo>
                          <a:pt x="0" y="3913"/>
                          <a:pt x="3914" y="0"/>
                          <a:pt x="8751" y="0"/>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256" name="Freeform: Shape 1255">
                  <a:extLst>
                    <a:ext uri="{FF2B5EF4-FFF2-40B4-BE49-F238E27FC236}">
                      <a16:creationId xmlns:a16="http://schemas.microsoft.com/office/drawing/2014/main" id="{FAA0E2E6-693B-4E6F-8763-651DA5FAB856}"/>
                    </a:ext>
                  </a:extLst>
                </p:cNvPr>
                <p:cNvSpPr/>
                <p:nvPr/>
              </p:nvSpPr>
              <p:spPr>
                <a:xfrm>
                  <a:off x="9675413" y="9405314"/>
                  <a:ext cx="98224" cy="131417"/>
                </a:xfrm>
                <a:custGeom>
                  <a:avLst/>
                  <a:gdLst>
                    <a:gd name="connsiteX0" fmla="*/ 0 w 98224"/>
                    <a:gd name="connsiteY0" fmla="*/ 0 h 131417"/>
                    <a:gd name="connsiteX1" fmla="*/ 98225 w 98224"/>
                    <a:gd name="connsiteY1" fmla="*/ 0 h 131417"/>
                    <a:gd name="connsiteX2" fmla="*/ 98225 w 98224"/>
                    <a:gd name="connsiteY2" fmla="*/ 131418 h 131417"/>
                    <a:gd name="connsiteX3" fmla="*/ 0 w 98224"/>
                    <a:gd name="connsiteY3" fmla="*/ 131418 h 131417"/>
                  </a:gdLst>
                  <a:ahLst/>
                  <a:cxnLst>
                    <a:cxn ang="0">
                      <a:pos x="connsiteX0" y="connsiteY0"/>
                    </a:cxn>
                    <a:cxn ang="0">
                      <a:pos x="connsiteX1" y="connsiteY1"/>
                    </a:cxn>
                    <a:cxn ang="0">
                      <a:pos x="connsiteX2" y="connsiteY2"/>
                    </a:cxn>
                    <a:cxn ang="0">
                      <a:pos x="connsiteX3" y="connsiteY3"/>
                    </a:cxn>
                  </a:cxnLst>
                  <a:rect l="l" t="t" r="r" b="b"/>
                  <a:pathLst>
                    <a:path w="98224" h="131417">
                      <a:moveTo>
                        <a:pt x="0" y="0"/>
                      </a:moveTo>
                      <a:lnTo>
                        <a:pt x="98225" y="0"/>
                      </a:lnTo>
                      <a:lnTo>
                        <a:pt x="98225" y="131418"/>
                      </a:lnTo>
                      <a:lnTo>
                        <a:pt x="0" y="131418"/>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57" name="Freeform: Shape 1256">
                  <a:extLst>
                    <a:ext uri="{FF2B5EF4-FFF2-40B4-BE49-F238E27FC236}">
                      <a16:creationId xmlns:a16="http://schemas.microsoft.com/office/drawing/2014/main" id="{C6C06653-E9F8-483A-9B44-CC664E4FF025}"/>
                    </a:ext>
                  </a:extLst>
                </p:cNvPr>
                <p:cNvSpPr/>
                <p:nvPr/>
              </p:nvSpPr>
              <p:spPr>
                <a:xfrm>
                  <a:off x="9546788" y="9309725"/>
                  <a:ext cx="355514" cy="52209"/>
                </a:xfrm>
                <a:custGeom>
                  <a:avLst/>
                  <a:gdLst>
                    <a:gd name="connsiteX0" fmla="*/ 303286 w 355514"/>
                    <a:gd name="connsiteY0" fmla="*/ 52209 h 52209"/>
                    <a:gd name="connsiteX1" fmla="*/ 52209 w 355514"/>
                    <a:gd name="connsiteY1" fmla="*/ 52209 h 52209"/>
                    <a:gd name="connsiteX2" fmla="*/ 0 w 355514"/>
                    <a:gd name="connsiteY2" fmla="*/ 0 h 52209"/>
                    <a:gd name="connsiteX3" fmla="*/ 355515 w 355514"/>
                    <a:gd name="connsiteY3" fmla="*/ 0 h 52209"/>
                    <a:gd name="connsiteX4" fmla="*/ 303305 w 355514"/>
                    <a:gd name="connsiteY4" fmla="*/ 52209 h 52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514" h="52209">
                      <a:moveTo>
                        <a:pt x="303286" y="52209"/>
                      </a:moveTo>
                      <a:lnTo>
                        <a:pt x="52209" y="52209"/>
                      </a:lnTo>
                      <a:cubicBezTo>
                        <a:pt x="23361" y="52209"/>
                        <a:pt x="0" y="28828"/>
                        <a:pt x="0" y="0"/>
                      </a:cubicBezTo>
                      <a:lnTo>
                        <a:pt x="355515" y="0"/>
                      </a:lnTo>
                      <a:cubicBezTo>
                        <a:pt x="355515" y="28828"/>
                        <a:pt x="332134" y="52209"/>
                        <a:pt x="303305" y="52209"/>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58" name="Freeform: Shape 1257">
                  <a:extLst>
                    <a:ext uri="{FF2B5EF4-FFF2-40B4-BE49-F238E27FC236}">
                      <a16:creationId xmlns:a16="http://schemas.microsoft.com/office/drawing/2014/main" id="{DB177F4E-0B1B-4663-A175-F40539A250A1}"/>
                    </a:ext>
                  </a:extLst>
                </p:cNvPr>
                <p:cNvSpPr/>
                <p:nvPr/>
              </p:nvSpPr>
              <p:spPr>
                <a:xfrm>
                  <a:off x="9598978" y="9361934"/>
                  <a:ext cx="251096" cy="86759"/>
                </a:xfrm>
                <a:custGeom>
                  <a:avLst/>
                  <a:gdLst>
                    <a:gd name="connsiteX0" fmla="*/ 0 w 251096"/>
                    <a:gd name="connsiteY0" fmla="*/ 0 h 86759"/>
                    <a:gd name="connsiteX1" fmla="*/ 251096 w 251096"/>
                    <a:gd name="connsiteY1" fmla="*/ 0 h 86759"/>
                    <a:gd name="connsiteX2" fmla="*/ 251096 w 251096"/>
                    <a:gd name="connsiteY2" fmla="*/ 51973 h 86759"/>
                    <a:gd name="connsiteX3" fmla="*/ 216310 w 251096"/>
                    <a:gd name="connsiteY3" fmla="*/ 86760 h 86759"/>
                    <a:gd name="connsiteX4" fmla="*/ 34786 w 251096"/>
                    <a:gd name="connsiteY4" fmla="*/ 86760 h 86759"/>
                    <a:gd name="connsiteX5" fmla="*/ 0 w 251096"/>
                    <a:gd name="connsiteY5" fmla="*/ 51973 h 86759"/>
                    <a:gd name="connsiteX6" fmla="*/ 0 w 251096"/>
                    <a:gd name="connsiteY6" fmla="*/ 0 h 86759"/>
                    <a:gd name="connsiteX7" fmla="*/ 0 w 251096"/>
                    <a:gd name="connsiteY7" fmla="*/ 0 h 8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096" h="86759">
                      <a:moveTo>
                        <a:pt x="0" y="0"/>
                      </a:moveTo>
                      <a:lnTo>
                        <a:pt x="251096" y="0"/>
                      </a:lnTo>
                      <a:lnTo>
                        <a:pt x="251096" y="51973"/>
                      </a:lnTo>
                      <a:cubicBezTo>
                        <a:pt x="251096" y="71166"/>
                        <a:pt x="235502" y="86760"/>
                        <a:pt x="216310" y="86760"/>
                      </a:cubicBezTo>
                      <a:lnTo>
                        <a:pt x="34786" y="86760"/>
                      </a:lnTo>
                      <a:cubicBezTo>
                        <a:pt x="15593" y="86760"/>
                        <a:pt x="0" y="71166"/>
                        <a:pt x="0" y="51973"/>
                      </a:cubicBezTo>
                      <a:lnTo>
                        <a:pt x="0" y="0"/>
                      </a:lnTo>
                      <a:lnTo>
                        <a:pt x="0" y="0"/>
                      </a:lnTo>
                      <a:close/>
                    </a:path>
                  </a:pathLst>
                </a:custGeom>
                <a:solidFill>
                  <a:srgbClr val="B3D6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59" name="Freeform: Shape 1258">
                  <a:extLst>
                    <a:ext uri="{FF2B5EF4-FFF2-40B4-BE49-F238E27FC236}">
                      <a16:creationId xmlns:a16="http://schemas.microsoft.com/office/drawing/2014/main" id="{5C644903-CD72-4F16-ADD4-4B23587653D7}"/>
                    </a:ext>
                  </a:extLst>
                </p:cNvPr>
                <p:cNvSpPr/>
                <p:nvPr/>
              </p:nvSpPr>
              <p:spPr>
                <a:xfrm>
                  <a:off x="9402391" y="9203713"/>
                  <a:ext cx="644268" cy="105991"/>
                </a:xfrm>
                <a:custGeom>
                  <a:avLst/>
                  <a:gdLst>
                    <a:gd name="connsiteX0" fmla="*/ 538277 w 644268"/>
                    <a:gd name="connsiteY0" fmla="*/ 105992 h 105991"/>
                    <a:gd name="connsiteX1" fmla="*/ 105992 w 644268"/>
                    <a:gd name="connsiteY1" fmla="*/ 105992 h 105991"/>
                    <a:gd name="connsiteX2" fmla="*/ 0 w 644268"/>
                    <a:gd name="connsiteY2" fmla="*/ 0 h 105991"/>
                    <a:gd name="connsiteX3" fmla="*/ 644268 w 644268"/>
                    <a:gd name="connsiteY3" fmla="*/ 0 h 105991"/>
                    <a:gd name="connsiteX4" fmla="*/ 538277 w 644268"/>
                    <a:gd name="connsiteY4" fmla="*/ 105992 h 105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4268" h="105991">
                      <a:moveTo>
                        <a:pt x="538277" y="105992"/>
                      </a:moveTo>
                      <a:lnTo>
                        <a:pt x="105992" y="105992"/>
                      </a:lnTo>
                      <a:cubicBezTo>
                        <a:pt x="47450" y="105992"/>
                        <a:pt x="0" y="58541"/>
                        <a:pt x="0" y="0"/>
                      </a:cubicBezTo>
                      <a:lnTo>
                        <a:pt x="644268" y="0"/>
                      </a:lnTo>
                      <a:cubicBezTo>
                        <a:pt x="644268" y="58541"/>
                        <a:pt x="596818" y="105992"/>
                        <a:pt x="538277" y="105992"/>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260" name="Graphic 10">
                  <a:extLst>
                    <a:ext uri="{FF2B5EF4-FFF2-40B4-BE49-F238E27FC236}">
                      <a16:creationId xmlns:a16="http://schemas.microsoft.com/office/drawing/2014/main" id="{F8634D79-6418-48AD-AAE7-0C063E31BC63}"/>
                    </a:ext>
                  </a:extLst>
                </p:cNvPr>
                <p:cNvGrpSpPr/>
                <p:nvPr/>
              </p:nvGrpSpPr>
              <p:grpSpPr>
                <a:xfrm>
                  <a:off x="9663413" y="9822492"/>
                  <a:ext cx="363881" cy="363881"/>
                  <a:chOff x="9663413" y="9822492"/>
                  <a:chExt cx="363881" cy="363881"/>
                </a:xfrm>
              </p:grpSpPr>
              <p:sp>
                <p:nvSpPr>
                  <p:cNvPr id="1264" name="Freeform: Shape 1263">
                    <a:extLst>
                      <a:ext uri="{FF2B5EF4-FFF2-40B4-BE49-F238E27FC236}">
                        <a16:creationId xmlns:a16="http://schemas.microsoft.com/office/drawing/2014/main" id="{4C80E1CA-4387-46EF-BF1C-8CCB93CCD698}"/>
                      </a:ext>
                    </a:extLst>
                  </p:cNvPr>
                  <p:cNvSpPr/>
                  <p:nvPr/>
                </p:nvSpPr>
                <p:spPr>
                  <a:xfrm>
                    <a:off x="9663413" y="9822492"/>
                    <a:ext cx="363881" cy="363881"/>
                  </a:xfrm>
                  <a:custGeom>
                    <a:avLst/>
                    <a:gdLst>
                      <a:gd name="connsiteX0" fmla="*/ 346730 w 363881"/>
                      <a:gd name="connsiteY0" fmla="*/ 263903 h 363881"/>
                      <a:gd name="connsiteX1" fmla="*/ 99979 w 363881"/>
                      <a:gd name="connsiteY1" fmla="*/ 17152 h 363881"/>
                      <a:gd name="connsiteX2" fmla="*/ 17152 w 363881"/>
                      <a:gd name="connsiteY2" fmla="*/ 17152 h 363881"/>
                      <a:gd name="connsiteX3" fmla="*/ 17152 w 363881"/>
                      <a:gd name="connsiteY3" fmla="*/ 99979 h 363881"/>
                      <a:gd name="connsiteX4" fmla="*/ 263903 w 363881"/>
                      <a:gd name="connsiteY4" fmla="*/ 346730 h 363881"/>
                      <a:gd name="connsiteX5" fmla="*/ 346730 w 363881"/>
                      <a:gd name="connsiteY5" fmla="*/ 346730 h 363881"/>
                      <a:gd name="connsiteX6" fmla="*/ 346730 w 363881"/>
                      <a:gd name="connsiteY6" fmla="*/ 263903 h 36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881" h="363881">
                        <a:moveTo>
                          <a:pt x="346730" y="263903"/>
                        </a:moveTo>
                        <a:lnTo>
                          <a:pt x="99979" y="17152"/>
                        </a:lnTo>
                        <a:cubicBezTo>
                          <a:pt x="77110" y="-5717"/>
                          <a:pt x="40023" y="-5717"/>
                          <a:pt x="17152" y="17152"/>
                        </a:cubicBezTo>
                        <a:cubicBezTo>
                          <a:pt x="-5717" y="40022"/>
                          <a:pt x="-5717" y="77109"/>
                          <a:pt x="17152" y="99979"/>
                        </a:cubicBezTo>
                        <a:lnTo>
                          <a:pt x="263903" y="346730"/>
                        </a:lnTo>
                        <a:cubicBezTo>
                          <a:pt x="286773" y="369599"/>
                          <a:pt x="323860" y="369599"/>
                          <a:pt x="346730" y="346730"/>
                        </a:cubicBezTo>
                        <a:cubicBezTo>
                          <a:pt x="369599" y="323860"/>
                          <a:pt x="369599" y="286773"/>
                          <a:pt x="346730" y="263903"/>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65" name="Freeform: Shape 1264">
                    <a:extLst>
                      <a:ext uri="{FF2B5EF4-FFF2-40B4-BE49-F238E27FC236}">
                        <a16:creationId xmlns:a16="http://schemas.microsoft.com/office/drawing/2014/main" id="{249F2224-7CC9-4722-9434-32038E4AE121}"/>
                      </a:ext>
                    </a:extLst>
                  </p:cNvPr>
                  <p:cNvSpPr/>
                  <p:nvPr/>
                </p:nvSpPr>
                <p:spPr>
                  <a:xfrm>
                    <a:off x="9690609" y="9849668"/>
                    <a:ext cx="309490" cy="309489"/>
                  </a:xfrm>
                  <a:custGeom>
                    <a:avLst/>
                    <a:gdLst>
                      <a:gd name="connsiteX0" fmla="*/ 299889 w 309490"/>
                      <a:gd name="connsiteY0" fmla="*/ 299889 h 309489"/>
                      <a:gd name="connsiteX1" fmla="*/ 299889 w 309490"/>
                      <a:gd name="connsiteY1" fmla="*/ 253559 h 309489"/>
                      <a:gd name="connsiteX2" fmla="*/ 253560 w 309490"/>
                      <a:gd name="connsiteY2" fmla="*/ 253559 h 309489"/>
                      <a:gd name="connsiteX3" fmla="*/ 253560 w 309490"/>
                      <a:gd name="connsiteY3" fmla="*/ 299889 h 309489"/>
                      <a:gd name="connsiteX4" fmla="*/ 299889 w 309490"/>
                      <a:gd name="connsiteY4" fmla="*/ 299889 h 309489"/>
                      <a:gd name="connsiteX5" fmla="*/ 55931 w 309490"/>
                      <a:gd name="connsiteY5" fmla="*/ 55931 h 309489"/>
                      <a:gd name="connsiteX6" fmla="*/ 55931 w 309490"/>
                      <a:gd name="connsiteY6" fmla="*/ 9601 h 309489"/>
                      <a:gd name="connsiteX7" fmla="*/ 9602 w 309490"/>
                      <a:gd name="connsiteY7" fmla="*/ 9601 h 309489"/>
                      <a:gd name="connsiteX8" fmla="*/ 9602 w 309490"/>
                      <a:gd name="connsiteY8" fmla="*/ 55931 h 309489"/>
                      <a:gd name="connsiteX9" fmla="*/ 55931 w 309490"/>
                      <a:gd name="connsiteY9" fmla="*/ 55931 h 30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490" h="309489">
                        <a:moveTo>
                          <a:pt x="299889" y="299889"/>
                        </a:moveTo>
                        <a:cubicBezTo>
                          <a:pt x="312691" y="287087"/>
                          <a:pt x="312691" y="266361"/>
                          <a:pt x="299889" y="253559"/>
                        </a:cubicBezTo>
                        <a:cubicBezTo>
                          <a:pt x="287087" y="240758"/>
                          <a:pt x="266361" y="240758"/>
                          <a:pt x="253560" y="253559"/>
                        </a:cubicBezTo>
                        <a:cubicBezTo>
                          <a:pt x="240758" y="266361"/>
                          <a:pt x="240758" y="287087"/>
                          <a:pt x="253560" y="299889"/>
                        </a:cubicBezTo>
                        <a:cubicBezTo>
                          <a:pt x="266361" y="312690"/>
                          <a:pt x="287087" y="312690"/>
                          <a:pt x="299889" y="299889"/>
                        </a:cubicBezTo>
                        <a:close/>
                        <a:moveTo>
                          <a:pt x="55931" y="55931"/>
                        </a:moveTo>
                        <a:cubicBezTo>
                          <a:pt x="68732" y="43129"/>
                          <a:pt x="68732" y="22403"/>
                          <a:pt x="55931" y="9601"/>
                        </a:cubicBezTo>
                        <a:cubicBezTo>
                          <a:pt x="43129" y="-3200"/>
                          <a:pt x="22403" y="-3200"/>
                          <a:pt x="9602" y="9601"/>
                        </a:cubicBezTo>
                        <a:cubicBezTo>
                          <a:pt x="-3201" y="22403"/>
                          <a:pt x="-3201" y="43129"/>
                          <a:pt x="9602" y="55931"/>
                        </a:cubicBezTo>
                        <a:cubicBezTo>
                          <a:pt x="22403" y="68732"/>
                          <a:pt x="43129" y="68732"/>
                          <a:pt x="55931" y="55931"/>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261" name="Graphic 10">
                  <a:extLst>
                    <a:ext uri="{FF2B5EF4-FFF2-40B4-BE49-F238E27FC236}">
                      <a16:creationId xmlns:a16="http://schemas.microsoft.com/office/drawing/2014/main" id="{7ADD0968-F386-48E1-A300-163035807796}"/>
                    </a:ext>
                  </a:extLst>
                </p:cNvPr>
                <p:cNvGrpSpPr/>
                <p:nvPr/>
              </p:nvGrpSpPr>
              <p:grpSpPr>
                <a:xfrm>
                  <a:off x="9646172" y="9483008"/>
                  <a:ext cx="156686" cy="481701"/>
                  <a:chOff x="9646172" y="9483008"/>
                  <a:chExt cx="156686" cy="481701"/>
                </a:xfrm>
              </p:grpSpPr>
              <p:sp>
                <p:nvSpPr>
                  <p:cNvPr id="1262" name="Freeform: Shape 1261">
                    <a:extLst>
                      <a:ext uri="{FF2B5EF4-FFF2-40B4-BE49-F238E27FC236}">
                        <a16:creationId xmlns:a16="http://schemas.microsoft.com/office/drawing/2014/main" id="{1948AF4F-B7E6-49DC-84E5-B13CADC51053}"/>
                      </a:ext>
                    </a:extLst>
                  </p:cNvPr>
                  <p:cNvSpPr/>
                  <p:nvPr/>
                </p:nvSpPr>
                <p:spPr>
                  <a:xfrm>
                    <a:off x="9646172" y="9483008"/>
                    <a:ext cx="156686" cy="481701"/>
                  </a:xfrm>
                  <a:custGeom>
                    <a:avLst/>
                    <a:gdLst>
                      <a:gd name="connsiteX0" fmla="*/ 156686 w 156686"/>
                      <a:gd name="connsiteY0" fmla="*/ 78343 h 481701"/>
                      <a:gd name="connsiteX1" fmla="*/ 156686 w 156686"/>
                      <a:gd name="connsiteY1" fmla="*/ 403359 h 481701"/>
                      <a:gd name="connsiteX2" fmla="*/ 78343 w 156686"/>
                      <a:gd name="connsiteY2" fmla="*/ 481702 h 481701"/>
                      <a:gd name="connsiteX3" fmla="*/ 0 w 156686"/>
                      <a:gd name="connsiteY3" fmla="*/ 403359 h 481701"/>
                      <a:gd name="connsiteX4" fmla="*/ 0 w 156686"/>
                      <a:gd name="connsiteY4" fmla="*/ 78343 h 481701"/>
                      <a:gd name="connsiteX5" fmla="*/ 78343 w 156686"/>
                      <a:gd name="connsiteY5" fmla="*/ 0 h 481701"/>
                      <a:gd name="connsiteX6" fmla="*/ 156686 w 156686"/>
                      <a:gd name="connsiteY6" fmla="*/ 78343 h 48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686" h="481701">
                        <a:moveTo>
                          <a:pt x="156686" y="78343"/>
                        </a:moveTo>
                        <a:lnTo>
                          <a:pt x="156686" y="403359"/>
                        </a:lnTo>
                        <a:cubicBezTo>
                          <a:pt x="156686" y="446620"/>
                          <a:pt x="121605" y="481702"/>
                          <a:pt x="78343" y="481702"/>
                        </a:cubicBezTo>
                        <a:cubicBezTo>
                          <a:pt x="35081" y="481702"/>
                          <a:pt x="0" y="446620"/>
                          <a:pt x="0" y="403359"/>
                        </a:cubicBezTo>
                        <a:lnTo>
                          <a:pt x="0" y="78343"/>
                        </a:lnTo>
                        <a:cubicBezTo>
                          <a:pt x="0" y="35081"/>
                          <a:pt x="35081" y="0"/>
                          <a:pt x="78343" y="0"/>
                        </a:cubicBezTo>
                        <a:cubicBezTo>
                          <a:pt x="121605" y="0"/>
                          <a:pt x="156686" y="35081"/>
                          <a:pt x="156686" y="78343"/>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63" name="Freeform: Shape 1262">
                    <a:extLst>
                      <a:ext uri="{FF2B5EF4-FFF2-40B4-BE49-F238E27FC236}">
                        <a16:creationId xmlns:a16="http://schemas.microsoft.com/office/drawing/2014/main" id="{8947E782-B0FE-4E97-80EB-DA856DA488DE}"/>
                      </a:ext>
                    </a:extLst>
                  </p:cNvPr>
                  <p:cNvSpPr/>
                  <p:nvPr/>
                </p:nvSpPr>
                <p:spPr>
                  <a:xfrm>
                    <a:off x="9680703" y="9520174"/>
                    <a:ext cx="87625" cy="407370"/>
                  </a:xfrm>
                  <a:custGeom>
                    <a:avLst/>
                    <a:gdLst>
                      <a:gd name="connsiteX0" fmla="*/ 0 w 87625"/>
                      <a:gd name="connsiteY0" fmla="*/ 43813 h 407370"/>
                      <a:gd name="connsiteX1" fmla="*/ 43812 w 87625"/>
                      <a:gd name="connsiteY1" fmla="*/ 87625 h 407370"/>
                      <a:gd name="connsiteX2" fmla="*/ 87625 w 87625"/>
                      <a:gd name="connsiteY2" fmla="*/ 43813 h 407370"/>
                      <a:gd name="connsiteX3" fmla="*/ 43812 w 87625"/>
                      <a:gd name="connsiteY3" fmla="*/ 0 h 407370"/>
                      <a:gd name="connsiteX4" fmla="*/ 0 w 87625"/>
                      <a:gd name="connsiteY4" fmla="*/ 43813 h 407370"/>
                      <a:gd name="connsiteX5" fmla="*/ 0 w 87625"/>
                      <a:gd name="connsiteY5" fmla="*/ 363557 h 407370"/>
                      <a:gd name="connsiteX6" fmla="*/ 43812 w 87625"/>
                      <a:gd name="connsiteY6" fmla="*/ 407370 h 407370"/>
                      <a:gd name="connsiteX7" fmla="*/ 87625 w 87625"/>
                      <a:gd name="connsiteY7" fmla="*/ 363557 h 407370"/>
                      <a:gd name="connsiteX8" fmla="*/ 43812 w 87625"/>
                      <a:gd name="connsiteY8" fmla="*/ 319745 h 407370"/>
                      <a:gd name="connsiteX9" fmla="*/ 0 w 87625"/>
                      <a:gd name="connsiteY9" fmla="*/ 363557 h 40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625" h="407370">
                        <a:moveTo>
                          <a:pt x="0" y="43813"/>
                        </a:moveTo>
                        <a:cubicBezTo>
                          <a:pt x="0" y="68020"/>
                          <a:pt x="19625" y="87625"/>
                          <a:pt x="43812" y="87625"/>
                        </a:cubicBezTo>
                        <a:cubicBezTo>
                          <a:pt x="67999" y="87625"/>
                          <a:pt x="87625" y="68000"/>
                          <a:pt x="87625" y="43813"/>
                        </a:cubicBezTo>
                        <a:cubicBezTo>
                          <a:pt x="87625" y="19625"/>
                          <a:pt x="67999" y="0"/>
                          <a:pt x="43812" y="0"/>
                        </a:cubicBezTo>
                        <a:cubicBezTo>
                          <a:pt x="19625" y="0"/>
                          <a:pt x="0" y="19625"/>
                          <a:pt x="0" y="43813"/>
                        </a:cubicBezTo>
                        <a:close/>
                        <a:moveTo>
                          <a:pt x="0" y="363557"/>
                        </a:moveTo>
                        <a:cubicBezTo>
                          <a:pt x="0" y="387764"/>
                          <a:pt x="19625" y="407370"/>
                          <a:pt x="43812" y="407370"/>
                        </a:cubicBezTo>
                        <a:cubicBezTo>
                          <a:pt x="67999" y="407370"/>
                          <a:pt x="87625" y="387745"/>
                          <a:pt x="87625" y="363557"/>
                        </a:cubicBezTo>
                        <a:cubicBezTo>
                          <a:pt x="87625" y="339370"/>
                          <a:pt x="67999" y="319745"/>
                          <a:pt x="43812" y="319745"/>
                        </a:cubicBezTo>
                        <a:cubicBezTo>
                          <a:pt x="19625" y="319745"/>
                          <a:pt x="0" y="339370"/>
                          <a:pt x="0" y="363557"/>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796" name="Graphic 10">
                <a:extLst>
                  <a:ext uri="{FF2B5EF4-FFF2-40B4-BE49-F238E27FC236}">
                    <a16:creationId xmlns:a16="http://schemas.microsoft.com/office/drawing/2014/main" id="{452DCADF-AFA9-446F-895F-57CAE10673F6}"/>
                  </a:ext>
                </a:extLst>
              </p:cNvPr>
              <p:cNvGrpSpPr/>
              <p:nvPr/>
            </p:nvGrpSpPr>
            <p:grpSpPr>
              <a:xfrm>
                <a:off x="8036134" y="9564262"/>
                <a:ext cx="1914091" cy="1349752"/>
                <a:chOff x="8036134" y="9564262"/>
                <a:chExt cx="1914091" cy="1349752"/>
              </a:xfrm>
            </p:grpSpPr>
            <p:grpSp>
              <p:nvGrpSpPr>
                <p:cNvPr id="1221" name="Graphic 10">
                  <a:extLst>
                    <a:ext uri="{FF2B5EF4-FFF2-40B4-BE49-F238E27FC236}">
                      <a16:creationId xmlns:a16="http://schemas.microsoft.com/office/drawing/2014/main" id="{49F94BA8-7B88-4EEB-BC28-5F305EFFA326}"/>
                    </a:ext>
                  </a:extLst>
                </p:cNvPr>
                <p:cNvGrpSpPr/>
                <p:nvPr/>
              </p:nvGrpSpPr>
              <p:grpSpPr>
                <a:xfrm>
                  <a:off x="8036134" y="9661255"/>
                  <a:ext cx="887946" cy="887965"/>
                  <a:chOff x="8036134" y="9661255"/>
                  <a:chExt cx="887946" cy="887965"/>
                </a:xfrm>
              </p:grpSpPr>
              <p:grpSp>
                <p:nvGrpSpPr>
                  <p:cNvPr id="1236" name="Graphic 10">
                    <a:extLst>
                      <a:ext uri="{FF2B5EF4-FFF2-40B4-BE49-F238E27FC236}">
                        <a16:creationId xmlns:a16="http://schemas.microsoft.com/office/drawing/2014/main" id="{42BEDC34-CD80-49B3-8FD1-3845124925E4}"/>
                      </a:ext>
                    </a:extLst>
                  </p:cNvPr>
                  <p:cNvGrpSpPr/>
                  <p:nvPr/>
                </p:nvGrpSpPr>
                <p:grpSpPr>
                  <a:xfrm>
                    <a:off x="8036134" y="10064567"/>
                    <a:ext cx="484264" cy="484653"/>
                    <a:chOff x="8036134" y="10064567"/>
                    <a:chExt cx="484264" cy="484653"/>
                  </a:xfrm>
                </p:grpSpPr>
                <p:sp>
                  <p:nvSpPr>
                    <p:cNvPr id="1247" name="Freeform: Shape 1246">
                      <a:extLst>
                        <a:ext uri="{FF2B5EF4-FFF2-40B4-BE49-F238E27FC236}">
                          <a16:creationId xmlns:a16="http://schemas.microsoft.com/office/drawing/2014/main" id="{20994441-38A5-4534-9E78-27BB0EB0C791}"/>
                        </a:ext>
                      </a:extLst>
                    </p:cNvPr>
                    <p:cNvSpPr/>
                    <p:nvPr/>
                  </p:nvSpPr>
                  <p:spPr>
                    <a:xfrm rot="8100000">
                      <a:off x="8242669" y="10258158"/>
                      <a:ext cx="34707" cy="133502"/>
                    </a:xfrm>
                    <a:custGeom>
                      <a:avLst/>
                      <a:gdLst>
                        <a:gd name="connsiteX0" fmla="*/ 0 w 34707"/>
                        <a:gd name="connsiteY0" fmla="*/ 0 h 133502"/>
                        <a:gd name="connsiteX1" fmla="*/ 34707 w 34707"/>
                        <a:gd name="connsiteY1" fmla="*/ 0 h 133502"/>
                        <a:gd name="connsiteX2" fmla="*/ 34707 w 34707"/>
                        <a:gd name="connsiteY2" fmla="*/ 133502 h 133502"/>
                        <a:gd name="connsiteX3" fmla="*/ 0 w 34707"/>
                        <a:gd name="connsiteY3" fmla="*/ 133502 h 133502"/>
                      </a:gdLst>
                      <a:ahLst/>
                      <a:cxnLst>
                        <a:cxn ang="0">
                          <a:pos x="connsiteX0" y="connsiteY0"/>
                        </a:cxn>
                        <a:cxn ang="0">
                          <a:pos x="connsiteX1" y="connsiteY1"/>
                        </a:cxn>
                        <a:cxn ang="0">
                          <a:pos x="connsiteX2" y="connsiteY2"/>
                        </a:cxn>
                        <a:cxn ang="0">
                          <a:pos x="connsiteX3" y="connsiteY3"/>
                        </a:cxn>
                      </a:cxnLst>
                      <a:rect l="l" t="t" r="r" b="b"/>
                      <a:pathLst>
                        <a:path w="34707" h="133502">
                          <a:moveTo>
                            <a:pt x="0" y="0"/>
                          </a:moveTo>
                          <a:lnTo>
                            <a:pt x="34707" y="0"/>
                          </a:lnTo>
                          <a:lnTo>
                            <a:pt x="34707" y="133502"/>
                          </a:lnTo>
                          <a:lnTo>
                            <a:pt x="0" y="133502"/>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48" name="Freeform: Shape 1247">
                      <a:extLst>
                        <a:ext uri="{FF2B5EF4-FFF2-40B4-BE49-F238E27FC236}">
                          <a16:creationId xmlns:a16="http://schemas.microsoft.com/office/drawing/2014/main" id="{D08B7A60-EF35-4E05-A8A2-F00B63804F52}"/>
                        </a:ext>
                      </a:extLst>
                    </p:cNvPr>
                    <p:cNvSpPr/>
                    <p:nvPr/>
                  </p:nvSpPr>
                  <p:spPr>
                    <a:xfrm rot="8100000">
                      <a:off x="8260036" y="10216239"/>
                      <a:ext cx="83966" cy="133502"/>
                    </a:xfrm>
                    <a:custGeom>
                      <a:avLst/>
                      <a:gdLst>
                        <a:gd name="connsiteX0" fmla="*/ 29870 w 83966"/>
                        <a:gd name="connsiteY0" fmla="*/ 0 h 133502"/>
                        <a:gd name="connsiteX1" fmla="*/ 83967 w 83966"/>
                        <a:gd name="connsiteY1" fmla="*/ 0 h 133502"/>
                        <a:gd name="connsiteX2" fmla="*/ 83967 w 83966"/>
                        <a:gd name="connsiteY2" fmla="*/ 133502 h 133502"/>
                        <a:gd name="connsiteX3" fmla="*/ 29870 w 83966"/>
                        <a:gd name="connsiteY3" fmla="*/ 133502 h 133502"/>
                        <a:gd name="connsiteX4" fmla="*/ 0 w 83966"/>
                        <a:gd name="connsiteY4" fmla="*/ 103632 h 133502"/>
                        <a:gd name="connsiteX5" fmla="*/ 0 w 83966"/>
                        <a:gd name="connsiteY5" fmla="*/ 29870 h 133502"/>
                        <a:gd name="connsiteX6" fmla="*/ 29870 w 83966"/>
                        <a:gd name="connsiteY6" fmla="*/ 0 h 13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966" h="133502">
                          <a:moveTo>
                            <a:pt x="29870" y="0"/>
                          </a:moveTo>
                          <a:lnTo>
                            <a:pt x="83967" y="0"/>
                          </a:lnTo>
                          <a:lnTo>
                            <a:pt x="83967" y="133502"/>
                          </a:lnTo>
                          <a:lnTo>
                            <a:pt x="29870" y="133502"/>
                          </a:lnTo>
                          <a:cubicBezTo>
                            <a:pt x="13391" y="133502"/>
                            <a:pt x="0" y="120111"/>
                            <a:pt x="0" y="103632"/>
                          </a:cubicBezTo>
                          <a:lnTo>
                            <a:pt x="0" y="29870"/>
                          </a:lnTo>
                          <a:cubicBezTo>
                            <a:pt x="0" y="13392"/>
                            <a:pt x="13391" y="0"/>
                            <a:pt x="29870" y="0"/>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49" name="Freeform: Shape 1248">
                      <a:extLst>
                        <a:ext uri="{FF2B5EF4-FFF2-40B4-BE49-F238E27FC236}">
                          <a16:creationId xmlns:a16="http://schemas.microsoft.com/office/drawing/2014/main" id="{AC8B38E8-E91F-4FF2-AA59-39201F16ABC1}"/>
                        </a:ext>
                      </a:extLst>
                    </p:cNvPr>
                    <p:cNvSpPr/>
                    <p:nvPr/>
                  </p:nvSpPr>
                  <p:spPr>
                    <a:xfrm>
                      <a:off x="8119415" y="10356447"/>
                      <a:ext cx="189311" cy="168924"/>
                    </a:xfrm>
                    <a:custGeom>
                      <a:avLst/>
                      <a:gdLst>
                        <a:gd name="connsiteX0" fmla="*/ 4409 w 189311"/>
                        <a:gd name="connsiteY0" fmla="*/ 143197 h 168924"/>
                        <a:gd name="connsiteX1" fmla="*/ 147606 w 189311"/>
                        <a:gd name="connsiteY1" fmla="*/ 0 h 168924"/>
                        <a:gd name="connsiteX2" fmla="*/ 181587 w 189311"/>
                        <a:gd name="connsiteY2" fmla="*/ 33980 h 168924"/>
                        <a:gd name="connsiteX3" fmla="*/ 176435 w 189311"/>
                        <a:gd name="connsiteY3" fmla="*/ 75256 h 168924"/>
                        <a:gd name="connsiteX4" fmla="*/ 22776 w 189311"/>
                        <a:gd name="connsiteY4" fmla="*/ 166794 h 168924"/>
                        <a:gd name="connsiteX5" fmla="*/ 4409 w 189311"/>
                        <a:gd name="connsiteY5" fmla="*/ 164494 h 168924"/>
                        <a:gd name="connsiteX6" fmla="*/ 4409 w 189311"/>
                        <a:gd name="connsiteY6" fmla="*/ 143177 h 168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311" h="168924">
                          <a:moveTo>
                            <a:pt x="4409" y="143197"/>
                          </a:moveTo>
                          <a:lnTo>
                            <a:pt x="147606" y="0"/>
                          </a:lnTo>
                          <a:lnTo>
                            <a:pt x="181587" y="33980"/>
                          </a:lnTo>
                          <a:cubicBezTo>
                            <a:pt x="193740" y="46133"/>
                            <a:pt x="191203" y="66466"/>
                            <a:pt x="176435" y="75256"/>
                          </a:cubicBezTo>
                          <a:lnTo>
                            <a:pt x="22776" y="166794"/>
                          </a:lnTo>
                          <a:cubicBezTo>
                            <a:pt x="16857" y="170334"/>
                            <a:pt x="9286" y="169390"/>
                            <a:pt x="4409" y="164494"/>
                          </a:cubicBezTo>
                          <a:cubicBezTo>
                            <a:pt x="-1470" y="158614"/>
                            <a:pt x="-1470" y="149057"/>
                            <a:pt x="4409" y="143177"/>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50" name="Freeform: Shape 1249">
                      <a:extLst>
                        <a:ext uri="{FF2B5EF4-FFF2-40B4-BE49-F238E27FC236}">
                          <a16:creationId xmlns:a16="http://schemas.microsoft.com/office/drawing/2014/main" id="{13EDC35D-94AE-4D13-93D8-04D5D5D44977}"/>
                        </a:ext>
                      </a:extLst>
                    </p:cNvPr>
                    <p:cNvSpPr/>
                    <p:nvPr/>
                  </p:nvSpPr>
                  <p:spPr>
                    <a:xfrm rot="-796800">
                      <a:off x="8047804" y="10422552"/>
                      <a:ext cx="114998" cy="114998"/>
                    </a:xfrm>
                    <a:custGeom>
                      <a:avLst/>
                      <a:gdLst>
                        <a:gd name="connsiteX0" fmla="*/ 114998 w 114998"/>
                        <a:gd name="connsiteY0" fmla="*/ 57499 h 114998"/>
                        <a:gd name="connsiteX1" fmla="*/ 57498 w 114998"/>
                        <a:gd name="connsiteY1" fmla="*/ 114998 h 114998"/>
                        <a:gd name="connsiteX2" fmla="*/ -1 w 114998"/>
                        <a:gd name="connsiteY2" fmla="*/ 57499 h 114998"/>
                        <a:gd name="connsiteX3" fmla="*/ 57498 w 114998"/>
                        <a:gd name="connsiteY3" fmla="*/ 0 h 114998"/>
                        <a:gd name="connsiteX4" fmla="*/ 114998 w 114998"/>
                        <a:gd name="connsiteY4" fmla="*/ 57499 h 1149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98" h="114998">
                          <a:moveTo>
                            <a:pt x="114998" y="57499"/>
                          </a:moveTo>
                          <a:cubicBezTo>
                            <a:pt x="114998" y="89255"/>
                            <a:pt x="89254" y="114998"/>
                            <a:pt x="57498" y="114998"/>
                          </a:cubicBezTo>
                          <a:cubicBezTo>
                            <a:pt x="25742" y="114998"/>
                            <a:pt x="-1" y="89255"/>
                            <a:pt x="-1" y="57499"/>
                          </a:cubicBezTo>
                          <a:cubicBezTo>
                            <a:pt x="-1" y="25743"/>
                            <a:pt x="25742" y="0"/>
                            <a:pt x="57498" y="0"/>
                          </a:cubicBezTo>
                          <a:cubicBezTo>
                            <a:pt x="89254" y="0"/>
                            <a:pt x="114998" y="25743"/>
                            <a:pt x="114998" y="57499"/>
                          </a:cubicBez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51" name="Freeform: Shape 1250">
                      <a:extLst>
                        <a:ext uri="{FF2B5EF4-FFF2-40B4-BE49-F238E27FC236}">
                          <a16:creationId xmlns:a16="http://schemas.microsoft.com/office/drawing/2014/main" id="{78B48CDB-11CB-4CFB-90D1-1C3E7A73D649}"/>
                        </a:ext>
                      </a:extLst>
                    </p:cNvPr>
                    <p:cNvSpPr/>
                    <p:nvPr/>
                  </p:nvSpPr>
                  <p:spPr>
                    <a:xfrm>
                      <a:off x="8059589" y="10276240"/>
                      <a:ext cx="168909" cy="189311"/>
                    </a:xfrm>
                    <a:custGeom>
                      <a:avLst/>
                      <a:gdLst>
                        <a:gd name="connsiteX0" fmla="*/ 4416 w 168909"/>
                        <a:gd name="connsiteY0" fmla="*/ 184901 h 189311"/>
                        <a:gd name="connsiteX1" fmla="*/ 2116 w 168909"/>
                        <a:gd name="connsiteY1" fmla="*/ 166535 h 189311"/>
                        <a:gd name="connsiteX2" fmla="*/ 93653 w 168909"/>
                        <a:gd name="connsiteY2" fmla="*/ 12876 h 189311"/>
                        <a:gd name="connsiteX3" fmla="*/ 134930 w 168909"/>
                        <a:gd name="connsiteY3" fmla="*/ 7724 h 189311"/>
                        <a:gd name="connsiteX4" fmla="*/ 168910 w 168909"/>
                        <a:gd name="connsiteY4" fmla="*/ 41704 h 189311"/>
                        <a:gd name="connsiteX5" fmla="*/ 25713 w 168909"/>
                        <a:gd name="connsiteY5" fmla="*/ 184901 h 189311"/>
                        <a:gd name="connsiteX6" fmla="*/ 4396 w 168909"/>
                        <a:gd name="connsiteY6" fmla="*/ 184901 h 18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909" h="189311">
                          <a:moveTo>
                            <a:pt x="4416" y="184901"/>
                          </a:moveTo>
                          <a:cubicBezTo>
                            <a:pt x="-461" y="180025"/>
                            <a:pt x="-1404" y="172454"/>
                            <a:pt x="2116" y="166535"/>
                          </a:cubicBezTo>
                          <a:lnTo>
                            <a:pt x="93653" y="12876"/>
                          </a:lnTo>
                          <a:cubicBezTo>
                            <a:pt x="102444" y="-1892"/>
                            <a:pt x="122777" y="-4428"/>
                            <a:pt x="134930" y="7724"/>
                          </a:cubicBezTo>
                          <a:lnTo>
                            <a:pt x="168910" y="41704"/>
                          </a:lnTo>
                          <a:lnTo>
                            <a:pt x="25713" y="184901"/>
                          </a:lnTo>
                          <a:cubicBezTo>
                            <a:pt x="19833" y="190781"/>
                            <a:pt x="10276" y="190781"/>
                            <a:pt x="4396" y="184901"/>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52" name="Freeform: Shape 1251">
                      <a:extLst>
                        <a:ext uri="{FF2B5EF4-FFF2-40B4-BE49-F238E27FC236}">
                          <a16:creationId xmlns:a16="http://schemas.microsoft.com/office/drawing/2014/main" id="{38E465B8-A145-4E5B-86A8-017177B8E513}"/>
                        </a:ext>
                      </a:extLst>
                    </p:cNvPr>
                    <p:cNvSpPr/>
                    <p:nvPr/>
                  </p:nvSpPr>
                  <p:spPr>
                    <a:xfrm>
                      <a:off x="8272964" y="10253941"/>
                      <a:ext cx="58078" cy="58079"/>
                    </a:xfrm>
                    <a:custGeom>
                      <a:avLst/>
                      <a:gdLst>
                        <a:gd name="connsiteX0" fmla="*/ 8510 w 58078"/>
                        <a:gd name="connsiteY0" fmla="*/ 49569 h 58079"/>
                        <a:gd name="connsiteX1" fmla="*/ 49569 w 58078"/>
                        <a:gd name="connsiteY1" fmla="*/ 49569 h 58079"/>
                        <a:gd name="connsiteX2" fmla="*/ 49569 w 58078"/>
                        <a:gd name="connsiteY2" fmla="*/ 8510 h 58079"/>
                        <a:gd name="connsiteX3" fmla="*/ 8510 w 58078"/>
                        <a:gd name="connsiteY3" fmla="*/ 8510 h 58079"/>
                        <a:gd name="connsiteX4" fmla="*/ 8510 w 58078"/>
                        <a:gd name="connsiteY4" fmla="*/ 49569 h 58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078" h="58079">
                          <a:moveTo>
                            <a:pt x="8510" y="49569"/>
                          </a:moveTo>
                          <a:cubicBezTo>
                            <a:pt x="19856" y="60916"/>
                            <a:pt x="38224" y="60916"/>
                            <a:pt x="49569" y="49569"/>
                          </a:cubicBezTo>
                          <a:cubicBezTo>
                            <a:pt x="60916" y="38223"/>
                            <a:pt x="60916" y="19856"/>
                            <a:pt x="49569" y="8510"/>
                          </a:cubicBezTo>
                          <a:cubicBezTo>
                            <a:pt x="38224" y="-2837"/>
                            <a:pt x="19856" y="-2837"/>
                            <a:pt x="8510" y="8510"/>
                          </a:cubicBezTo>
                          <a:cubicBezTo>
                            <a:pt x="-2837" y="19856"/>
                            <a:pt x="-2837" y="38223"/>
                            <a:pt x="8510" y="49569"/>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53" name="Freeform: Shape 1252">
                      <a:extLst>
                        <a:ext uri="{FF2B5EF4-FFF2-40B4-BE49-F238E27FC236}">
                          <a16:creationId xmlns:a16="http://schemas.microsoft.com/office/drawing/2014/main" id="{874A9CEB-419B-4D4C-BD96-01DF5D3B867D}"/>
                        </a:ext>
                      </a:extLst>
                    </p:cNvPr>
                    <p:cNvSpPr/>
                    <p:nvPr/>
                  </p:nvSpPr>
                  <p:spPr>
                    <a:xfrm>
                      <a:off x="8286455" y="10107617"/>
                      <a:ext cx="190912" cy="190912"/>
                    </a:xfrm>
                    <a:custGeom>
                      <a:avLst/>
                      <a:gdLst>
                        <a:gd name="connsiteX0" fmla="*/ 162267 w 190912"/>
                        <a:gd name="connsiteY0" fmla="*/ 4911 h 190912"/>
                        <a:gd name="connsiteX1" fmla="*/ 4911 w 190912"/>
                        <a:gd name="connsiteY1" fmla="*/ 162267 h 190912"/>
                        <a:gd name="connsiteX2" fmla="*/ 4911 w 190912"/>
                        <a:gd name="connsiteY2" fmla="*/ 186002 h 190912"/>
                        <a:gd name="connsiteX3" fmla="*/ 28646 w 190912"/>
                        <a:gd name="connsiteY3" fmla="*/ 186002 h 190912"/>
                        <a:gd name="connsiteX4" fmla="*/ 186002 w 190912"/>
                        <a:gd name="connsiteY4" fmla="*/ 28646 h 190912"/>
                        <a:gd name="connsiteX5" fmla="*/ 186002 w 190912"/>
                        <a:gd name="connsiteY5" fmla="*/ 4911 h 190912"/>
                        <a:gd name="connsiteX6" fmla="*/ 162267 w 190912"/>
                        <a:gd name="connsiteY6" fmla="*/ 4911 h 19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912" h="190912">
                          <a:moveTo>
                            <a:pt x="162267" y="4911"/>
                          </a:moveTo>
                          <a:lnTo>
                            <a:pt x="4911" y="162267"/>
                          </a:lnTo>
                          <a:cubicBezTo>
                            <a:pt x="-1637" y="168815"/>
                            <a:pt x="-1637" y="179453"/>
                            <a:pt x="4911" y="186002"/>
                          </a:cubicBezTo>
                          <a:cubicBezTo>
                            <a:pt x="11460" y="192550"/>
                            <a:pt x="22098" y="192550"/>
                            <a:pt x="28646" y="186002"/>
                          </a:cubicBezTo>
                          <a:lnTo>
                            <a:pt x="186002" y="28646"/>
                          </a:lnTo>
                          <a:cubicBezTo>
                            <a:pt x="192550" y="22098"/>
                            <a:pt x="192550" y="11460"/>
                            <a:pt x="186002" y="4911"/>
                          </a:cubicBezTo>
                          <a:cubicBezTo>
                            <a:pt x="179453" y="-1637"/>
                            <a:pt x="168814" y="-1637"/>
                            <a:pt x="162267" y="4911"/>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54" name="Freeform: Shape 1253">
                      <a:extLst>
                        <a:ext uri="{FF2B5EF4-FFF2-40B4-BE49-F238E27FC236}">
                          <a16:creationId xmlns:a16="http://schemas.microsoft.com/office/drawing/2014/main" id="{35C8B0CF-AB1B-4852-8B09-8E2B1B0BD5BB}"/>
                        </a:ext>
                      </a:extLst>
                    </p:cNvPr>
                    <p:cNvSpPr/>
                    <p:nvPr/>
                  </p:nvSpPr>
                  <p:spPr>
                    <a:xfrm>
                      <a:off x="8371474" y="10064567"/>
                      <a:ext cx="148924" cy="148924"/>
                    </a:xfrm>
                    <a:custGeom>
                      <a:avLst/>
                      <a:gdLst>
                        <a:gd name="connsiteX0" fmla="*/ 15560 w 148924"/>
                        <a:gd name="connsiteY0" fmla="*/ 58227 h 148924"/>
                        <a:gd name="connsiteX1" fmla="*/ 15560 w 148924"/>
                        <a:gd name="connsiteY1" fmla="*/ 133365 h 148924"/>
                        <a:gd name="connsiteX2" fmla="*/ 90698 w 148924"/>
                        <a:gd name="connsiteY2" fmla="*/ 133365 h 148924"/>
                        <a:gd name="connsiteX3" fmla="*/ 148924 w 148924"/>
                        <a:gd name="connsiteY3" fmla="*/ 75138 h 148924"/>
                        <a:gd name="connsiteX4" fmla="*/ 73786 w 148924"/>
                        <a:gd name="connsiteY4" fmla="*/ 0 h 148924"/>
                        <a:gd name="connsiteX5" fmla="*/ 15560 w 148924"/>
                        <a:gd name="connsiteY5" fmla="*/ 58227 h 148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924" h="148924">
                          <a:moveTo>
                            <a:pt x="15560" y="58227"/>
                          </a:moveTo>
                          <a:cubicBezTo>
                            <a:pt x="-5187" y="78973"/>
                            <a:pt x="-5187" y="112619"/>
                            <a:pt x="15560" y="133365"/>
                          </a:cubicBezTo>
                          <a:cubicBezTo>
                            <a:pt x="36306" y="154111"/>
                            <a:pt x="69952" y="154111"/>
                            <a:pt x="90698" y="133365"/>
                          </a:cubicBezTo>
                          <a:lnTo>
                            <a:pt x="148924" y="75138"/>
                          </a:lnTo>
                          <a:lnTo>
                            <a:pt x="73786" y="0"/>
                          </a:lnTo>
                          <a:lnTo>
                            <a:pt x="15560" y="58227"/>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237" name="Graphic 10">
                    <a:extLst>
                      <a:ext uri="{FF2B5EF4-FFF2-40B4-BE49-F238E27FC236}">
                        <a16:creationId xmlns:a16="http://schemas.microsoft.com/office/drawing/2014/main" id="{4757AE3A-F1DD-47D3-96AB-FD9C0E19327A}"/>
                      </a:ext>
                    </a:extLst>
                  </p:cNvPr>
                  <p:cNvGrpSpPr/>
                  <p:nvPr/>
                </p:nvGrpSpPr>
                <p:grpSpPr>
                  <a:xfrm>
                    <a:off x="8422902" y="9788713"/>
                    <a:ext cx="373743" cy="373625"/>
                    <a:chOff x="8422902" y="9788713"/>
                    <a:chExt cx="373743" cy="373625"/>
                  </a:xfrm>
                </p:grpSpPr>
                <p:sp>
                  <p:nvSpPr>
                    <p:cNvPr id="1242" name="Freeform: Shape 1241">
                      <a:extLst>
                        <a:ext uri="{FF2B5EF4-FFF2-40B4-BE49-F238E27FC236}">
                          <a16:creationId xmlns:a16="http://schemas.microsoft.com/office/drawing/2014/main" id="{98A18F4C-E341-4B5F-B038-82D4EBFDC656}"/>
                        </a:ext>
                      </a:extLst>
                    </p:cNvPr>
                    <p:cNvSpPr/>
                    <p:nvPr/>
                  </p:nvSpPr>
                  <p:spPr>
                    <a:xfrm rot="-8100000">
                      <a:off x="8564037" y="9860092"/>
                      <a:ext cx="34845" cy="287554"/>
                    </a:xfrm>
                    <a:custGeom>
                      <a:avLst/>
                      <a:gdLst>
                        <a:gd name="connsiteX0" fmla="*/ 0 w 34845"/>
                        <a:gd name="connsiteY0" fmla="*/ 0 h 287554"/>
                        <a:gd name="connsiteX1" fmla="*/ 34846 w 34845"/>
                        <a:gd name="connsiteY1" fmla="*/ 0 h 287554"/>
                        <a:gd name="connsiteX2" fmla="*/ 34846 w 34845"/>
                        <a:gd name="connsiteY2" fmla="*/ 287554 h 287554"/>
                        <a:gd name="connsiteX3" fmla="*/ 0 w 34845"/>
                        <a:gd name="connsiteY3" fmla="*/ 287554 h 287554"/>
                      </a:gdLst>
                      <a:ahLst/>
                      <a:cxnLst>
                        <a:cxn ang="0">
                          <a:pos x="connsiteX0" y="connsiteY0"/>
                        </a:cxn>
                        <a:cxn ang="0">
                          <a:pos x="connsiteX1" y="connsiteY1"/>
                        </a:cxn>
                        <a:cxn ang="0">
                          <a:pos x="connsiteX2" y="connsiteY2"/>
                        </a:cxn>
                        <a:cxn ang="0">
                          <a:pos x="connsiteX3" y="connsiteY3"/>
                        </a:cxn>
                      </a:cxnLst>
                      <a:rect l="l" t="t" r="r" b="b"/>
                      <a:pathLst>
                        <a:path w="34845" h="287554">
                          <a:moveTo>
                            <a:pt x="0" y="0"/>
                          </a:moveTo>
                          <a:lnTo>
                            <a:pt x="34846" y="0"/>
                          </a:lnTo>
                          <a:lnTo>
                            <a:pt x="34846" y="287554"/>
                          </a:lnTo>
                          <a:lnTo>
                            <a:pt x="0" y="287554"/>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43" name="Freeform: Shape 1242">
                      <a:extLst>
                        <a:ext uri="{FF2B5EF4-FFF2-40B4-BE49-F238E27FC236}">
                          <a16:creationId xmlns:a16="http://schemas.microsoft.com/office/drawing/2014/main" id="{01F3104B-0DB4-47C5-B7B6-2F780A01FF87}"/>
                        </a:ext>
                      </a:extLst>
                    </p:cNvPr>
                    <p:cNvSpPr/>
                    <p:nvPr/>
                  </p:nvSpPr>
                  <p:spPr>
                    <a:xfrm>
                      <a:off x="8438319" y="9860724"/>
                      <a:ext cx="286315" cy="286315"/>
                    </a:xfrm>
                    <a:custGeom>
                      <a:avLst/>
                      <a:gdLst>
                        <a:gd name="connsiteX0" fmla="*/ 203331 w 286315"/>
                        <a:gd name="connsiteY0" fmla="*/ 0 h 286315"/>
                        <a:gd name="connsiteX1" fmla="*/ 0 w 286315"/>
                        <a:gd name="connsiteY1" fmla="*/ 203331 h 286315"/>
                        <a:gd name="connsiteX2" fmla="*/ 9773 w 286315"/>
                        <a:gd name="connsiteY2" fmla="*/ 213104 h 286315"/>
                        <a:gd name="connsiteX3" fmla="*/ 213104 w 286315"/>
                        <a:gd name="connsiteY3" fmla="*/ 9773 h 286315"/>
                        <a:gd name="connsiteX4" fmla="*/ 203331 w 286315"/>
                        <a:gd name="connsiteY4" fmla="*/ 0 h 286315"/>
                        <a:gd name="connsiteX5" fmla="*/ 286316 w 286315"/>
                        <a:gd name="connsiteY5" fmla="*/ 82984 h 286315"/>
                        <a:gd name="connsiteX6" fmla="*/ 276542 w 286315"/>
                        <a:gd name="connsiteY6" fmla="*/ 73211 h 286315"/>
                        <a:gd name="connsiteX7" fmla="*/ 73211 w 286315"/>
                        <a:gd name="connsiteY7" fmla="*/ 276542 h 286315"/>
                        <a:gd name="connsiteX8" fmla="*/ 82984 w 286315"/>
                        <a:gd name="connsiteY8" fmla="*/ 286315 h 286315"/>
                        <a:gd name="connsiteX9" fmla="*/ 286316 w 286315"/>
                        <a:gd name="connsiteY9" fmla="*/ 82984 h 28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315" h="286315">
                          <a:moveTo>
                            <a:pt x="203331" y="0"/>
                          </a:moveTo>
                          <a:lnTo>
                            <a:pt x="0" y="203331"/>
                          </a:lnTo>
                          <a:lnTo>
                            <a:pt x="9773" y="213104"/>
                          </a:lnTo>
                          <a:lnTo>
                            <a:pt x="213104" y="9773"/>
                          </a:lnTo>
                          <a:lnTo>
                            <a:pt x="203331" y="0"/>
                          </a:lnTo>
                          <a:close/>
                          <a:moveTo>
                            <a:pt x="286316" y="82984"/>
                          </a:moveTo>
                          <a:lnTo>
                            <a:pt x="276542" y="73211"/>
                          </a:lnTo>
                          <a:lnTo>
                            <a:pt x="73211" y="276542"/>
                          </a:lnTo>
                          <a:lnTo>
                            <a:pt x="82984" y="286315"/>
                          </a:lnTo>
                          <a:lnTo>
                            <a:pt x="286316" y="82984"/>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44" name="Freeform: Shape 1243">
                      <a:extLst>
                        <a:ext uri="{FF2B5EF4-FFF2-40B4-BE49-F238E27FC236}">
                          <a16:creationId xmlns:a16="http://schemas.microsoft.com/office/drawing/2014/main" id="{92965BB8-EA59-4574-B5AB-F6C7339DCA78}"/>
                        </a:ext>
                      </a:extLst>
                    </p:cNvPr>
                    <p:cNvSpPr/>
                    <p:nvPr/>
                  </p:nvSpPr>
                  <p:spPr>
                    <a:xfrm>
                      <a:off x="8641669" y="9788713"/>
                      <a:ext cx="154976" cy="154995"/>
                    </a:xfrm>
                    <a:custGeom>
                      <a:avLst/>
                      <a:gdLst>
                        <a:gd name="connsiteX0" fmla="*/ 82965 w 154976"/>
                        <a:gd name="connsiteY0" fmla="*/ 154976 h 154995"/>
                        <a:gd name="connsiteX1" fmla="*/ 154976 w 154976"/>
                        <a:gd name="connsiteY1" fmla="*/ 82964 h 154995"/>
                        <a:gd name="connsiteX2" fmla="*/ 145774 w 154976"/>
                        <a:gd name="connsiteY2" fmla="*/ 73761 h 154995"/>
                        <a:gd name="connsiteX3" fmla="*/ 130671 w 154976"/>
                        <a:gd name="connsiteY3" fmla="*/ 88864 h 154995"/>
                        <a:gd name="connsiteX4" fmla="*/ 66112 w 154976"/>
                        <a:gd name="connsiteY4" fmla="*/ 88864 h 154995"/>
                        <a:gd name="connsiteX5" fmla="*/ 66112 w 154976"/>
                        <a:gd name="connsiteY5" fmla="*/ 24305 h 154995"/>
                        <a:gd name="connsiteX6" fmla="*/ 81215 w 154976"/>
                        <a:gd name="connsiteY6" fmla="*/ 9203 h 154995"/>
                        <a:gd name="connsiteX7" fmla="*/ 72012 w 154976"/>
                        <a:gd name="connsiteY7" fmla="*/ 0 h 154995"/>
                        <a:gd name="connsiteX8" fmla="*/ 0 w 154976"/>
                        <a:gd name="connsiteY8" fmla="*/ 72011 h 154995"/>
                        <a:gd name="connsiteX9" fmla="*/ 82985 w 154976"/>
                        <a:gd name="connsiteY9" fmla="*/ 154996 h 15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976" h="154995">
                          <a:moveTo>
                            <a:pt x="82965" y="154976"/>
                          </a:moveTo>
                          <a:lnTo>
                            <a:pt x="154976" y="82964"/>
                          </a:lnTo>
                          <a:lnTo>
                            <a:pt x="145774" y="73761"/>
                          </a:lnTo>
                          <a:lnTo>
                            <a:pt x="130671" y="88864"/>
                          </a:lnTo>
                          <a:cubicBezTo>
                            <a:pt x="112836" y="106700"/>
                            <a:pt x="83949" y="106700"/>
                            <a:pt x="66112" y="88864"/>
                          </a:cubicBezTo>
                          <a:cubicBezTo>
                            <a:pt x="48277" y="71028"/>
                            <a:pt x="48277" y="42141"/>
                            <a:pt x="66112" y="24305"/>
                          </a:cubicBezTo>
                          <a:lnTo>
                            <a:pt x="81215" y="9203"/>
                          </a:lnTo>
                          <a:lnTo>
                            <a:pt x="72012" y="0"/>
                          </a:lnTo>
                          <a:lnTo>
                            <a:pt x="0" y="72011"/>
                          </a:lnTo>
                          <a:lnTo>
                            <a:pt x="82985" y="154996"/>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45" name="Freeform: Shape 1244">
                      <a:extLst>
                        <a:ext uri="{FF2B5EF4-FFF2-40B4-BE49-F238E27FC236}">
                          <a16:creationId xmlns:a16="http://schemas.microsoft.com/office/drawing/2014/main" id="{DDED4550-BE1C-4207-9127-E2BDA5210944}"/>
                        </a:ext>
                      </a:extLst>
                    </p:cNvPr>
                    <p:cNvSpPr/>
                    <p:nvPr/>
                  </p:nvSpPr>
                  <p:spPr>
                    <a:xfrm>
                      <a:off x="8422902" y="10044981"/>
                      <a:ext cx="117357" cy="117357"/>
                    </a:xfrm>
                    <a:custGeom>
                      <a:avLst/>
                      <a:gdLst>
                        <a:gd name="connsiteX0" fmla="*/ 117358 w 117357"/>
                        <a:gd name="connsiteY0" fmla="*/ 58679 h 117357"/>
                        <a:gd name="connsiteX1" fmla="*/ 58679 w 117357"/>
                        <a:gd name="connsiteY1" fmla="*/ 117358 h 117357"/>
                        <a:gd name="connsiteX2" fmla="*/ 1 w 117357"/>
                        <a:gd name="connsiteY2" fmla="*/ 58679 h 117357"/>
                        <a:gd name="connsiteX3" fmla="*/ 58679 w 117357"/>
                        <a:gd name="connsiteY3" fmla="*/ 0 h 117357"/>
                        <a:gd name="connsiteX4" fmla="*/ 117358 w 117357"/>
                        <a:gd name="connsiteY4" fmla="*/ 58679 h 117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57" h="117357">
                          <a:moveTo>
                            <a:pt x="117358" y="58679"/>
                          </a:moveTo>
                          <a:cubicBezTo>
                            <a:pt x="117358" y="91086"/>
                            <a:pt x="91086" y="117358"/>
                            <a:pt x="58679" y="117358"/>
                          </a:cubicBezTo>
                          <a:cubicBezTo>
                            <a:pt x="26272" y="117358"/>
                            <a:pt x="1" y="91086"/>
                            <a:pt x="1" y="58679"/>
                          </a:cubicBezTo>
                          <a:cubicBezTo>
                            <a:pt x="1" y="26271"/>
                            <a:pt x="26272" y="0"/>
                            <a:pt x="58679" y="0"/>
                          </a:cubicBezTo>
                          <a:cubicBezTo>
                            <a:pt x="91086" y="0"/>
                            <a:pt x="117358" y="26271"/>
                            <a:pt x="117358" y="58679"/>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46" name="Freeform: Shape 1245">
                      <a:extLst>
                        <a:ext uri="{FF2B5EF4-FFF2-40B4-BE49-F238E27FC236}">
                          <a16:creationId xmlns:a16="http://schemas.microsoft.com/office/drawing/2014/main" id="{B099A1F2-42ED-4696-B5C0-5447D24F2793}"/>
                        </a:ext>
                      </a:extLst>
                    </p:cNvPr>
                    <p:cNvSpPr/>
                    <p:nvPr/>
                  </p:nvSpPr>
                  <p:spPr>
                    <a:xfrm>
                      <a:off x="8445516" y="10067595"/>
                      <a:ext cx="72129" cy="72129"/>
                    </a:xfrm>
                    <a:custGeom>
                      <a:avLst/>
                      <a:gdLst>
                        <a:gd name="connsiteX0" fmla="*/ 72129 w 72129"/>
                        <a:gd name="connsiteY0" fmla="*/ 36065 h 72129"/>
                        <a:gd name="connsiteX1" fmla="*/ 36065 w 72129"/>
                        <a:gd name="connsiteY1" fmla="*/ 72129 h 72129"/>
                        <a:gd name="connsiteX2" fmla="*/ 1 w 72129"/>
                        <a:gd name="connsiteY2" fmla="*/ 36065 h 72129"/>
                        <a:gd name="connsiteX3" fmla="*/ 36065 w 72129"/>
                        <a:gd name="connsiteY3" fmla="*/ 0 h 72129"/>
                        <a:gd name="connsiteX4" fmla="*/ 72129 w 72129"/>
                        <a:gd name="connsiteY4" fmla="*/ 36065 h 72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29" h="72129">
                          <a:moveTo>
                            <a:pt x="72129" y="36065"/>
                          </a:moveTo>
                          <a:cubicBezTo>
                            <a:pt x="72129" y="55983"/>
                            <a:pt x="55983" y="72129"/>
                            <a:pt x="36065" y="72129"/>
                          </a:cubicBezTo>
                          <a:cubicBezTo>
                            <a:pt x="16147" y="72129"/>
                            <a:pt x="1" y="55983"/>
                            <a:pt x="1" y="36065"/>
                          </a:cubicBezTo>
                          <a:cubicBezTo>
                            <a:pt x="1" y="16147"/>
                            <a:pt x="16147" y="0"/>
                            <a:pt x="36065" y="0"/>
                          </a:cubicBezTo>
                          <a:cubicBezTo>
                            <a:pt x="55983" y="0"/>
                            <a:pt x="72129" y="16147"/>
                            <a:pt x="72129" y="36065"/>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238" name="Freeform: Shape 1237">
                    <a:extLst>
                      <a:ext uri="{FF2B5EF4-FFF2-40B4-BE49-F238E27FC236}">
                        <a16:creationId xmlns:a16="http://schemas.microsoft.com/office/drawing/2014/main" id="{07B8B646-4680-451B-856D-22562B09A5CD}"/>
                      </a:ext>
                    </a:extLst>
                  </p:cNvPr>
                  <p:cNvSpPr/>
                  <p:nvPr/>
                </p:nvSpPr>
                <p:spPr>
                  <a:xfrm rot="-2700000">
                    <a:off x="8764647" y="9699711"/>
                    <a:ext cx="147778" cy="94173"/>
                  </a:xfrm>
                  <a:custGeom>
                    <a:avLst/>
                    <a:gdLst>
                      <a:gd name="connsiteX0" fmla="*/ 0 w 147778"/>
                      <a:gd name="connsiteY0" fmla="*/ 0 h 94173"/>
                      <a:gd name="connsiteX1" fmla="*/ 147778 w 147778"/>
                      <a:gd name="connsiteY1" fmla="*/ 0 h 94173"/>
                      <a:gd name="connsiteX2" fmla="*/ 147778 w 147778"/>
                      <a:gd name="connsiteY2" fmla="*/ 94173 h 94173"/>
                      <a:gd name="connsiteX3" fmla="*/ 0 w 147778"/>
                      <a:gd name="connsiteY3" fmla="*/ 94173 h 94173"/>
                    </a:gdLst>
                    <a:ahLst/>
                    <a:cxnLst>
                      <a:cxn ang="0">
                        <a:pos x="connsiteX0" y="connsiteY0"/>
                      </a:cxn>
                      <a:cxn ang="0">
                        <a:pos x="connsiteX1" y="connsiteY1"/>
                      </a:cxn>
                      <a:cxn ang="0">
                        <a:pos x="connsiteX2" y="connsiteY2"/>
                      </a:cxn>
                      <a:cxn ang="0">
                        <a:pos x="connsiteX3" y="connsiteY3"/>
                      </a:cxn>
                    </a:cxnLst>
                    <a:rect l="l" t="t" r="r" b="b"/>
                    <a:pathLst>
                      <a:path w="147778" h="94173">
                        <a:moveTo>
                          <a:pt x="0" y="0"/>
                        </a:moveTo>
                        <a:lnTo>
                          <a:pt x="147778" y="0"/>
                        </a:lnTo>
                        <a:lnTo>
                          <a:pt x="147778" y="94173"/>
                        </a:lnTo>
                        <a:lnTo>
                          <a:pt x="0" y="94173"/>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39" name="Freeform: Shape 1238">
                    <a:extLst>
                      <a:ext uri="{FF2B5EF4-FFF2-40B4-BE49-F238E27FC236}">
                        <a16:creationId xmlns:a16="http://schemas.microsoft.com/office/drawing/2014/main" id="{7C824D8D-7860-42C3-93C1-606CAA093246}"/>
                      </a:ext>
                    </a:extLst>
                  </p:cNvPr>
                  <p:cNvSpPr/>
                  <p:nvPr/>
                </p:nvSpPr>
                <p:spPr>
                  <a:xfrm rot="8100000">
                    <a:off x="8717559" y="9728939"/>
                    <a:ext cx="103337" cy="174365"/>
                  </a:xfrm>
                  <a:custGeom>
                    <a:avLst/>
                    <a:gdLst>
                      <a:gd name="connsiteX0" fmla="*/ 87310 w 103337"/>
                      <a:gd name="connsiteY0" fmla="*/ 0 h 174365"/>
                      <a:gd name="connsiteX1" fmla="*/ 103336 w 103337"/>
                      <a:gd name="connsiteY1" fmla="*/ 16027 h 174365"/>
                      <a:gd name="connsiteX2" fmla="*/ 103336 w 103337"/>
                      <a:gd name="connsiteY2" fmla="*/ 158339 h 174365"/>
                      <a:gd name="connsiteX3" fmla="*/ 87310 w 103337"/>
                      <a:gd name="connsiteY3" fmla="*/ 174365 h 174365"/>
                      <a:gd name="connsiteX4" fmla="*/ 16026 w 103337"/>
                      <a:gd name="connsiteY4" fmla="*/ 174365 h 174365"/>
                      <a:gd name="connsiteX5" fmla="*/ 0 w 103337"/>
                      <a:gd name="connsiteY5" fmla="*/ 158339 h 174365"/>
                      <a:gd name="connsiteX6" fmla="*/ 0 w 103337"/>
                      <a:gd name="connsiteY6" fmla="*/ 16027 h 174365"/>
                      <a:gd name="connsiteX7" fmla="*/ 16026 w 103337"/>
                      <a:gd name="connsiteY7" fmla="*/ 0 h 174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337" h="174365">
                        <a:moveTo>
                          <a:pt x="87310" y="0"/>
                        </a:moveTo>
                        <a:cubicBezTo>
                          <a:pt x="96161" y="0"/>
                          <a:pt x="103336" y="7175"/>
                          <a:pt x="103336" y="16027"/>
                        </a:cubicBezTo>
                        <a:lnTo>
                          <a:pt x="103336" y="158339"/>
                        </a:lnTo>
                        <a:cubicBezTo>
                          <a:pt x="103336" y="167190"/>
                          <a:pt x="96161" y="174365"/>
                          <a:pt x="87310" y="174365"/>
                        </a:cubicBezTo>
                        <a:lnTo>
                          <a:pt x="16026" y="174365"/>
                        </a:lnTo>
                        <a:cubicBezTo>
                          <a:pt x="7175" y="174365"/>
                          <a:pt x="0" y="167190"/>
                          <a:pt x="0" y="158339"/>
                        </a:cubicBezTo>
                        <a:lnTo>
                          <a:pt x="0" y="16027"/>
                        </a:lnTo>
                        <a:cubicBezTo>
                          <a:pt x="0" y="7175"/>
                          <a:pt x="7175" y="0"/>
                          <a:pt x="16026" y="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40" name="Freeform: Shape 1239">
                    <a:extLst>
                      <a:ext uri="{FF2B5EF4-FFF2-40B4-BE49-F238E27FC236}">
                        <a16:creationId xmlns:a16="http://schemas.microsoft.com/office/drawing/2014/main" id="{82FDA146-F35A-4FEC-A02C-D249AF45D825}"/>
                      </a:ext>
                    </a:extLst>
                  </p:cNvPr>
                  <p:cNvSpPr/>
                  <p:nvPr/>
                </p:nvSpPr>
                <p:spPr>
                  <a:xfrm>
                    <a:off x="8776585" y="9846237"/>
                    <a:ext cx="27940" cy="27933"/>
                  </a:xfrm>
                  <a:custGeom>
                    <a:avLst/>
                    <a:gdLst>
                      <a:gd name="connsiteX0" fmla="*/ 23855 w 27940"/>
                      <a:gd name="connsiteY0" fmla="*/ 4085 h 27933"/>
                      <a:gd name="connsiteX1" fmla="*/ 23855 w 27940"/>
                      <a:gd name="connsiteY1" fmla="*/ 23848 h 27933"/>
                      <a:gd name="connsiteX2" fmla="*/ 4093 w 27940"/>
                      <a:gd name="connsiteY2" fmla="*/ 23848 h 27933"/>
                      <a:gd name="connsiteX3" fmla="*/ 4093 w 27940"/>
                      <a:gd name="connsiteY3" fmla="*/ 4085 h 27933"/>
                      <a:gd name="connsiteX4" fmla="*/ 23855 w 27940"/>
                      <a:gd name="connsiteY4" fmla="*/ 4085 h 27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0" h="27933">
                        <a:moveTo>
                          <a:pt x="23855" y="4085"/>
                        </a:moveTo>
                        <a:cubicBezTo>
                          <a:pt x="29302" y="9532"/>
                          <a:pt x="29302" y="18381"/>
                          <a:pt x="23855" y="23848"/>
                        </a:cubicBezTo>
                        <a:cubicBezTo>
                          <a:pt x="18408" y="29295"/>
                          <a:pt x="9559" y="29295"/>
                          <a:pt x="4093" y="23848"/>
                        </a:cubicBezTo>
                        <a:cubicBezTo>
                          <a:pt x="-1374" y="18401"/>
                          <a:pt x="-1354" y="9552"/>
                          <a:pt x="4093" y="4085"/>
                        </a:cubicBezTo>
                        <a:cubicBezTo>
                          <a:pt x="9539" y="-1362"/>
                          <a:pt x="18388" y="-1362"/>
                          <a:pt x="23855" y="4085"/>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41" name="Freeform: Shape 1240">
                    <a:extLst>
                      <a:ext uri="{FF2B5EF4-FFF2-40B4-BE49-F238E27FC236}">
                        <a16:creationId xmlns:a16="http://schemas.microsoft.com/office/drawing/2014/main" id="{02AB18C8-C72B-4FC9-8425-C93EAB5A2614}"/>
                      </a:ext>
                    </a:extLst>
                  </p:cNvPr>
                  <p:cNvSpPr/>
                  <p:nvPr/>
                </p:nvSpPr>
                <p:spPr>
                  <a:xfrm>
                    <a:off x="8707767" y="9777411"/>
                    <a:ext cx="67832" cy="67832"/>
                  </a:xfrm>
                  <a:custGeom>
                    <a:avLst/>
                    <a:gdLst>
                      <a:gd name="connsiteX0" fmla="*/ 63747 w 67832"/>
                      <a:gd name="connsiteY0" fmla="*/ 63747 h 67832"/>
                      <a:gd name="connsiteX1" fmla="*/ 43984 w 67832"/>
                      <a:gd name="connsiteY1" fmla="*/ 63747 h 67832"/>
                      <a:gd name="connsiteX2" fmla="*/ 4085 w 67832"/>
                      <a:gd name="connsiteY2" fmla="*/ 23848 h 67832"/>
                      <a:gd name="connsiteX3" fmla="*/ 4085 w 67832"/>
                      <a:gd name="connsiteY3" fmla="*/ 4085 h 67832"/>
                      <a:gd name="connsiteX4" fmla="*/ 23848 w 67832"/>
                      <a:gd name="connsiteY4" fmla="*/ 4085 h 67832"/>
                      <a:gd name="connsiteX5" fmla="*/ 63747 w 67832"/>
                      <a:gd name="connsiteY5" fmla="*/ 43985 h 67832"/>
                      <a:gd name="connsiteX6" fmla="*/ 63747 w 67832"/>
                      <a:gd name="connsiteY6" fmla="*/ 63747 h 6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832" h="67832">
                        <a:moveTo>
                          <a:pt x="63747" y="63747"/>
                        </a:moveTo>
                        <a:cubicBezTo>
                          <a:pt x="58300" y="69194"/>
                          <a:pt x="49451" y="69194"/>
                          <a:pt x="43984" y="63747"/>
                        </a:cubicBezTo>
                        <a:lnTo>
                          <a:pt x="4085" y="23848"/>
                        </a:lnTo>
                        <a:cubicBezTo>
                          <a:pt x="-1362" y="18401"/>
                          <a:pt x="-1362" y="9552"/>
                          <a:pt x="4085" y="4085"/>
                        </a:cubicBezTo>
                        <a:cubicBezTo>
                          <a:pt x="9531" y="-1362"/>
                          <a:pt x="18381" y="-1362"/>
                          <a:pt x="23848" y="4085"/>
                        </a:cubicBezTo>
                        <a:lnTo>
                          <a:pt x="63747" y="43985"/>
                        </a:lnTo>
                        <a:cubicBezTo>
                          <a:pt x="69194" y="49432"/>
                          <a:pt x="69194" y="58281"/>
                          <a:pt x="63747" y="63747"/>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222" name="Freeform: Shape 1221">
                  <a:extLst>
                    <a:ext uri="{FF2B5EF4-FFF2-40B4-BE49-F238E27FC236}">
                      <a16:creationId xmlns:a16="http://schemas.microsoft.com/office/drawing/2014/main" id="{6F6369E6-99C2-48E3-BC5A-A970672665BD}"/>
                    </a:ext>
                  </a:extLst>
                </p:cNvPr>
                <p:cNvSpPr/>
                <p:nvPr/>
              </p:nvSpPr>
              <p:spPr>
                <a:xfrm>
                  <a:off x="9357812" y="10292380"/>
                  <a:ext cx="156745" cy="299962"/>
                </a:xfrm>
                <a:custGeom>
                  <a:avLst/>
                  <a:gdLst>
                    <a:gd name="connsiteX0" fmla="*/ 0 w 156745"/>
                    <a:gd name="connsiteY0" fmla="*/ 0 h 299962"/>
                    <a:gd name="connsiteX1" fmla="*/ 156746 w 156745"/>
                    <a:gd name="connsiteY1" fmla="*/ 0 h 299962"/>
                    <a:gd name="connsiteX2" fmla="*/ 156746 w 156745"/>
                    <a:gd name="connsiteY2" fmla="*/ 299962 h 299962"/>
                    <a:gd name="connsiteX3" fmla="*/ 0 w 156745"/>
                    <a:gd name="connsiteY3" fmla="*/ 299962 h 299962"/>
                  </a:gdLst>
                  <a:ahLst/>
                  <a:cxnLst>
                    <a:cxn ang="0">
                      <a:pos x="connsiteX0" y="connsiteY0"/>
                    </a:cxn>
                    <a:cxn ang="0">
                      <a:pos x="connsiteX1" y="connsiteY1"/>
                    </a:cxn>
                    <a:cxn ang="0">
                      <a:pos x="connsiteX2" y="connsiteY2"/>
                    </a:cxn>
                    <a:cxn ang="0">
                      <a:pos x="connsiteX3" y="connsiteY3"/>
                    </a:cxn>
                  </a:cxnLst>
                  <a:rect l="l" t="t" r="r" b="b"/>
                  <a:pathLst>
                    <a:path w="156745" h="299962">
                      <a:moveTo>
                        <a:pt x="0" y="0"/>
                      </a:moveTo>
                      <a:lnTo>
                        <a:pt x="156746" y="0"/>
                      </a:lnTo>
                      <a:lnTo>
                        <a:pt x="156746" y="299962"/>
                      </a:lnTo>
                      <a:lnTo>
                        <a:pt x="0" y="299962"/>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23" name="Freeform: Shape 1222">
                  <a:extLst>
                    <a:ext uri="{FF2B5EF4-FFF2-40B4-BE49-F238E27FC236}">
                      <a16:creationId xmlns:a16="http://schemas.microsoft.com/office/drawing/2014/main" id="{F5B2B424-1EB1-4F45-ABF5-33484DE811C7}"/>
                    </a:ext>
                  </a:extLst>
                </p:cNvPr>
                <p:cNvSpPr/>
                <p:nvPr/>
              </p:nvSpPr>
              <p:spPr>
                <a:xfrm>
                  <a:off x="9152514" y="10661562"/>
                  <a:ext cx="567321" cy="83318"/>
                </a:xfrm>
                <a:custGeom>
                  <a:avLst/>
                  <a:gdLst>
                    <a:gd name="connsiteX0" fmla="*/ 83338 w 567321"/>
                    <a:gd name="connsiteY0" fmla="*/ 0 h 83318"/>
                    <a:gd name="connsiteX1" fmla="*/ 484003 w 567321"/>
                    <a:gd name="connsiteY1" fmla="*/ 0 h 83318"/>
                    <a:gd name="connsiteX2" fmla="*/ 567321 w 567321"/>
                    <a:gd name="connsiteY2" fmla="*/ 83319 h 83318"/>
                    <a:gd name="connsiteX3" fmla="*/ 0 w 567321"/>
                    <a:gd name="connsiteY3" fmla="*/ 83319 h 83318"/>
                    <a:gd name="connsiteX4" fmla="*/ 83319 w 567321"/>
                    <a:gd name="connsiteY4" fmla="*/ 0 h 83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7321" h="83318">
                      <a:moveTo>
                        <a:pt x="83338" y="0"/>
                      </a:moveTo>
                      <a:lnTo>
                        <a:pt x="484003" y="0"/>
                      </a:lnTo>
                      <a:cubicBezTo>
                        <a:pt x="530017" y="0"/>
                        <a:pt x="567321" y="37304"/>
                        <a:pt x="567321" y="83319"/>
                      </a:cubicBezTo>
                      <a:lnTo>
                        <a:pt x="0" y="83319"/>
                      </a:lnTo>
                      <a:cubicBezTo>
                        <a:pt x="0" y="37304"/>
                        <a:pt x="37303" y="0"/>
                        <a:pt x="83319" y="0"/>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24" name="Freeform: Shape 1223">
                  <a:extLst>
                    <a:ext uri="{FF2B5EF4-FFF2-40B4-BE49-F238E27FC236}">
                      <a16:creationId xmlns:a16="http://schemas.microsoft.com/office/drawing/2014/main" id="{10F4851E-D7E9-492C-97CA-1FE8370E3C19}"/>
                    </a:ext>
                  </a:extLst>
                </p:cNvPr>
                <p:cNvSpPr/>
                <p:nvPr/>
              </p:nvSpPr>
              <p:spPr>
                <a:xfrm rot="10800000">
                  <a:off x="9235832" y="10523104"/>
                  <a:ext cx="400703" cy="138457"/>
                </a:xfrm>
                <a:custGeom>
                  <a:avLst/>
                  <a:gdLst>
                    <a:gd name="connsiteX0" fmla="*/ 0 w 400703"/>
                    <a:gd name="connsiteY0" fmla="*/ 0 h 138457"/>
                    <a:gd name="connsiteX1" fmla="*/ 400704 w 400703"/>
                    <a:gd name="connsiteY1" fmla="*/ 0 h 138457"/>
                    <a:gd name="connsiteX2" fmla="*/ 400704 w 400703"/>
                    <a:gd name="connsiteY2" fmla="*/ 82945 h 138457"/>
                    <a:gd name="connsiteX3" fmla="*/ 345191 w 400703"/>
                    <a:gd name="connsiteY3" fmla="*/ 138458 h 138457"/>
                    <a:gd name="connsiteX4" fmla="*/ 55513 w 400703"/>
                    <a:gd name="connsiteY4" fmla="*/ 138458 h 138457"/>
                    <a:gd name="connsiteX5" fmla="*/ 0 w 400703"/>
                    <a:gd name="connsiteY5" fmla="*/ 82945 h 138457"/>
                    <a:gd name="connsiteX6" fmla="*/ 0 w 400703"/>
                    <a:gd name="connsiteY6" fmla="*/ 0 h 138457"/>
                    <a:gd name="connsiteX7" fmla="*/ 0 w 400703"/>
                    <a:gd name="connsiteY7" fmla="*/ 0 h 138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703" h="138457">
                      <a:moveTo>
                        <a:pt x="0" y="0"/>
                      </a:moveTo>
                      <a:lnTo>
                        <a:pt x="400704" y="0"/>
                      </a:lnTo>
                      <a:lnTo>
                        <a:pt x="400704" y="82945"/>
                      </a:lnTo>
                      <a:cubicBezTo>
                        <a:pt x="400704" y="113582"/>
                        <a:pt x="375828" y="138458"/>
                        <a:pt x="345191" y="138458"/>
                      </a:cubicBezTo>
                      <a:lnTo>
                        <a:pt x="55513" y="138458"/>
                      </a:lnTo>
                      <a:cubicBezTo>
                        <a:pt x="24875" y="138458"/>
                        <a:pt x="0" y="113582"/>
                        <a:pt x="0" y="82945"/>
                      </a:cubicBezTo>
                      <a:lnTo>
                        <a:pt x="0" y="0"/>
                      </a:lnTo>
                      <a:lnTo>
                        <a:pt x="0" y="0"/>
                      </a:lnTo>
                      <a:close/>
                    </a:path>
                  </a:pathLst>
                </a:custGeom>
                <a:solidFill>
                  <a:srgbClr val="B3D6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25" name="Freeform: Shape 1224">
                  <a:extLst>
                    <a:ext uri="{FF2B5EF4-FFF2-40B4-BE49-F238E27FC236}">
                      <a16:creationId xmlns:a16="http://schemas.microsoft.com/office/drawing/2014/main" id="{4883655C-8995-4FE7-845C-F75B97EEB6B5}"/>
                    </a:ext>
                  </a:extLst>
                </p:cNvPr>
                <p:cNvSpPr/>
                <p:nvPr/>
              </p:nvSpPr>
              <p:spPr>
                <a:xfrm>
                  <a:off x="8922125" y="10744880"/>
                  <a:ext cx="1028100" cy="169134"/>
                </a:xfrm>
                <a:custGeom>
                  <a:avLst/>
                  <a:gdLst>
                    <a:gd name="connsiteX0" fmla="*/ 169135 w 1028100"/>
                    <a:gd name="connsiteY0" fmla="*/ 0 h 169134"/>
                    <a:gd name="connsiteX1" fmla="*/ 858966 w 1028100"/>
                    <a:gd name="connsiteY1" fmla="*/ 0 h 169134"/>
                    <a:gd name="connsiteX2" fmla="*/ 1028101 w 1028100"/>
                    <a:gd name="connsiteY2" fmla="*/ 169135 h 169134"/>
                    <a:gd name="connsiteX3" fmla="*/ 0 w 1028100"/>
                    <a:gd name="connsiteY3" fmla="*/ 169135 h 169134"/>
                    <a:gd name="connsiteX4" fmla="*/ 169135 w 1028100"/>
                    <a:gd name="connsiteY4" fmla="*/ 0 h 169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100" h="169134">
                      <a:moveTo>
                        <a:pt x="169135" y="0"/>
                      </a:moveTo>
                      <a:lnTo>
                        <a:pt x="858966" y="0"/>
                      </a:lnTo>
                      <a:cubicBezTo>
                        <a:pt x="952372" y="0"/>
                        <a:pt x="1028101" y="75728"/>
                        <a:pt x="1028101" y="169135"/>
                      </a:cubicBezTo>
                      <a:lnTo>
                        <a:pt x="0" y="169135"/>
                      </a:lnTo>
                      <a:cubicBezTo>
                        <a:pt x="0" y="75728"/>
                        <a:pt x="75729" y="0"/>
                        <a:pt x="169135" y="0"/>
                      </a:cubicBezTo>
                      <a:close/>
                    </a:path>
                  </a:pathLst>
                </a:custGeom>
                <a:solidFill>
                  <a:srgbClr val="2D71BE"/>
                </a:solidFill>
                <a:ln w="878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226" name="Graphic 10">
                  <a:extLst>
                    <a:ext uri="{FF2B5EF4-FFF2-40B4-BE49-F238E27FC236}">
                      <a16:creationId xmlns:a16="http://schemas.microsoft.com/office/drawing/2014/main" id="{B867F92A-47A9-4523-84E5-EC1F7DE7722C}"/>
                    </a:ext>
                  </a:extLst>
                </p:cNvPr>
                <p:cNvGrpSpPr/>
                <p:nvPr/>
              </p:nvGrpSpPr>
              <p:grpSpPr>
                <a:xfrm>
                  <a:off x="8795427" y="9600484"/>
                  <a:ext cx="743750" cy="186891"/>
                  <a:chOff x="8795427" y="9600484"/>
                  <a:chExt cx="743750" cy="186891"/>
                </a:xfrm>
              </p:grpSpPr>
              <p:sp>
                <p:nvSpPr>
                  <p:cNvPr id="1234" name="Freeform: Shape 1233">
                    <a:extLst>
                      <a:ext uri="{FF2B5EF4-FFF2-40B4-BE49-F238E27FC236}">
                        <a16:creationId xmlns:a16="http://schemas.microsoft.com/office/drawing/2014/main" id="{AC9A1525-42BA-45A9-8220-6E8A77AE9328}"/>
                      </a:ext>
                    </a:extLst>
                  </p:cNvPr>
                  <p:cNvSpPr/>
                  <p:nvPr/>
                </p:nvSpPr>
                <p:spPr>
                  <a:xfrm>
                    <a:off x="8795427" y="9600484"/>
                    <a:ext cx="743750" cy="186891"/>
                  </a:xfrm>
                  <a:custGeom>
                    <a:avLst/>
                    <a:gdLst>
                      <a:gd name="connsiteX0" fmla="*/ 93445 w 743750"/>
                      <a:gd name="connsiteY0" fmla="*/ 186891 h 186891"/>
                      <a:gd name="connsiteX1" fmla="*/ 650305 w 743750"/>
                      <a:gd name="connsiteY1" fmla="*/ 186891 h 186891"/>
                      <a:gd name="connsiteX2" fmla="*/ 743751 w 743750"/>
                      <a:gd name="connsiteY2" fmla="*/ 93446 h 186891"/>
                      <a:gd name="connsiteX3" fmla="*/ 650305 w 743750"/>
                      <a:gd name="connsiteY3" fmla="*/ 0 h 186891"/>
                      <a:gd name="connsiteX4" fmla="*/ 93445 w 743750"/>
                      <a:gd name="connsiteY4" fmla="*/ 0 h 186891"/>
                      <a:gd name="connsiteX5" fmla="*/ 0 w 743750"/>
                      <a:gd name="connsiteY5" fmla="*/ 93446 h 186891"/>
                      <a:gd name="connsiteX6" fmla="*/ 93445 w 743750"/>
                      <a:gd name="connsiteY6" fmla="*/ 186891 h 186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3750" h="186891">
                        <a:moveTo>
                          <a:pt x="93445" y="186891"/>
                        </a:moveTo>
                        <a:lnTo>
                          <a:pt x="650305" y="186891"/>
                        </a:lnTo>
                        <a:cubicBezTo>
                          <a:pt x="701924" y="186891"/>
                          <a:pt x="743751" y="145045"/>
                          <a:pt x="743751" y="93446"/>
                        </a:cubicBezTo>
                        <a:cubicBezTo>
                          <a:pt x="743751" y="41846"/>
                          <a:pt x="701905" y="0"/>
                          <a:pt x="650305" y="0"/>
                        </a:cubicBezTo>
                        <a:lnTo>
                          <a:pt x="93445" y="0"/>
                        </a:lnTo>
                        <a:cubicBezTo>
                          <a:pt x="41826" y="0"/>
                          <a:pt x="0" y="41846"/>
                          <a:pt x="0" y="93446"/>
                        </a:cubicBezTo>
                        <a:cubicBezTo>
                          <a:pt x="0" y="145045"/>
                          <a:pt x="41846" y="186891"/>
                          <a:pt x="93445" y="186891"/>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35" name="Freeform: Shape 1234">
                    <a:extLst>
                      <a:ext uri="{FF2B5EF4-FFF2-40B4-BE49-F238E27FC236}">
                        <a16:creationId xmlns:a16="http://schemas.microsoft.com/office/drawing/2014/main" id="{903821A4-664C-4A80-8F12-1A9ED7DFA616}"/>
                      </a:ext>
                    </a:extLst>
                  </p:cNvPr>
                  <p:cNvSpPr/>
                  <p:nvPr/>
                </p:nvSpPr>
                <p:spPr>
                  <a:xfrm>
                    <a:off x="8839730" y="9641662"/>
                    <a:ext cx="655103" cy="104536"/>
                  </a:xfrm>
                  <a:custGeom>
                    <a:avLst/>
                    <a:gdLst>
                      <a:gd name="connsiteX0" fmla="*/ 0 w 655103"/>
                      <a:gd name="connsiteY0" fmla="*/ 52268 h 104536"/>
                      <a:gd name="connsiteX1" fmla="*/ 52268 w 655103"/>
                      <a:gd name="connsiteY1" fmla="*/ 104537 h 104536"/>
                      <a:gd name="connsiteX2" fmla="*/ 104537 w 655103"/>
                      <a:gd name="connsiteY2" fmla="*/ 52268 h 104536"/>
                      <a:gd name="connsiteX3" fmla="*/ 52268 w 655103"/>
                      <a:gd name="connsiteY3" fmla="*/ 0 h 104536"/>
                      <a:gd name="connsiteX4" fmla="*/ 0 w 655103"/>
                      <a:gd name="connsiteY4" fmla="*/ 52268 h 104536"/>
                      <a:gd name="connsiteX5" fmla="*/ 550567 w 655103"/>
                      <a:gd name="connsiteY5" fmla="*/ 52268 h 104536"/>
                      <a:gd name="connsiteX6" fmla="*/ 602836 w 655103"/>
                      <a:gd name="connsiteY6" fmla="*/ 104537 h 104536"/>
                      <a:gd name="connsiteX7" fmla="*/ 655104 w 655103"/>
                      <a:gd name="connsiteY7" fmla="*/ 52268 h 104536"/>
                      <a:gd name="connsiteX8" fmla="*/ 602836 w 655103"/>
                      <a:gd name="connsiteY8" fmla="*/ 0 h 104536"/>
                      <a:gd name="connsiteX9" fmla="*/ 550567 w 655103"/>
                      <a:gd name="connsiteY9" fmla="*/ 52268 h 10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5103" h="104536">
                        <a:moveTo>
                          <a:pt x="0" y="52268"/>
                        </a:moveTo>
                        <a:cubicBezTo>
                          <a:pt x="0" y="81136"/>
                          <a:pt x="23401" y="104537"/>
                          <a:pt x="52268" y="104537"/>
                        </a:cubicBezTo>
                        <a:cubicBezTo>
                          <a:pt x="81135" y="104537"/>
                          <a:pt x="104537" y="81136"/>
                          <a:pt x="104537" y="52268"/>
                        </a:cubicBezTo>
                        <a:cubicBezTo>
                          <a:pt x="104537" y="23401"/>
                          <a:pt x="81135" y="0"/>
                          <a:pt x="52268" y="0"/>
                        </a:cubicBezTo>
                        <a:cubicBezTo>
                          <a:pt x="23401" y="0"/>
                          <a:pt x="0" y="23401"/>
                          <a:pt x="0" y="52268"/>
                        </a:cubicBezTo>
                        <a:close/>
                        <a:moveTo>
                          <a:pt x="550567" y="52268"/>
                        </a:moveTo>
                        <a:cubicBezTo>
                          <a:pt x="550567" y="81136"/>
                          <a:pt x="573968" y="104537"/>
                          <a:pt x="602836" y="104537"/>
                        </a:cubicBezTo>
                        <a:cubicBezTo>
                          <a:pt x="631702" y="104537"/>
                          <a:pt x="655104" y="81136"/>
                          <a:pt x="655104" y="52268"/>
                        </a:cubicBezTo>
                        <a:cubicBezTo>
                          <a:pt x="655104" y="23401"/>
                          <a:pt x="631702" y="0"/>
                          <a:pt x="602836" y="0"/>
                        </a:cubicBezTo>
                        <a:cubicBezTo>
                          <a:pt x="573968" y="0"/>
                          <a:pt x="550567" y="23401"/>
                          <a:pt x="550567" y="52268"/>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227" name="Graphic 10">
                  <a:extLst>
                    <a:ext uri="{FF2B5EF4-FFF2-40B4-BE49-F238E27FC236}">
                      <a16:creationId xmlns:a16="http://schemas.microsoft.com/office/drawing/2014/main" id="{D9520F8B-E04A-4DCF-B1C2-09B56333BA90}"/>
                    </a:ext>
                  </a:extLst>
                </p:cNvPr>
                <p:cNvGrpSpPr/>
                <p:nvPr/>
              </p:nvGrpSpPr>
              <p:grpSpPr>
                <a:xfrm>
                  <a:off x="9311187" y="9564262"/>
                  <a:ext cx="250014" cy="768666"/>
                  <a:chOff x="9311187" y="9564262"/>
                  <a:chExt cx="250014" cy="768666"/>
                </a:xfrm>
              </p:grpSpPr>
              <p:sp>
                <p:nvSpPr>
                  <p:cNvPr id="1232" name="Freeform: Shape 1231">
                    <a:extLst>
                      <a:ext uri="{FF2B5EF4-FFF2-40B4-BE49-F238E27FC236}">
                        <a16:creationId xmlns:a16="http://schemas.microsoft.com/office/drawing/2014/main" id="{0A162E14-8555-4CBE-9D27-E12C907174C3}"/>
                      </a:ext>
                    </a:extLst>
                  </p:cNvPr>
                  <p:cNvSpPr/>
                  <p:nvPr/>
                </p:nvSpPr>
                <p:spPr>
                  <a:xfrm>
                    <a:off x="9311187" y="9564262"/>
                    <a:ext cx="250014" cy="768666"/>
                  </a:xfrm>
                  <a:custGeom>
                    <a:avLst/>
                    <a:gdLst>
                      <a:gd name="connsiteX0" fmla="*/ 0 w 250014"/>
                      <a:gd name="connsiteY0" fmla="*/ 643659 h 768666"/>
                      <a:gd name="connsiteX1" fmla="*/ 0 w 250014"/>
                      <a:gd name="connsiteY1" fmla="*/ 125007 h 768666"/>
                      <a:gd name="connsiteX2" fmla="*/ 125007 w 250014"/>
                      <a:gd name="connsiteY2" fmla="*/ 0 h 768666"/>
                      <a:gd name="connsiteX3" fmla="*/ 250015 w 250014"/>
                      <a:gd name="connsiteY3" fmla="*/ 125007 h 768666"/>
                      <a:gd name="connsiteX4" fmla="*/ 250015 w 250014"/>
                      <a:gd name="connsiteY4" fmla="*/ 643659 h 768666"/>
                      <a:gd name="connsiteX5" fmla="*/ 125007 w 250014"/>
                      <a:gd name="connsiteY5" fmla="*/ 768666 h 768666"/>
                      <a:gd name="connsiteX6" fmla="*/ 0 w 250014"/>
                      <a:gd name="connsiteY6" fmla="*/ 643659 h 76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014" h="768666">
                        <a:moveTo>
                          <a:pt x="0" y="643659"/>
                        </a:moveTo>
                        <a:lnTo>
                          <a:pt x="0" y="125007"/>
                        </a:lnTo>
                        <a:cubicBezTo>
                          <a:pt x="0" y="55965"/>
                          <a:pt x="55965" y="0"/>
                          <a:pt x="125007" y="0"/>
                        </a:cubicBezTo>
                        <a:cubicBezTo>
                          <a:pt x="194050" y="0"/>
                          <a:pt x="250015" y="55965"/>
                          <a:pt x="250015" y="125007"/>
                        </a:cubicBezTo>
                        <a:lnTo>
                          <a:pt x="250015" y="643659"/>
                        </a:lnTo>
                        <a:cubicBezTo>
                          <a:pt x="250015" y="712701"/>
                          <a:pt x="194050" y="768666"/>
                          <a:pt x="125007" y="768666"/>
                        </a:cubicBezTo>
                        <a:cubicBezTo>
                          <a:pt x="55965" y="768666"/>
                          <a:pt x="0" y="712701"/>
                          <a:pt x="0" y="643659"/>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33" name="Freeform: Shape 1232">
                    <a:extLst>
                      <a:ext uri="{FF2B5EF4-FFF2-40B4-BE49-F238E27FC236}">
                        <a16:creationId xmlns:a16="http://schemas.microsoft.com/office/drawing/2014/main" id="{9BE15027-1BF4-4044-9FFF-E673D4CE3621}"/>
                      </a:ext>
                    </a:extLst>
                  </p:cNvPr>
                  <p:cNvSpPr/>
                  <p:nvPr/>
                </p:nvSpPr>
                <p:spPr>
                  <a:xfrm>
                    <a:off x="9366267" y="9623551"/>
                    <a:ext cx="139854" cy="650089"/>
                  </a:xfrm>
                  <a:custGeom>
                    <a:avLst/>
                    <a:gdLst>
                      <a:gd name="connsiteX0" fmla="*/ 139854 w 139854"/>
                      <a:gd name="connsiteY0" fmla="*/ 580162 h 650089"/>
                      <a:gd name="connsiteX1" fmla="*/ 69927 w 139854"/>
                      <a:gd name="connsiteY1" fmla="*/ 510235 h 650089"/>
                      <a:gd name="connsiteX2" fmla="*/ 0 w 139854"/>
                      <a:gd name="connsiteY2" fmla="*/ 580162 h 650089"/>
                      <a:gd name="connsiteX3" fmla="*/ 69927 w 139854"/>
                      <a:gd name="connsiteY3" fmla="*/ 650089 h 650089"/>
                      <a:gd name="connsiteX4" fmla="*/ 139854 w 139854"/>
                      <a:gd name="connsiteY4" fmla="*/ 580162 h 650089"/>
                      <a:gd name="connsiteX5" fmla="*/ 139854 w 139854"/>
                      <a:gd name="connsiteY5" fmla="*/ 69927 h 650089"/>
                      <a:gd name="connsiteX6" fmla="*/ 69927 w 139854"/>
                      <a:gd name="connsiteY6" fmla="*/ 0 h 650089"/>
                      <a:gd name="connsiteX7" fmla="*/ 0 w 139854"/>
                      <a:gd name="connsiteY7" fmla="*/ 69927 h 650089"/>
                      <a:gd name="connsiteX8" fmla="*/ 69927 w 139854"/>
                      <a:gd name="connsiteY8" fmla="*/ 139854 h 650089"/>
                      <a:gd name="connsiteX9" fmla="*/ 139854 w 139854"/>
                      <a:gd name="connsiteY9" fmla="*/ 69927 h 65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854" h="650089">
                        <a:moveTo>
                          <a:pt x="139854" y="580162"/>
                        </a:moveTo>
                        <a:cubicBezTo>
                          <a:pt x="139854" y="541541"/>
                          <a:pt x="108549" y="510235"/>
                          <a:pt x="69927" y="510235"/>
                        </a:cubicBezTo>
                        <a:cubicBezTo>
                          <a:pt x="31307" y="510235"/>
                          <a:pt x="0" y="541541"/>
                          <a:pt x="0" y="580162"/>
                        </a:cubicBezTo>
                        <a:cubicBezTo>
                          <a:pt x="0" y="618783"/>
                          <a:pt x="31307" y="650089"/>
                          <a:pt x="69927" y="650089"/>
                        </a:cubicBezTo>
                        <a:cubicBezTo>
                          <a:pt x="108549" y="650089"/>
                          <a:pt x="139854" y="618783"/>
                          <a:pt x="139854" y="580162"/>
                        </a:cubicBezTo>
                        <a:close/>
                        <a:moveTo>
                          <a:pt x="139854" y="69927"/>
                        </a:moveTo>
                        <a:cubicBezTo>
                          <a:pt x="139854" y="31306"/>
                          <a:pt x="108549" y="0"/>
                          <a:pt x="69927" y="0"/>
                        </a:cubicBezTo>
                        <a:cubicBezTo>
                          <a:pt x="31307" y="0"/>
                          <a:pt x="0" y="31306"/>
                          <a:pt x="0" y="69927"/>
                        </a:cubicBezTo>
                        <a:cubicBezTo>
                          <a:pt x="0" y="108548"/>
                          <a:pt x="31307" y="139854"/>
                          <a:pt x="69927" y="139854"/>
                        </a:cubicBezTo>
                        <a:cubicBezTo>
                          <a:pt x="108549" y="139854"/>
                          <a:pt x="139854" y="108548"/>
                          <a:pt x="139854" y="69927"/>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228" name="Freeform: Shape 1227">
                  <a:extLst>
                    <a:ext uri="{FF2B5EF4-FFF2-40B4-BE49-F238E27FC236}">
                      <a16:creationId xmlns:a16="http://schemas.microsoft.com/office/drawing/2014/main" id="{44B6E2FF-037C-41B8-8D69-A5AF329B3EBF}"/>
                    </a:ext>
                  </a:extLst>
                </p:cNvPr>
                <p:cNvSpPr/>
                <p:nvPr/>
              </p:nvSpPr>
              <p:spPr>
                <a:xfrm>
                  <a:off x="9043592" y="9828180"/>
                  <a:ext cx="267575" cy="36104"/>
                </a:xfrm>
                <a:custGeom>
                  <a:avLst/>
                  <a:gdLst>
                    <a:gd name="connsiteX0" fmla="*/ 0 w 267575"/>
                    <a:gd name="connsiteY0" fmla="*/ 0 h 36104"/>
                    <a:gd name="connsiteX1" fmla="*/ 267575 w 267575"/>
                    <a:gd name="connsiteY1" fmla="*/ 0 h 36104"/>
                    <a:gd name="connsiteX2" fmla="*/ 267575 w 267575"/>
                    <a:gd name="connsiteY2" fmla="*/ 36104 h 36104"/>
                    <a:gd name="connsiteX3" fmla="*/ 0 w 267575"/>
                    <a:gd name="connsiteY3" fmla="*/ 36104 h 36104"/>
                  </a:gdLst>
                  <a:ahLst/>
                  <a:cxnLst>
                    <a:cxn ang="0">
                      <a:pos x="connsiteX0" y="connsiteY0"/>
                    </a:cxn>
                    <a:cxn ang="0">
                      <a:pos x="connsiteX1" y="connsiteY1"/>
                    </a:cxn>
                    <a:cxn ang="0">
                      <a:pos x="connsiteX2" y="connsiteY2"/>
                    </a:cxn>
                    <a:cxn ang="0">
                      <a:pos x="connsiteX3" y="connsiteY3"/>
                    </a:cxn>
                  </a:cxnLst>
                  <a:rect l="l" t="t" r="r" b="b"/>
                  <a:pathLst>
                    <a:path w="267575" h="36104">
                      <a:moveTo>
                        <a:pt x="0" y="0"/>
                      </a:moveTo>
                      <a:lnTo>
                        <a:pt x="267575" y="0"/>
                      </a:lnTo>
                      <a:lnTo>
                        <a:pt x="267575" y="36104"/>
                      </a:lnTo>
                      <a:lnTo>
                        <a:pt x="0" y="3610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29" name="Freeform: Shape 1228">
                  <a:extLst>
                    <a:ext uri="{FF2B5EF4-FFF2-40B4-BE49-F238E27FC236}">
                      <a16:creationId xmlns:a16="http://schemas.microsoft.com/office/drawing/2014/main" id="{3B2511D5-5659-464B-AA76-B8C840609292}"/>
                    </a:ext>
                  </a:extLst>
                </p:cNvPr>
                <p:cNvSpPr/>
                <p:nvPr/>
              </p:nvSpPr>
              <p:spPr>
                <a:xfrm>
                  <a:off x="8873956" y="9675868"/>
                  <a:ext cx="187678" cy="187687"/>
                </a:xfrm>
                <a:custGeom>
                  <a:avLst/>
                  <a:gdLst>
                    <a:gd name="connsiteX0" fmla="*/ 169636 w 187678"/>
                    <a:gd name="connsiteY0" fmla="*/ 187688 h 187687"/>
                    <a:gd name="connsiteX1" fmla="*/ 156874 w 187678"/>
                    <a:gd name="connsiteY1" fmla="*/ 182398 h 187687"/>
                    <a:gd name="connsiteX2" fmla="*/ 5280 w 187678"/>
                    <a:gd name="connsiteY2" fmla="*/ 30804 h 187687"/>
                    <a:gd name="connsiteX3" fmla="*/ 5280 w 187678"/>
                    <a:gd name="connsiteY3" fmla="*/ 5280 h 187687"/>
                    <a:gd name="connsiteX4" fmla="*/ 30805 w 187678"/>
                    <a:gd name="connsiteY4" fmla="*/ 5280 h 187687"/>
                    <a:gd name="connsiteX5" fmla="*/ 182399 w 187678"/>
                    <a:gd name="connsiteY5" fmla="*/ 156874 h 187687"/>
                    <a:gd name="connsiteX6" fmla="*/ 182399 w 187678"/>
                    <a:gd name="connsiteY6" fmla="*/ 182398 h 187687"/>
                    <a:gd name="connsiteX7" fmla="*/ 169636 w 187678"/>
                    <a:gd name="connsiteY7" fmla="*/ 187688 h 187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678" h="187687">
                      <a:moveTo>
                        <a:pt x="169636" y="187688"/>
                      </a:moveTo>
                      <a:cubicBezTo>
                        <a:pt x="165015" y="187688"/>
                        <a:pt x="160394" y="185918"/>
                        <a:pt x="156874" y="182398"/>
                      </a:cubicBezTo>
                      <a:lnTo>
                        <a:pt x="5280" y="30804"/>
                      </a:lnTo>
                      <a:cubicBezTo>
                        <a:pt x="-1760" y="23745"/>
                        <a:pt x="-1760" y="12320"/>
                        <a:pt x="5280" y="5280"/>
                      </a:cubicBezTo>
                      <a:cubicBezTo>
                        <a:pt x="12340" y="-1760"/>
                        <a:pt x="23764" y="-1760"/>
                        <a:pt x="30805" y="5280"/>
                      </a:cubicBezTo>
                      <a:lnTo>
                        <a:pt x="182399" y="156874"/>
                      </a:lnTo>
                      <a:cubicBezTo>
                        <a:pt x="189438" y="163933"/>
                        <a:pt x="189438" y="175358"/>
                        <a:pt x="182399" y="182398"/>
                      </a:cubicBezTo>
                      <a:cubicBezTo>
                        <a:pt x="178879" y="185918"/>
                        <a:pt x="174258" y="187688"/>
                        <a:pt x="169636" y="187688"/>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30" name="Freeform: Shape 1229">
                  <a:extLst>
                    <a:ext uri="{FF2B5EF4-FFF2-40B4-BE49-F238E27FC236}">
                      <a16:creationId xmlns:a16="http://schemas.microsoft.com/office/drawing/2014/main" id="{35139798-E7AF-4AAF-B09F-75F19C0AB676}"/>
                    </a:ext>
                  </a:extLst>
                </p:cNvPr>
                <p:cNvSpPr/>
                <p:nvPr/>
              </p:nvSpPr>
              <p:spPr>
                <a:xfrm>
                  <a:off x="9032246" y="9834866"/>
                  <a:ext cx="22732" cy="22732"/>
                </a:xfrm>
                <a:custGeom>
                  <a:avLst/>
                  <a:gdLst>
                    <a:gd name="connsiteX0" fmla="*/ 22732 w 22732"/>
                    <a:gd name="connsiteY0" fmla="*/ 11366 h 22732"/>
                    <a:gd name="connsiteX1" fmla="*/ 11367 w 22732"/>
                    <a:gd name="connsiteY1" fmla="*/ 22732 h 22732"/>
                    <a:gd name="connsiteX2" fmla="*/ 0 w 22732"/>
                    <a:gd name="connsiteY2" fmla="*/ 11366 h 22732"/>
                    <a:gd name="connsiteX3" fmla="*/ 11367 w 22732"/>
                    <a:gd name="connsiteY3" fmla="*/ 0 h 22732"/>
                    <a:gd name="connsiteX4" fmla="*/ 22732 w 22732"/>
                    <a:gd name="connsiteY4" fmla="*/ 11366 h 22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32" h="22732">
                      <a:moveTo>
                        <a:pt x="22732" y="11366"/>
                      </a:moveTo>
                      <a:cubicBezTo>
                        <a:pt x="22732" y="17639"/>
                        <a:pt x="17639" y="22732"/>
                        <a:pt x="11367" y="22732"/>
                      </a:cubicBezTo>
                      <a:cubicBezTo>
                        <a:pt x="5093" y="22732"/>
                        <a:pt x="0" y="17639"/>
                        <a:pt x="0" y="11366"/>
                      </a:cubicBezTo>
                      <a:cubicBezTo>
                        <a:pt x="0" y="5093"/>
                        <a:pt x="5093" y="0"/>
                        <a:pt x="11367" y="0"/>
                      </a:cubicBezTo>
                      <a:cubicBezTo>
                        <a:pt x="17639" y="0"/>
                        <a:pt x="22732" y="5093"/>
                        <a:pt x="22732" y="11366"/>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31" name="Freeform: Shape 1230">
                  <a:extLst>
                    <a:ext uri="{FF2B5EF4-FFF2-40B4-BE49-F238E27FC236}">
                      <a16:creationId xmlns:a16="http://schemas.microsoft.com/office/drawing/2014/main" id="{59578E88-6861-45AC-9D5A-03D3C12D9027}"/>
                    </a:ext>
                  </a:extLst>
                </p:cNvPr>
                <p:cNvSpPr/>
                <p:nvPr/>
              </p:nvSpPr>
              <p:spPr>
                <a:xfrm>
                  <a:off x="8880003" y="9682623"/>
                  <a:ext cx="22732" cy="22732"/>
                </a:xfrm>
                <a:custGeom>
                  <a:avLst/>
                  <a:gdLst>
                    <a:gd name="connsiteX0" fmla="*/ 22732 w 22732"/>
                    <a:gd name="connsiteY0" fmla="*/ 11366 h 22732"/>
                    <a:gd name="connsiteX1" fmla="*/ 11366 w 22732"/>
                    <a:gd name="connsiteY1" fmla="*/ 22732 h 22732"/>
                    <a:gd name="connsiteX2" fmla="*/ 0 w 22732"/>
                    <a:gd name="connsiteY2" fmla="*/ 11366 h 22732"/>
                    <a:gd name="connsiteX3" fmla="*/ 11366 w 22732"/>
                    <a:gd name="connsiteY3" fmla="*/ 0 h 22732"/>
                    <a:gd name="connsiteX4" fmla="*/ 22732 w 22732"/>
                    <a:gd name="connsiteY4" fmla="*/ 11366 h 22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32" h="22732">
                      <a:moveTo>
                        <a:pt x="22732" y="11366"/>
                      </a:moveTo>
                      <a:cubicBezTo>
                        <a:pt x="22732" y="17639"/>
                        <a:pt x="17639" y="22732"/>
                        <a:pt x="11366" y="22732"/>
                      </a:cubicBezTo>
                      <a:cubicBezTo>
                        <a:pt x="5093" y="22732"/>
                        <a:pt x="0" y="17639"/>
                        <a:pt x="0" y="11366"/>
                      </a:cubicBezTo>
                      <a:cubicBezTo>
                        <a:pt x="0" y="5093"/>
                        <a:pt x="5093" y="0"/>
                        <a:pt x="11366" y="0"/>
                      </a:cubicBezTo>
                      <a:cubicBezTo>
                        <a:pt x="17639" y="0"/>
                        <a:pt x="22732" y="5093"/>
                        <a:pt x="22732" y="11366"/>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797" name="Freeform: Shape 796">
                <a:extLst>
                  <a:ext uri="{FF2B5EF4-FFF2-40B4-BE49-F238E27FC236}">
                    <a16:creationId xmlns:a16="http://schemas.microsoft.com/office/drawing/2014/main" id="{A44C3FFC-AA67-4342-AF2F-3502697240B6}"/>
                  </a:ext>
                </a:extLst>
              </p:cNvPr>
              <p:cNvSpPr/>
              <p:nvPr/>
            </p:nvSpPr>
            <p:spPr>
              <a:xfrm>
                <a:off x="6847636" y="10202612"/>
                <a:ext cx="564981" cy="1175603"/>
              </a:xfrm>
              <a:custGeom>
                <a:avLst/>
                <a:gdLst>
                  <a:gd name="connsiteX0" fmla="*/ 0 w 564981"/>
                  <a:gd name="connsiteY0" fmla="*/ 0 h 1175603"/>
                  <a:gd name="connsiteX1" fmla="*/ 564981 w 564981"/>
                  <a:gd name="connsiteY1" fmla="*/ 0 h 1175603"/>
                  <a:gd name="connsiteX2" fmla="*/ 564981 w 564981"/>
                  <a:gd name="connsiteY2" fmla="*/ 1175604 h 1175603"/>
                  <a:gd name="connsiteX3" fmla="*/ 0 w 564981"/>
                  <a:gd name="connsiteY3" fmla="*/ 1175604 h 1175603"/>
                </a:gdLst>
                <a:ahLst/>
                <a:cxnLst>
                  <a:cxn ang="0">
                    <a:pos x="connsiteX0" y="connsiteY0"/>
                  </a:cxn>
                  <a:cxn ang="0">
                    <a:pos x="connsiteX1" y="connsiteY1"/>
                  </a:cxn>
                  <a:cxn ang="0">
                    <a:pos x="connsiteX2" y="connsiteY2"/>
                  </a:cxn>
                  <a:cxn ang="0">
                    <a:pos x="connsiteX3" y="connsiteY3"/>
                  </a:cxn>
                </a:cxnLst>
                <a:rect l="l" t="t" r="r" b="b"/>
                <a:pathLst>
                  <a:path w="564981" h="1175603">
                    <a:moveTo>
                      <a:pt x="0" y="0"/>
                    </a:moveTo>
                    <a:lnTo>
                      <a:pt x="564981" y="0"/>
                    </a:lnTo>
                    <a:lnTo>
                      <a:pt x="564981" y="1175604"/>
                    </a:lnTo>
                    <a:lnTo>
                      <a:pt x="0" y="1175604"/>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98" name="Freeform: Shape 797">
                <a:extLst>
                  <a:ext uri="{FF2B5EF4-FFF2-40B4-BE49-F238E27FC236}">
                    <a16:creationId xmlns:a16="http://schemas.microsoft.com/office/drawing/2014/main" id="{76041676-4104-483C-B324-2F2FDEEBE10B}"/>
                  </a:ext>
                </a:extLst>
              </p:cNvPr>
              <p:cNvSpPr/>
              <p:nvPr/>
            </p:nvSpPr>
            <p:spPr>
              <a:xfrm>
                <a:off x="6933256" y="11245991"/>
                <a:ext cx="393762" cy="132243"/>
              </a:xfrm>
              <a:custGeom>
                <a:avLst/>
                <a:gdLst>
                  <a:gd name="connsiteX0" fmla="*/ 0 w 393762"/>
                  <a:gd name="connsiteY0" fmla="*/ 0 h 132243"/>
                  <a:gd name="connsiteX1" fmla="*/ 393762 w 393762"/>
                  <a:gd name="connsiteY1" fmla="*/ 0 h 132243"/>
                  <a:gd name="connsiteX2" fmla="*/ 393762 w 393762"/>
                  <a:gd name="connsiteY2" fmla="*/ 132244 h 132243"/>
                  <a:gd name="connsiteX3" fmla="*/ 0 w 393762"/>
                  <a:gd name="connsiteY3" fmla="*/ 132244 h 132243"/>
                </a:gdLst>
                <a:ahLst/>
                <a:cxnLst>
                  <a:cxn ang="0">
                    <a:pos x="connsiteX0" y="connsiteY0"/>
                  </a:cxn>
                  <a:cxn ang="0">
                    <a:pos x="connsiteX1" y="connsiteY1"/>
                  </a:cxn>
                  <a:cxn ang="0">
                    <a:pos x="connsiteX2" y="connsiteY2"/>
                  </a:cxn>
                  <a:cxn ang="0">
                    <a:pos x="connsiteX3" y="connsiteY3"/>
                  </a:cxn>
                </a:cxnLst>
                <a:rect l="l" t="t" r="r" b="b"/>
                <a:pathLst>
                  <a:path w="393762" h="132243">
                    <a:moveTo>
                      <a:pt x="0" y="0"/>
                    </a:moveTo>
                    <a:lnTo>
                      <a:pt x="393762" y="0"/>
                    </a:lnTo>
                    <a:lnTo>
                      <a:pt x="393762" y="132244"/>
                    </a:lnTo>
                    <a:lnTo>
                      <a:pt x="0" y="132244"/>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799" name="Freeform: Shape 798">
                <a:extLst>
                  <a:ext uri="{FF2B5EF4-FFF2-40B4-BE49-F238E27FC236}">
                    <a16:creationId xmlns:a16="http://schemas.microsoft.com/office/drawing/2014/main" id="{DFD6FA2A-F2F2-4822-A41D-6F3A9A796C53}"/>
                  </a:ext>
                </a:extLst>
              </p:cNvPr>
              <p:cNvSpPr/>
              <p:nvPr/>
            </p:nvSpPr>
            <p:spPr>
              <a:xfrm>
                <a:off x="6941200" y="10512642"/>
                <a:ext cx="377873" cy="328888"/>
              </a:xfrm>
              <a:custGeom>
                <a:avLst/>
                <a:gdLst>
                  <a:gd name="connsiteX0" fmla="*/ 0 w 377873"/>
                  <a:gd name="connsiteY0" fmla="*/ 0 h 328888"/>
                  <a:gd name="connsiteX1" fmla="*/ 377873 w 377873"/>
                  <a:gd name="connsiteY1" fmla="*/ 0 h 328888"/>
                  <a:gd name="connsiteX2" fmla="*/ 377873 w 377873"/>
                  <a:gd name="connsiteY2" fmla="*/ 328889 h 328888"/>
                  <a:gd name="connsiteX3" fmla="*/ 0 w 377873"/>
                  <a:gd name="connsiteY3" fmla="*/ 328889 h 328888"/>
                </a:gdLst>
                <a:ahLst/>
                <a:cxnLst>
                  <a:cxn ang="0">
                    <a:pos x="connsiteX0" y="connsiteY0"/>
                  </a:cxn>
                  <a:cxn ang="0">
                    <a:pos x="connsiteX1" y="connsiteY1"/>
                  </a:cxn>
                  <a:cxn ang="0">
                    <a:pos x="connsiteX2" y="connsiteY2"/>
                  </a:cxn>
                  <a:cxn ang="0">
                    <a:pos x="connsiteX3" y="connsiteY3"/>
                  </a:cxn>
                </a:cxnLst>
                <a:rect l="l" t="t" r="r" b="b"/>
                <a:pathLst>
                  <a:path w="377873" h="328888">
                    <a:moveTo>
                      <a:pt x="0" y="0"/>
                    </a:moveTo>
                    <a:lnTo>
                      <a:pt x="377873" y="0"/>
                    </a:lnTo>
                    <a:lnTo>
                      <a:pt x="377873" y="328889"/>
                    </a:lnTo>
                    <a:lnTo>
                      <a:pt x="0" y="328889"/>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00" name="Freeform: Shape 799">
                <a:extLst>
                  <a:ext uri="{FF2B5EF4-FFF2-40B4-BE49-F238E27FC236}">
                    <a16:creationId xmlns:a16="http://schemas.microsoft.com/office/drawing/2014/main" id="{1AD648C9-B3B9-40CA-AF3A-4D8FB67EB66B}"/>
                  </a:ext>
                </a:extLst>
              </p:cNvPr>
              <p:cNvSpPr/>
              <p:nvPr/>
            </p:nvSpPr>
            <p:spPr>
              <a:xfrm>
                <a:off x="6937267" y="10977826"/>
                <a:ext cx="385738" cy="147719"/>
              </a:xfrm>
              <a:custGeom>
                <a:avLst/>
                <a:gdLst>
                  <a:gd name="connsiteX0" fmla="*/ 385739 w 385738"/>
                  <a:gd name="connsiteY0" fmla="*/ 147720 h 147719"/>
                  <a:gd name="connsiteX1" fmla="*/ 0 w 385738"/>
                  <a:gd name="connsiteY1" fmla="*/ 147720 h 147719"/>
                  <a:gd name="connsiteX2" fmla="*/ 0 w 385738"/>
                  <a:gd name="connsiteY2" fmla="*/ 0 h 147719"/>
                  <a:gd name="connsiteX3" fmla="*/ 385739 w 385738"/>
                  <a:gd name="connsiteY3" fmla="*/ 0 h 147719"/>
                  <a:gd name="connsiteX4" fmla="*/ 385739 w 385738"/>
                  <a:gd name="connsiteY4" fmla="*/ 147720 h 147719"/>
                  <a:gd name="connsiteX5" fmla="*/ 7866 w 385738"/>
                  <a:gd name="connsiteY5" fmla="*/ 139854 h 147719"/>
                  <a:gd name="connsiteX6" fmla="*/ 377873 w 385738"/>
                  <a:gd name="connsiteY6" fmla="*/ 139854 h 147719"/>
                  <a:gd name="connsiteX7" fmla="*/ 377873 w 385738"/>
                  <a:gd name="connsiteY7" fmla="*/ 7866 h 147719"/>
                  <a:gd name="connsiteX8" fmla="*/ 7866 w 385738"/>
                  <a:gd name="connsiteY8" fmla="*/ 7866 h 147719"/>
                  <a:gd name="connsiteX9" fmla="*/ 7866 w 385738"/>
                  <a:gd name="connsiteY9" fmla="*/ 139854 h 14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738" h="147719">
                    <a:moveTo>
                      <a:pt x="385739" y="147720"/>
                    </a:moveTo>
                    <a:lnTo>
                      <a:pt x="0" y="147720"/>
                    </a:lnTo>
                    <a:lnTo>
                      <a:pt x="0" y="0"/>
                    </a:lnTo>
                    <a:lnTo>
                      <a:pt x="385739" y="0"/>
                    </a:lnTo>
                    <a:lnTo>
                      <a:pt x="385739" y="147720"/>
                    </a:lnTo>
                    <a:close/>
                    <a:moveTo>
                      <a:pt x="7866" y="139854"/>
                    </a:moveTo>
                    <a:lnTo>
                      <a:pt x="377873" y="139854"/>
                    </a:lnTo>
                    <a:lnTo>
                      <a:pt x="377873" y="7866"/>
                    </a:lnTo>
                    <a:lnTo>
                      <a:pt x="7866" y="7866"/>
                    </a:lnTo>
                    <a:lnTo>
                      <a:pt x="7866" y="139854"/>
                    </a:lnTo>
                    <a:close/>
                  </a:path>
                </a:pathLst>
              </a:custGeom>
              <a:solidFill>
                <a:schemeClr val="bg1"/>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01" name="Freeform: Shape 800">
                <a:extLst>
                  <a:ext uri="{FF2B5EF4-FFF2-40B4-BE49-F238E27FC236}">
                    <a16:creationId xmlns:a16="http://schemas.microsoft.com/office/drawing/2014/main" id="{922B8258-7DF7-4C40-918F-4150CD8BE3C0}"/>
                  </a:ext>
                </a:extLst>
              </p:cNvPr>
              <p:cNvSpPr/>
              <p:nvPr/>
            </p:nvSpPr>
            <p:spPr>
              <a:xfrm>
                <a:off x="6282655" y="10202612"/>
                <a:ext cx="564981" cy="1175603"/>
              </a:xfrm>
              <a:custGeom>
                <a:avLst/>
                <a:gdLst>
                  <a:gd name="connsiteX0" fmla="*/ 0 w 564981"/>
                  <a:gd name="connsiteY0" fmla="*/ 0 h 1175603"/>
                  <a:gd name="connsiteX1" fmla="*/ 564981 w 564981"/>
                  <a:gd name="connsiteY1" fmla="*/ 0 h 1175603"/>
                  <a:gd name="connsiteX2" fmla="*/ 564981 w 564981"/>
                  <a:gd name="connsiteY2" fmla="*/ 1175604 h 1175603"/>
                  <a:gd name="connsiteX3" fmla="*/ 0 w 564981"/>
                  <a:gd name="connsiteY3" fmla="*/ 1175604 h 1175603"/>
                </a:gdLst>
                <a:ahLst/>
                <a:cxnLst>
                  <a:cxn ang="0">
                    <a:pos x="connsiteX0" y="connsiteY0"/>
                  </a:cxn>
                  <a:cxn ang="0">
                    <a:pos x="connsiteX1" y="connsiteY1"/>
                  </a:cxn>
                  <a:cxn ang="0">
                    <a:pos x="connsiteX2" y="connsiteY2"/>
                  </a:cxn>
                  <a:cxn ang="0">
                    <a:pos x="connsiteX3" y="connsiteY3"/>
                  </a:cxn>
                </a:cxnLst>
                <a:rect l="l" t="t" r="r" b="b"/>
                <a:pathLst>
                  <a:path w="564981" h="1175603">
                    <a:moveTo>
                      <a:pt x="0" y="0"/>
                    </a:moveTo>
                    <a:lnTo>
                      <a:pt x="564981" y="0"/>
                    </a:lnTo>
                    <a:lnTo>
                      <a:pt x="564981" y="1175604"/>
                    </a:lnTo>
                    <a:lnTo>
                      <a:pt x="0" y="1175604"/>
                    </a:lnTo>
                    <a:close/>
                  </a:path>
                </a:pathLst>
              </a:custGeom>
              <a:solidFill>
                <a:srgbClr val="C9C9DB"/>
              </a:solidFill>
              <a:ln w="77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02" name="Freeform: Shape 801">
                <a:extLst>
                  <a:ext uri="{FF2B5EF4-FFF2-40B4-BE49-F238E27FC236}">
                    <a16:creationId xmlns:a16="http://schemas.microsoft.com/office/drawing/2014/main" id="{95016A23-5BF8-44BB-9B09-C66D62CAE7A4}"/>
                  </a:ext>
                </a:extLst>
              </p:cNvPr>
              <p:cNvSpPr/>
              <p:nvPr/>
            </p:nvSpPr>
            <p:spPr>
              <a:xfrm>
                <a:off x="6376219" y="10263060"/>
                <a:ext cx="377873" cy="65974"/>
              </a:xfrm>
              <a:custGeom>
                <a:avLst/>
                <a:gdLst>
                  <a:gd name="connsiteX0" fmla="*/ 0 w 377873"/>
                  <a:gd name="connsiteY0" fmla="*/ 0 h 65974"/>
                  <a:gd name="connsiteX1" fmla="*/ 0 w 377873"/>
                  <a:gd name="connsiteY1" fmla="*/ 23617 h 65974"/>
                  <a:gd name="connsiteX2" fmla="*/ 377873 w 377873"/>
                  <a:gd name="connsiteY2" fmla="*/ 23617 h 65974"/>
                  <a:gd name="connsiteX3" fmla="*/ 377873 w 377873"/>
                  <a:gd name="connsiteY3" fmla="*/ 0 h 65974"/>
                  <a:gd name="connsiteX4" fmla="*/ 0 w 377873"/>
                  <a:gd name="connsiteY4" fmla="*/ 0 h 65974"/>
                  <a:gd name="connsiteX5" fmla="*/ 0 w 377873"/>
                  <a:gd name="connsiteY5" fmla="*/ 65974 h 65974"/>
                  <a:gd name="connsiteX6" fmla="*/ 227538 w 377873"/>
                  <a:gd name="connsiteY6" fmla="*/ 65974 h 65974"/>
                  <a:gd name="connsiteX7" fmla="*/ 227538 w 377873"/>
                  <a:gd name="connsiteY7" fmla="*/ 42357 h 65974"/>
                  <a:gd name="connsiteX8" fmla="*/ 0 w 377873"/>
                  <a:gd name="connsiteY8" fmla="*/ 42357 h 65974"/>
                  <a:gd name="connsiteX9" fmla="*/ 0 w 377873"/>
                  <a:gd name="connsiteY9" fmla="*/ 65974 h 65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73" h="65974">
                    <a:moveTo>
                      <a:pt x="0" y="0"/>
                    </a:moveTo>
                    <a:lnTo>
                      <a:pt x="0" y="23617"/>
                    </a:lnTo>
                    <a:lnTo>
                      <a:pt x="377873" y="23617"/>
                    </a:lnTo>
                    <a:lnTo>
                      <a:pt x="377873" y="0"/>
                    </a:lnTo>
                    <a:lnTo>
                      <a:pt x="0" y="0"/>
                    </a:lnTo>
                    <a:close/>
                    <a:moveTo>
                      <a:pt x="0" y="65974"/>
                    </a:moveTo>
                    <a:lnTo>
                      <a:pt x="227538" y="65974"/>
                    </a:lnTo>
                    <a:lnTo>
                      <a:pt x="227538" y="42357"/>
                    </a:lnTo>
                    <a:lnTo>
                      <a:pt x="0" y="42357"/>
                    </a:lnTo>
                    <a:lnTo>
                      <a:pt x="0" y="65974"/>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03" name="Freeform: Shape 802">
                <a:extLst>
                  <a:ext uri="{FF2B5EF4-FFF2-40B4-BE49-F238E27FC236}">
                    <a16:creationId xmlns:a16="http://schemas.microsoft.com/office/drawing/2014/main" id="{ED14C0B9-3F6D-4865-B2D9-CD17203955BD}"/>
                  </a:ext>
                </a:extLst>
              </p:cNvPr>
              <p:cNvSpPr/>
              <p:nvPr/>
            </p:nvSpPr>
            <p:spPr>
              <a:xfrm>
                <a:off x="6941200" y="10263060"/>
                <a:ext cx="377873" cy="65974"/>
              </a:xfrm>
              <a:custGeom>
                <a:avLst/>
                <a:gdLst>
                  <a:gd name="connsiteX0" fmla="*/ 0 w 377873"/>
                  <a:gd name="connsiteY0" fmla="*/ 0 h 65974"/>
                  <a:gd name="connsiteX1" fmla="*/ 0 w 377873"/>
                  <a:gd name="connsiteY1" fmla="*/ 23617 h 65974"/>
                  <a:gd name="connsiteX2" fmla="*/ 377873 w 377873"/>
                  <a:gd name="connsiteY2" fmla="*/ 23617 h 65974"/>
                  <a:gd name="connsiteX3" fmla="*/ 377873 w 377873"/>
                  <a:gd name="connsiteY3" fmla="*/ 0 h 65974"/>
                  <a:gd name="connsiteX4" fmla="*/ 0 w 377873"/>
                  <a:gd name="connsiteY4" fmla="*/ 0 h 65974"/>
                  <a:gd name="connsiteX5" fmla="*/ 0 w 377873"/>
                  <a:gd name="connsiteY5" fmla="*/ 65974 h 65974"/>
                  <a:gd name="connsiteX6" fmla="*/ 227538 w 377873"/>
                  <a:gd name="connsiteY6" fmla="*/ 65974 h 65974"/>
                  <a:gd name="connsiteX7" fmla="*/ 227538 w 377873"/>
                  <a:gd name="connsiteY7" fmla="*/ 42357 h 65974"/>
                  <a:gd name="connsiteX8" fmla="*/ 0 w 377873"/>
                  <a:gd name="connsiteY8" fmla="*/ 42357 h 65974"/>
                  <a:gd name="connsiteX9" fmla="*/ 0 w 377873"/>
                  <a:gd name="connsiteY9" fmla="*/ 65974 h 65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73" h="65974">
                    <a:moveTo>
                      <a:pt x="0" y="0"/>
                    </a:moveTo>
                    <a:lnTo>
                      <a:pt x="0" y="23617"/>
                    </a:lnTo>
                    <a:lnTo>
                      <a:pt x="377873" y="23617"/>
                    </a:lnTo>
                    <a:lnTo>
                      <a:pt x="377873" y="0"/>
                    </a:lnTo>
                    <a:lnTo>
                      <a:pt x="0" y="0"/>
                    </a:lnTo>
                    <a:close/>
                    <a:moveTo>
                      <a:pt x="0" y="65974"/>
                    </a:moveTo>
                    <a:lnTo>
                      <a:pt x="227538" y="65974"/>
                    </a:lnTo>
                    <a:lnTo>
                      <a:pt x="227538" y="42357"/>
                    </a:lnTo>
                    <a:lnTo>
                      <a:pt x="0" y="42357"/>
                    </a:lnTo>
                    <a:lnTo>
                      <a:pt x="0" y="65974"/>
                    </a:lnTo>
                    <a:close/>
                  </a:path>
                </a:pathLst>
              </a:custGeom>
              <a:solidFill>
                <a:srgbClr val="FFFF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04" name="Freeform: Shape 803">
                <a:extLst>
                  <a:ext uri="{FF2B5EF4-FFF2-40B4-BE49-F238E27FC236}">
                    <a16:creationId xmlns:a16="http://schemas.microsoft.com/office/drawing/2014/main" id="{AD2C8144-25C0-45BE-BB9C-EE30F3302541}"/>
                  </a:ext>
                </a:extLst>
              </p:cNvPr>
              <p:cNvSpPr/>
              <p:nvPr/>
            </p:nvSpPr>
            <p:spPr>
              <a:xfrm>
                <a:off x="7412637" y="10202612"/>
                <a:ext cx="564981" cy="1175603"/>
              </a:xfrm>
              <a:custGeom>
                <a:avLst/>
                <a:gdLst>
                  <a:gd name="connsiteX0" fmla="*/ 0 w 564981"/>
                  <a:gd name="connsiteY0" fmla="*/ 0 h 1175603"/>
                  <a:gd name="connsiteX1" fmla="*/ 564981 w 564981"/>
                  <a:gd name="connsiteY1" fmla="*/ 0 h 1175603"/>
                  <a:gd name="connsiteX2" fmla="*/ 564981 w 564981"/>
                  <a:gd name="connsiteY2" fmla="*/ 1175604 h 1175603"/>
                  <a:gd name="connsiteX3" fmla="*/ 0 w 564981"/>
                  <a:gd name="connsiteY3" fmla="*/ 1175604 h 1175603"/>
                </a:gdLst>
                <a:ahLst/>
                <a:cxnLst>
                  <a:cxn ang="0">
                    <a:pos x="connsiteX0" y="connsiteY0"/>
                  </a:cxn>
                  <a:cxn ang="0">
                    <a:pos x="connsiteX1" y="connsiteY1"/>
                  </a:cxn>
                  <a:cxn ang="0">
                    <a:pos x="connsiteX2" y="connsiteY2"/>
                  </a:cxn>
                  <a:cxn ang="0">
                    <a:pos x="connsiteX3" y="connsiteY3"/>
                  </a:cxn>
                </a:cxnLst>
                <a:rect l="l" t="t" r="r" b="b"/>
                <a:pathLst>
                  <a:path w="564981" h="1175603">
                    <a:moveTo>
                      <a:pt x="0" y="0"/>
                    </a:moveTo>
                    <a:lnTo>
                      <a:pt x="564981" y="0"/>
                    </a:lnTo>
                    <a:lnTo>
                      <a:pt x="564981" y="1175604"/>
                    </a:lnTo>
                    <a:lnTo>
                      <a:pt x="0" y="1175604"/>
                    </a:lnTo>
                    <a:close/>
                  </a:path>
                </a:pathLst>
              </a:custGeom>
              <a:solidFill>
                <a:srgbClr val="C9C9DB"/>
              </a:solidFill>
              <a:ln w="77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05" name="Freeform: Shape 804">
                <a:extLst>
                  <a:ext uri="{FF2B5EF4-FFF2-40B4-BE49-F238E27FC236}">
                    <a16:creationId xmlns:a16="http://schemas.microsoft.com/office/drawing/2014/main" id="{AC7C6DFA-0A62-4B18-933D-7A14DBFC8FD1}"/>
                  </a:ext>
                </a:extLst>
              </p:cNvPr>
              <p:cNvSpPr/>
              <p:nvPr/>
            </p:nvSpPr>
            <p:spPr>
              <a:xfrm>
                <a:off x="7506182" y="10263060"/>
                <a:ext cx="377873" cy="65974"/>
              </a:xfrm>
              <a:custGeom>
                <a:avLst/>
                <a:gdLst>
                  <a:gd name="connsiteX0" fmla="*/ 0 w 377873"/>
                  <a:gd name="connsiteY0" fmla="*/ 0 h 65974"/>
                  <a:gd name="connsiteX1" fmla="*/ 0 w 377873"/>
                  <a:gd name="connsiteY1" fmla="*/ 23617 h 65974"/>
                  <a:gd name="connsiteX2" fmla="*/ 377873 w 377873"/>
                  <a:gd name="connsiteY2" fmla="*/ 23617 h 65974"/>
                  <a:gd name="connsiteX3" fmla="*/ 377873 w 377873"/>
                  <a:gd name="connsiteY3" fmla="*/ 0 h 65974"/>
                  <a:gd name="connsiteX4" fmla="*/ 0 w 377873"/>
                  <a:gd name="connsiteY4" fmla="*/ 0 h 65974"/>
                  <a:gd name="connsiteX5" fmla="*/ 0 w 377873"/>
                  <a:gd name="connsiteY5" fmla="*/ 65974 h 65974"/>
                  <a:gd name="connsiteX6" fmla="*/ 227538 w 377873"/>
                  <a:gd name="connsiteY6" fmla="*/ 65974 h 65974"/>
                  <a:gd name="connsiteX7" fmla="*/ 227538 w 377873"/>
                  <a:gd name="connsiteY7" fmla="*/ 42357 h 65974"/>
                  <a:gd name="connsiteX8" fmla="*/ 0 w 377873"/>
                  <a:gd name="connsiteY8" fmla="*/ 42357 h 65974"/>
                  <a:gd name="connsiteX9" fmla="*/ 0 w 377873"/>
                  <a:gd name="connsiteY9" fmla="*/ 65974 h 65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73" h="65974">
                    <a:moveTo>
                      <a:pt x="0" y="0"/>
                    </a:moveTo>
                    <a:lnTo>
                      <a:pt x="0" y="23617"/>
                    </a:lnTo>
                    <a:lnTo>
                      <a:pt x="377873" y="23617"/>
                    </a:lnTo>
                    <a:lnTo>
                      <a:pt x="377873" y="0"/>
                    </a:lnTo>
                    <a:lnTo>
                      <a:pt x="0" y="0"/>
                    </a:lnTo>
                    <a:close/>
                    <a:moveTo>
                      <a:pt x="0" y="65974"/>
                    </a:moveTo>
                    <a:lnTo>
                      <a:pt x="227538" y="65974"/>
                    </a:lnTo>
                    <a:lnTo>
                      <a:pt x="227538" y="42357"/>
                    </a:lnTo>
                    <a:lnTo>
                      <a:pt x="0" y="42357"/>
                    </a:lnTo>
                    <a:lnTo>
                      <a:pt x="0" y="65974"/>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06" name="Freeform: Shape 805">
                <a:extLst>
                  <a:ext uri="{FF2B5EF4-FFF2-40B4-BE49-F238E27FC236}">
                    <a16:creationId xmlns:a16="http://schemas.microsoft.com/office/drawing/2014/main" id="{6C708BAF-1F0F-4FA0-916E-401BA2C85042}"/>
                  </a:ext>
                </a:extLst>
              </p:cNvPr>
              <p:cNvSpPr/>
              <p:nvPr/>
            </p:nvSpPr>
            <p:spPr>
              <a:xfrm>
                <a:off x="7490508" y="10977826"/>
                <a:ext cx="409238" cy="400408"/>
              </a:xfrm>
              <a:custGeom>
                <a:avLst/>
                <a:gdLst>
                  <a:gd name="connsiteX0" fmla="*/ 409238 w 409238"/>
                  <a:gd name="connsiteY0" fmla="*/ 400409 h 400408"/>
                  <a:gd name="connsiteX1" fmla="*/ 401373 w 409238"/>
                  <a:gd name="connsiteY1" fmla="*/ 400409 h 400408"/>
                  <a:gd name="connsiteX2" fmla="*/ 401373 w 409238"/>
                  <a:gd name="connsiteY2" fmla="*/ 7866 h 400408"/>
                  <a:gd name="connsiteX3" fmla="*/ 7866 w 409238"/>
                  <a:gd name="connsiteY3" fmla="*/ 7866 h 400408"/>
                  <a:gd name="connsiteX4" fmla="*/ 7866 w 409238"/>
                  <a:gd name="connsiteY4" fmla="*/ 400409 h 400408"/>
                  <a:gd name="connsiteX5" fmla="*/ 0 w 409238"/>
                  <a:gd name="connsiteY5" fmla="*/ 400409 h 400408"/>
                  <a:gd name="connsiteX6" fmla="*/ 0 w 409238"/>
                  <a:gd name="connsiteY6" fmla="*/ 0 h 400408"/>
                  <a:gd name="connsiteX7" fmla="*/ 409238 w 409238"/>
                  <a:gd name="connsiteY7" fmla="*/ 0 h 400408"/>
                  <a:gd name="connsiteX8" fmla="*/ 409238 w 409238"/>
                  <a:gd name="connsiteY8" fmla="*/ 400409 h 400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238" h="400408">
                    <a:moveTo>
                      <a:pt x="409238" y="400409"/>
                    </a:moveTo>
                    <a:lnTo>
                      <a:pt x="401373" y="400409"/>
                    </a:lnTo>
                    <a:lnTo>
                      <a:pt x="401373" y="7866"/>
                    </a:lnTo>
                    <a:lnTo>
                      <a:pt x="7866" y="7866"/>
                    </a:lnTo>
                    <a:lnTo>
                      <a:pt x="7866" y="400409"/>
                    </a:lnTo>
                    <a:lnTo>
                      <a:pt x="0" y="400409"/>
                    </a:lnTo>
                    <a:lnTo>
                      <a:pt x="0" y="0"/>
                    </a:lnTo>
                    <a:lnTo>
                      <a:pt x="409238" y="0"/>
                    </a:lnTo>
                    <a:lnTo>
                      <a:pt x="409238" y="400409"/>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07" name="Freeform: Shape 806">
                <a:extLst>
                  <a:ext uri="{FF2B5EF4-FFF2-40B4-BE49-F238E27FC236}">
                    <a16:creationId xmlns:a16="http://schemas.microsoft.com/office/drawing/2014/main" id="{D722F27B-2DD2-465B-BBEC-0C7CB9CF86B2}"/>
                  </a:ext>
                </a:extLst>
              </p:cNvPr>
              <p:cNvSpPr/>
              <p:nvPr/>
            </p:nvSpPr>
            <p:spPr>
              <a:xfrm>
                <a:off x="7490489" y="10513626"/>
                <a:ext cx="409258" cy="404322"/>
              </a:xfrm>
              <a:custGeom>
                <a:avLst/>
                <a:gdLst>
                  <a:gd name="connsiteX0" fmla="*/ 409258 w 409258"/>
                  <a:gd name="connsiteY0" fmla="*/ 404322 h 404322"/>
                  <a:gd name="connsiteX1" fmla="*/ 0 w 409258"/>
                  <a:gd name="connsiteY1" fmla="*/ 404322 h 404322"/>
                  <a:gd name="connsiteX2" fmla="*/ 0 w 409258"/>
                  <a:gd name="connsiteY2" fmla="*/ 0 h 404322"/>
                  <a:gd name="connsiteX3" fmla="*/ 409258 w 409258"/>
                  <a:gd name="connsiteY3" fmla="*/ 0 h 404322"/>
                  <a:gd name="connsiteX4" fmla="*/ 409258 w 409258"/>
                  <a:gd name="connsiteY4" fmla="*/ 404322 h 404322"/>
                  <a:gd name="connsiteX5" fmla="*/ 7866 w 409258"/>
                  <a:gd name="connsiteY5" fmla="*/ 396456 h 404322"/>
                  <a:gd name="connsiteX6" fmla="*/ 401392 w 409258"/>
                  <a:gd name="connsiteY6" fmla="*/ 396456 h 404322"/>
                  <a:gd name="connsiteX7" fmla="*/ 401392 w 409258"/>
                  <a:gd name="connsiteY7" fmla="*/ 7866 h 404322"/>
                  <a:gd name="connsiteX8" fmla="*/ 7866 w 409258"/>
                  <a:gd name="connsiteY8" fmla="*/ 7866 h 404322"/>
                  <a:gd name="connsiteX9" fmla="*/ 7866 w 409258"/>
                  <a:gd name="connsiteY9" fmla="*/ 396456 h 40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258" h="404322">
                    <a:moveTo>
                      <a:pt x="409258" y="404322"/>
                    </a:moveTo>
                    <a:lnTo>
                      <a:pt x="0" y="404322"/>
                    </a:lnTo>
                    <a:lnTo>
                      <a:pt x="0" y="0"/>
                    </a:lnTo>
                    <a:lnTo>
                      <a:pt x="409258" y="0"/>
                    </a:lnTo>
                    <a:lnTo>
                      <a:pt x="409258" y="404322"/>
                    </a:lnTo>
                    <a:close/>
                    <a:moveTo>
                      <a:pt x="7866" y="396456"/>
                    </a:moveTo>
                    <a:lnTo>
                      <a:pt x="401392" y="396456"/>
                    </a:lnTo>
                    <a:lnTo>
                      <a:pt x="401392" y="7866"/>
                    </a:lnTo>
                    <a:lnTo>
                      <a:pt x="7866" y="7866"/>
                    </a:lnTo>
                    <a:lnTo>
                      <a:pt x="7866" y="396456"/>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08" name="Freeform: Shape 807">
                <a:extLst>
                  <a:ext uri="{FF2B5EF4-FFF2-40B4-BE49-F238E27FC236}">
                    <a16:creationId xmlns:a16="http://schemas.microsoft.com/office/drawing/2014/main" id="{EC86E5FD-6431-4CC4-BC54-2FDABF12AD0A}"/>
                  </a:ext>
                </a:extLst>
              </p:cNvPr>
              <p:cNvSpPr/>
              <p:nvPr/>
            </p:nvSpPr>
            <p:spPr>
              <a:xfrm>
                <a:off x="6360527" y="10977826"/>
                <a:ext cx="409237" cy="400408"/>
              </a:xfrm>
              <a:custGeom>
                <a:avLst/>
                <a:gdLst>
                  <a:gd name="connsiteX0" fmla="*/ 409238 w 409237"/>
                  <a:gd name="connsiteY0" fmla="*/ 400409 h 400408"/>
                  <a:gd name="connsiteX1" fmla="*/ 401372 w 409237"/>
                  <a:gd name="connsiteY1" fmla="*/ 400409 h 400408"/>
                  <a:gd name="connsiteX2" fmla="*/ 401372 w 409237"/>
                  <a:gd name="connsiteY2" fmla="*/ 7866 h 400408"/>
                  <a:gd name="connsiteX3" fmla="*/ 7866 w 409237"/>
                  <a:gd name="connsiteY3" fmla="*/ 7866 h 400408"/>
                  <a:gd name="connsiteX4" fmla="*/ 7866 w 409237"/>
                  <a:gd name="connsiteY4" fmla="*/ 400409 h 400408"/>
                  <a:gd name="connsiteX5" fmla="*/ 0 w 409237"/>
                  <a:gd name="connsiteY5" fmla="*/ 400409 h 400408"/>
                  <a:gd name="connsiteX6" fmla="*/ 0 w 409237"/>
                  <a:gd name="connsiteY6" fmla="*/ 0 h 400408"/>
                  <a:gd name="connsiteX7" fmla="*/ 409238 w 409237"/>
                  <a:gd name="connsiteY7" fmla="*/ 0 h 400408"/>
                  <a:gd name="connsiteX8" fmla="*/ 409238 w 409237"/>
                  <a:gd name="connsiteY8" fmla="*/ 400409 h 400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237" h="400408">
                    <a:moveTo>
                      <a:pt x="409238" y="400409"/>
                    </a:moveTo>
                    <a:lnTo>
                      <a:pt x="401372" y="400409"/>
                    </a:lnTo>
                    <a:lnTo>
                      <a:pt x="401372" y="7866"/>
                    </a:lnTo>
                    <a:lnTo>
                      <a:pt x="7866" y="7866"/>
                    </a:lnTo>
                    <a:lnTo>
                      <a:pt x="7866" y="400409"/>
                    </a:lnTo>
                    <a:lnTo>
                      <a:pt x="0" y="400409"/>
                    </a:lnTo>
                    <a:lnTo>
                      <a:pt x="0" y="0"/>
                    </a:lnTo>
                    <a:lnTo>
                      <a:pt x="409238" y="0"/>
                    </a:lnTo>
                    <a:lnTo>
                      <a:pt x="409238" y="400409"/>
                    </a:lnTo>
                    <a:close/>
                  </a:path>
                </a:pathLst>
              </a:custGeom>
              <a:solidFill>
                <a:schemeClr val="bg1"/>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09" name="Freeform: Shape 808">
                <a:extLst>
                  <a:ext uri="{FF2B5EF4-FFF2-40B4-BE49-F238E27FC236}">
                    <a16:creationId xmlns:a16="http://schemas.microsoft.com/office/drawing/2014/main" id="{CEFC59B0-55FC-4B8B-932A-C88249E17F3B}"/>
                  </a:ext>
                </a:extLst>
              </p:cNvPr>
              <p:cNvSpPr/>
              <p:nvPr/>
            </p:nvSpPr>
            <p:spPr>
              <a:xfrm>
                <a:off x="6282655" y="10457306"/>
                <a:ext cx="564981" cy="7865"/>
              </a:xfrm>
              <a:custGeom>
                <a:avLst/>
                <a:gdLst>
                  <a:gd name="connsiteX0" fmla="*/ 0 w 564981"/>
                  <a:gd name="connsiteY0" fmla="*/ 0 h 7865"/>
                  <a:gd name="connsiteX1" fmla="*/ 564981 w 564981"/>
                  <a:gd name="connsiteY1" fmla="*/ 0 h 7865"/>
                  <a:gd name="connsiteX2" fmla="*/ 564981 w 564981"/>
                  <a:gd name="connsiteY2" fmla="*/ 7866 h 7865"/>
                  <a:gd name="connsiteX3" fmla="*/ 0 w 564981"/>
                  <a:gd name="connsiteY3" fmla="*/ 7866 h 7865"/>
                </a:gdLst>
                <a:ahLst/>
                <a:cxnLst>
                  <a:cxn ang="0">
                    <a:pos x="connsiteX0" y="connsiteY0"/>
                  </a:cxn>
                  <a:cxn ang="0">
                    <a:pos x="connsiteX1" y="connsiteY1"/>
                  </a:cxn>
                  <a:cxn ang="0">
                    <a:pos x="connsiteX2" y="connsiteY2"/>
                  </a:cxn>
                  <a:cxn ang="0">
                    <a:pos x="connsiteX3" y="connsiteY3"/>
                  </a:cxn>
                </a:cxnLst>
                <a:rect l="l" t="t" r="r" b="b"/>
                <a:pathLst>
                  <a:path w="564981" h="7865">
                    <a:moveTo>
                      <a:pt x="0" y="0"/>
                    </a:moveTo>
                    <a:lnTo>
                      <a:pt x="564981" y="0"/>
                    </a:lnTo>
                    <a:lnTo>
                      <a:pt x="564981" y="7866"/>
                    </a:lnTo>
                    <a:lnTo>
                      <a:pt x="0" y="7866"/>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10" name="Freeform: Shape 809">
                <a:extLst>
                  <a:ext uri="{FF2B5EF4-FFF2-40B4-BE49-F238E27FC236}">
                    <a16:creationId xmlns:a16="http://schemas.microsoft.com/office/drawing/2014/main" id="{1F9F42EF-0A81-490D-A293-1A488340EC40}"/>
                  </a:ext>
                </a:extLst>
              </p:cNvPr>
              <p:cNvSpPr/>
              <p:nvPr/>
            </p:nvSpPr>
            <p:spPr>
              <a:xfrm>
                <a:off x="6847636" y="10457306"/>
                <a:ext cx="564981" cy="7865"/>
              </a:xfrm>
              <a:custGeom>
                <a:avLst/>
                <a:gdLst>
                  <a:gd name="connsiteX0" fmla="*/ 0 w 564981"/>
                  <a:gd name="connsiteY0" fmla="*/ 0 h 7865"/>
                  <a:gd name="connsiteX1" fmla="*/ 564981 w 564981"/>
                  <a:gd name="connsiteY1" fmla="*/ 0 h 7865"/>
                  <a:gd name="connsiteX2" fmla="*/ 564981 w 564981"/>
                  <a:gd name="connsiteY2" fmla="*/ 7866 h 7865"/>
                  <a:gd name="connsiteX3" fmla="*/ 0 w 564981"/>
                  <a:gd name="connsiteY3" fmla="*/ 7866 h 7865"/>
                </a:gdLst>
                <a:ahLst/>
                <a:cxnLst>
                  <a:cxn ang="0">
                    <a:pos x="connsiteX0" y="connsiteY0"/>
                  </a:cxn>
                  <a:cxn ang="0">
                    <a:pos x="connsiteX1" y="connsiteY1"/>
                  </a:cxn>
                  <a:cxn ang="0">
                    <a:pos x="connsiteX2" y="connsiteY2"/>
                  </a:cxn>
                  <a:cxn ang="0">
                    <a:pos x="connsiteX3" y="connsiteY3"/>
                  </a:cxn>
                </a:cxnLst>
                <a:rect l="l" t="t" r="r" b="b"/>
                <a:pathLst>
                  <a:path w="564981" h="7865">
                    <a:moveTo>
                      <a:pt x="0" y="0"/>
                    </a:moveTo>
                    <a:lnTo>
                      <a:pt x="564981" y="0"/>
                    </a:lnTo>
                    <a:lnTo>
                      <a:pt x="564981" y="7866"/>
                    </a:lnTo>
                    <a:lnTo>
                      <a:pt x="0" y="7866"/>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11" name="Freeform: Shape 810">
                <a:extLst>
                  <a:ext uri="{FF2B5EF4-FFF2-40B4-BE49-F238E27FC236}">
                    <a16:creationId xmlns:a16="http://schemas.microsoft.com/office/drawing/2014/main" id="{C6A055BF-6145-4D7F-A800-62833FE8426E}"/>
                  </a:ext>
                </a:extLst>
              </p:cNvPr>
              <p:cNvSpPr/>
              <p:nvPr/>
            </p:nvSpPr>
            <p:spPr>
              <a:xfrm>
                <a:off x="7412637" y="10457306"/>
                <a:ext cx="564981" cy="7865"/>
              </a:xfrm>
              <a:custGeom>
                <a:avLst/>
                <a:gdLst>
                  <a:gd name="connsiteX0" fmla="*/ 0 w 564981"/>
                  <a:gd name="connsiteY0" fmla="*/ 0 h 7865"/>
                  <a:gd name="connsiteX1" fmla="*/ 564981 w 564981"/>
                  <a:gd name="connsiteY1" fmla="*/ 0 h 7865"/>
                  <a:gd name="connsiteX2" fmla="*/ 564981 w 564981"/>
                  <a:gd name="connsiteY2" fmla="*/ 7866 h 7865"/>
                  <a:gd name="connsiteX3" fmla="*/ 0 w 564981"/>
                  <a:gd name="connsiteY3" fmla="*/ 7866 h 7865"/>
                </a:gdLst>
                <a:ahLst/>
                <a:cxnLst>
                  <a:cxn ang="0">
                    <a:pos x="connsiteX0" y="connsiteY0"/>
                  </a:cxn>
                  <a:cxn ang="0">
                    <a:pos x="connsiteX1" y="connsiteY1"/>
                  </a:cxn>
                  <a:cxn ang="0">
                    <a:pos x="connsiteX2" y="connsiteY2"/>
                  </a:cxn>
                  <a:cxn ang="0">
                    <a:pos x="connsiteX3" y="connsiteY3"/>
                  </a:cxn>
                </a:cxnLst>
                <a:rect l="l" t="t" r="r" b="b"/>
                <a:pathLst>
                  <a:path w="564981" h="7865">
                    <a:moveTo>
                      <a:pt x="0" y="0"/>
                    </a:moveTo>
                    <a:lnTo>
                      <a:pt x="564981" y="0"/>
                    </a:lnTo>
                    <a:lnTo>
                      <a:pt x="564981" y="7866"/>
                    </a:lnTo>
                    <a:lnTo>
                      <a:pt x="0" y="7866"/>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812" name="Graphic 10">
                <a:extLst>
                  <a:ext uri="{FF2B5EF4-FFF2-40B4-BE49-F238E27FC236}">
                    <a16:creationId xmlns:a16="http://schemas.microsoft.com/office/drawing/2014/main" id="{B86366C6-CAF4-4021-A00D-5EFD99EC24C7}"/>
                  </a:ext>
                </a:extLst>
              </p:cNvPr>
              <p:cNvGrpSpPr/>
              <p:nvPr/>
            </p:nvGrpSpPr>
            <p:grpSpPr>
              <a:xfrm>
                <a:off x="6648946" y="10512642"/>
                <a:ext cx="116885" cy="401392"/>
                <a:chOff x="6648946" y="10512642"/>
                <a:chExt cx="116885" cy="401392"/>
              </a:xfrm>
            </p:grpSpPr>
            <p:sp>
              <p:nvSpPr>
                <p:cNvPr id="1217" name="Freeform: Shape 1216">
                  <a:extLst>
                    <a:ext uri="{FF2B5EF4-FFF2-40B4-BE49-F238E27FC236}">
                      <a16:creationId xmlns:a16="http://schemas.microsoft.com/office/drawing/2014/main" id="{0742E239-8627-440E-9DBD-DDA7329EB400}"/>
                    </a:ext>
                  </a:extLst>
                </p:cNvPr>
                <p:cNvSpPr/>
                <p:nvPr/>
              </p:nvSpPr>
              <p:spPr>
                <a:xfrm rot="-5400000">
                  <a:off x="6506693" y="10654895"/>
                  <a:ext cx="401392" cy="116885"/>
                </a:xfrm>
                <a:custGeom>
                  <a:avLst/>
                  <a:gdLst>
                    <a:gd name="connsiteX0" fmla="*/ 0 w 401392"/>
                    <a:gd name="connsiteY0" fmla="*/ 0 h 116885"/>
                    <a:gd name="connsiteX1" fmla="*/ 401393 w 401392"/>
                    <a:gd name="connsiteY1" fmla="*/ 0 h 116885"/>
                    <a:gd name="connsiteX2" fmla="*/ 401393 w 401392"/>
                    <a:gd name="connsiteY2" fmla="*/ 116886 h 116885"/>
                    <a:gd name="connsiteX3" fmla="*/ 0 w 401392"/>
                    <a:gd name="connsiteY3" fmla="*/ 116886 h 116885"/>
                  </a:gdLst>
                  <a:ahLst/>
                  <a:cxnLst>
                    <a:cxn ang="0">
                      <a:pos x="connsiteX0" y="connsiteY0"/>
                    </a:cxn>
                    <a:cxn ang="0">
                      <a:pos x="connsiteX1" y="connsiteY1"/>
                    </a:cxn>
                    <a:cxn ang="0">
                      <a:pos x="connsiteX2" y="connsiteY2"/>
                    </a:cxn>
                    <a:cxn ang="0">
                      <a:pos x="connsiteX3" y="connsiteY3"/>
                    </a:cxn>
                  </a:cxnLst>
                  <a:rect l="l" t="t" r="r" b="b"/>
                  <a:pathLst>
                    <a:path w="401392" h="116885">
                      <a:moveTo>
                        <a:pt x="0" y="0"/>
                      </a:moveTo>
                      <a:lnTo>
                        <a:pt x="401393" y="0"/>
                      </a:lnTo>
                      <a:lnTo>
                        <a:pt x="401393" y="116886"/>
                      </a:lnTo>
                      <a:lnTo>
                        <a:pt x="0" y="116886"/>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218" name="Graphic 10">
                  <a:extLst>
                    <a:ext uri="{FF2B5EF4-FFF2-40B4-BE49-F238E27FC236}">
                      <a16:creationId xmlns:a16="http://schemas.microsoft.com/office/drawing/2014/main" id="{9B5AB5E8-00B1-4A85-A941-F2347BB90879}"/>
                    </a:ext>
                  </a:extLst>
                </p:cNvPr>
                <p:cNvGrpSpPr/>
                <p:nvPr/>
              </p:nvGrpSpPr>
              <p:grpSpPr>
                <a:xfrm>
                  <a:off x="6671954" y="10813844"/>
                  <a:ext cx="70890" cy="67822"/>
                  <a:chOff x="6671954" y="10813844"/>
                  <a:chExt cx="70890" cy="67822"/>
                </a:xfrm>
              </p:grpSpPr>
              <p:sp>
                <p:nvSpPr>
                  <p:cNvPr id="1219" name="Freeform: Shape 1218">
                    <a:extLst>
                      <a:ext uri="{FF2B5EF4-FFF2-40B4-BE49-F238E27FC236}">
                        <a16:creationId xmlns:a16="http://schemas.microsoft.com/office/drawing/2014/main" id="{581F0BB2-9C9E-424E-89BA-AB160B2EDB13}"/>
                      </a:ext>
                    </a:extLst>
                  </p:cNvPr>
                  <p:cNvSpPr/>
                  <p:nvPr/>
                </p:nvSpPr>
                <p:spPr>
                  <a:xfrm>
                    <a:off x="6671954" y="10813844"/>
                    <a:ext cx="25976" cy="67822"/>
                  </a:xfrm>
                  <a:custGeom>
                    <a:avLst/>
                    <a:gdLst>
                      <a:gd name="connsiteX0" fmla="*/ 0 w 25976"/>
                      <a:gd name="connsiteY0" fmla="*/ 0 h 67822"/>
                      <a:gd name="connsiteX1" fmla="*/ 25977 w 25976"/>
                      <a:gd name="connsiteY1" fmla="*/ 0 h 67822"/>
                      <a:gd name="connsiteX2" fmla="*/ 25977 w 25976"/>
                      <a:gd name="connsiteY2" fmla="*/ 67823 h 67822"/>
                      <a:gd name="connsiteX3" fmla="*/ 0 w 25976"/>
                      <a:gd name="connsiteY3" fmla="*/ 67823 h 67822"/>
                    </a:gdLst>
                    <a:ahLst/>
                    <a:cxnLst>
                      <a:cxn ang="0">
                        <a:pos x="connsiteX0" y="connsiteY0"/>
                      </a:cxn>
                      <a:cxn ang="0">
                        <a:pos x="connsiteX1" y="connsiteY1"/>
                      </a:cxn>
                      <a:cxn ang="0">
                        <a:pos x="connsiteX2" y="connsiteY2"/>
                      </a:cxn>
                      <a:cxn ang="0">
                        <a:pos x="connsiteX3" y="connsiteY3"/>
                      </a:cxn>
                    </a:cxnLst>
                    <a:rect l="l" t="t" r="r" b="b"/>
                    <a:pathLst>
                      <a:path w="25976" h="67822">
                        <a:moveTo>
                          <a:pt x="0" y="0"/>
                        </a:moveTo>
                        <a:lnTo>
                          <a:pt x="25977" y="0"/>
                        </a:lnTo>
                        <a:lnTo>
                          <a:pt x="25977" y="67823"/>
                        </a:lnTo>
                        <a:lnTo>
                          <a:pt x="0" y="67823"/>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20" name="Freeform: Shape 1219">
                    <a:extLst>
                      <a:ext uri="{FF2B5EF4-FFF2-40B4-BE49-F238E27FC236}">
                        <a16:creationId xmlns:a16="http://schemas.microsoft.com/office/drawing/2014/main" id="{99043E9B-A1F9-4DD1-821F-C85294DC2FE0}"/>
                      </a:ext>
                    </a:extLst>
                  </p:cNvPr>
                  <p:cNvSpPr/>
                  <p:nvPr/>
                </p:nvSpPr>
                <p:spPr>
                  <a:xfrm>
                    <a:off x="6716867" y="10813844"/>
                    <a:ext cx="25976" cy="67822"/>
                  </a:xfrm>
                  <a:custGeom>
                    <a:avLst/>
                    <a:gdLst>
                      <a:gd name="connsiteX0" fmla="*/ 0 w 25976"/>
                      <a:gd name="connsiteY0" fmla="*/ 0 h 67822"/>
                      <a:gd name="connsiteX1" fmla="*/ 25977 w 25976"/>
                      <a:gd name="connsiteY1" fmla="*/ 0 h 67822"/>
                      <a:gd name="connsiteX2" fmla="*/ 25977 w 25976"/>
                      <a:gd name="connsiteY2" fmla="*/ 67823 h 67822"/>
                      <a:gd name="connsiteX3" fmla="*/ 0 w 25976"/>
                      <a:gd name="connsiteY3" fmla="*/ 67823 h 67822"/>
                    </a:gdLst>
                    <a:ahLst/>
                    <a:cxnLst>
                      <a:cxn ang="0">
                        <a:pos x="connsiteX0" y="connsiteY0"/>
                      </a:cxn>
                      <a:cxn ang="0">
                        <a:pos x="connsiteX1" y="connsiteY1"/>
                      </a:cxn>
                      <a:cxn ang="0">
                        <a:pos x="connsiteX2" y="connsiteY2"/>
                      </a:cxn>
                      <a:cxn ang="0">
                        <a:pos x="connsiteX3" y="connsiteY3"/>
                      </a:cxn>
                    </a:cxnLst>
                    <a:rect l="l" t="t" r="r" b="b"/>
                    <a:pathLst>
                      <a:path w="25976" h="67822">
                        <a:moveTo>
                          <a:pt x="0" y="0"/>
                        </a:moveTo>
                        <a:lnTo>
                          <a:pt x="25977" y="0"/>
                        </a:lnTo>
                        <a:lnTo>
                          <a:pt x="25977" y="67823"/>
                        </a:lnTo>
                        <a:lnTo>
                          <a:pt x="0" y="67823"/>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sp>
            <p:nvSpPr>
              <p:cNvPr id="813" name="Freeform: Shape 812">
                <a:extLst>
                  <a:ext uri="{FF2B5EF4-FFF2-40B4-BE49-F238E27FC236}">
                    <a16:creationId xmlns:a16="http://schemas.microsoft.com/office/drawing/2014/main" id="{7A308147-5484-4D77-B606-FAED399B47CF}"/>
                  </a:ext>
                </a:extLst>
              </p:cNvPr>
              <p:cNvSpPr/>
              <p:nvPr/>
            </p:nvSpPr>
            <p:spPr>
              <a:xfrm rot="16200000">
                <a:off x="6222206" y="10654876"/>
                <a:ext cx="401392" cy="116885"/>
              </a:xfrm>
              <a:custGeom>
                <a:avLst/>
                <a:gdLst>
                  <a:gd name="connsiteX0" fmla="*/ 0 w 401392"/>
                  <a:gd name="connsiteY0" fmla="*/ 0 h 116885"/>
                  <a:gd name="connsiteX1" fmla="*/ 401392 w 401392"/>
                  <a:gd name="connsiteY1" fmla="*/ 0 h 116885"/>
                  <a:gd name="connsiteX2" fmla="*/ 401392 w 401392"/>
                  <a:gd name="connsiteY2" fmla="*/ 116886 h 116885"/>
                  <a:gd name="connsiteX3" fmla="*/ 0 w 401392"/>
                  <a:gd name="connsiteY3" fmla="*/ 116886 h 116885"/>
                </a:gdLst>
                <a:ahLst/>
                <a:cxnLst>
                  <a:cxn ang="0">
                    <a:pos x="connsiteX0" y="connsiteY0"/>
                  </a:cxn>
                  <a:cxn ang="0">
                    <a:pos x="connsiteX1" y="connsiteY1"/>
                  </a:cxn>
                  <a:cxn ang="0">
                    <a:pos x="connsiteX2" y="connsiteY2"/>
                  </a:cxn>
                  <a:cxn ang="0">
                    <a:pos x="connsiteX3" y="connsiteY3"/>
                  </a:cxn>
                </a:cxnLst>
                <a:rect l="l" t="t" r="r" b="b"/>
                <a:pathLst>
                  <a:path w="401392" h="116885">
                    <a:moveTo>
                      <a:pt x="0" y="0"/>
                    </a:moveTo>
                    <a:lnTo>
                      <a:pt x="401392" y="0"/>
                    </a:lnTo>
                    <a:lnTo>
                      <a:pt x="401392" y="116886"/>
                    </a:lnTo>
                    <a:lnTo>
                      <a:pt x="0" y="116886"/>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814" name="Graphic 10">
                <a:extLst>
                  <a:ext uri="{FF2B5EF4-FFF2-40B4-BE49-F238E27FC236}">
                    <a16:creationId xmlns:a16="http://schemas.microsoft.com/office/drawing/2014/main" id="{14EE0EEE-ABBF-4CB9-949D-B6FC71544598}"/>
                  </a:ext>
                </a:extLst>
              </p:cNvPr>
              <p:cNvGrpSpPr/>
              <p:nvPr/>
            </p:nvGrpSpPr>
            <p:grpSpPr>
              <a:xfrm>
                <a:off x="6402609" y="10581311"/>
                <a:ext cx="40587" cy="264035"/>
                <a:chOff x="6402609" y="10581311"/>
                <a:chExt cx="40587" cy="264035"/>
              </a:xfrm>
            </p:grpSpPr>
            <p:sp>
              <p:nvSpPr>
                <p:cNvPr id="1193" name="Freeform: Shape 1192">
                  <a:extLst>
                    <a:ext uri="{FF2B5EF4-FFF2-40B4-BE49-F238E27FC236}">
                      <a16:creationId xmlns:a16="http://schemas.microsoft.com/office/drawing/2014/main" id="{DABA0D8F-AEC2-40E9-86F8-134C89F6AEBB}"/>
                    </a:ext>
                  </a:extLst>
                </p:cNvPr>
                <p:cNvSpPr/>
                <p:nvPr/>
              </p:nvSpPr>
              <p:spPr>
                <a:xfrm rot="5400000">
                  <a:off x="6427897" y="1073961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94" name="Freeform: Shape 1193">
                  <a:extLst>
                    <a:ext uri="{FF2B5EF4-FFF2-40B4-BE49-F238E27FC236}">
                      <a16:creationId xmlns:a16="http://schemas.microsoft.com/office/drawing/2014/main" id="{EF7CC1B9-D5D8-4E0D-8B6F-1DEF0227A4F8}"/>
                    </a:ext>
                  </a:extLst>
                </p:cNvPr>
                <p:cNvSpPr/>
                <p:nvPr/>
              </p:nvSpPr>
              <p:spPr>
                <a:xfrm rot="5400000">
                  <a:off x="6427897" y="10716996"/>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95" name="Freeform: Shape 1194">
                  <a:extLst>
                    <a:ext uri="{FF2B5EF4-FFF2-40B4-BE49-F238E27FC236}">
                      <a16:creationId xmlns:a16="http://schemas.microsoft.com/office/drawing/2014/main" id="{FF91488F-D838-4087-9D5F-74D15E3B8F43}"/>
                    </a:ext>
                  </a:extLst>
                </p:cNvPr>
                <p:cNvSpPr/>
                <p:nvPr/>
              </p:nvSpPr>
              <p:spPr>
                <a:xfrm rot="5400000">
                  <a:off x="6427878" y="10694382"/>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96" name="Freeform: Shape 1195">
                  <a:extLst>
                    <a:ext uri="{FF2B5EF4-FFF2-40B4-BE49-F238E27FC236}">
                      <a16:creationId xmlns:a16="http://schemas.microsoft.com/office/drawing/2014/main" id="{0A0AC1F7-92BC-4F28-B3F6-F802F5442714}"/>
                    </a:ext>
                  </a:extLst>
                </p:cNvPr>
                <p:cNvSpPr/>
                <p:nvPr/>
              </p:nvSpPr>
              <p:spPr>
                <a:xfrm rot="5400000">
                  <a:off x="6427878" y="10671768"/>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97" name="Freeform: Shape 1196">
                  <a:extLst>
                    <a:ext uri="{FF2B5EF4-FFF2-40B4-BE49-F238E27FC236}">
                      <a16:creationId xmlns:a16="http://schemas.microsoft.com/office/drawing/2014/main" id="{33755F3D-D052-44DB-9E53-E3BE4B998679}"/>
                    </a:ext>
                  </a:extLst>
                </p:cNvPr>
                <p:cNvSpPr/>
                <p:nvPr/>
              </p:nvSpPr>
              <p:spPr>
                <a:xfrm rot="5400000">
                  <a:off x="6427878" y="10649153"/>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98" name="Freeform: Shape 1197">
                  <a:extLst>
                    <a:ext uri="{FF2B5EF4-FFF2-40B4-BE49-F238E27FC236}">
                      <a16:creationId xmlns:a16="http://schemas.microsoft.com/office/drawing/2014/main" id="{284935BC-9156-4282-9C80-1B3467722D21}"/>
                    </a:ext>
                  </a:extLst>
                </p:cNvPr>
                <p:cNvSpPr/>
                <p:nvPr/>
              </p:nvSpPr>
              <p:spPr>
                <a:xfrm rot="5400000">
                  <a:off x="6427878" y="10626539"/>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99" name="Freeform: Shape 1198">
                  <a:extLst>
                    <a:ext uri="{FF2B5EF4-FFF2-40B4-BE49-F238E27FC236}">
                      <a16:creationId xmlns:a16="http://schemas.microsoft.com/office/drawing/2014/main" id="{72E5851D-8C84-45A2-8EC0-BB1A0A7421F2}"/>
                    </a:ext>
                  </a:extLst>
                </p:cNvPr>
                <p:cNvSpPr/>
                <p:nvPr/>
              </p:nvSpPr>
              <p:spPr>
                <a:xfrm rot="5400000">
                  <a:off x="6427897" y="10603945"/>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00" name="Freeform: Shape 1199">
                  <a:extLst>
                    <a:ext uri="{FF2B5EF4-FFF2-40B4-BE49-F238E27FC236}">
                      <a16:creationId xmlns:a16="http://schemas.microsoft.com/office/drawing/2014/main" id="{9B6310C0-4BD1-4E00-95FB-1075B14E68F0}"/>
                    </a:ext>
                  </a:extLst>
                </p:cNvPr>
                <p:cNvSpPr/>
                <p:nvPr/>
              </p:nvSpPr>
              <p:spPr>
                <a:xfrm rot="5400000">
                  <a:off x="6427897" y="1058133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01" name="Freeform: Shape 1200">
                  <a:extLst>
                    <a:ext uri="{FF2B5EF4-FFF2-40B4-BE49-F238E27FC236}">
                      <a16:creationId xmlns:a16="http://schemas.microsoft.com/office/drawing/2014/main" id="{81A49D68-B72D-4D23-97CA-D9CBF5013622}"/>
                    </a:ext>
                  </a:extLst>
                </p:cNvPr>
                <p:cNvSpPr/>
                <p:nvPr/>
              </p:nvSpPr>
              <p:spPr>
                <a:xfrm rot="5400000">
                  <a:off x="6402609" y="1073959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02" name="Freeform: Shape 1201">
                  <a:extLst>
                    <a:ext uri="{FF2B5EF4-FFF2-40B4-BE49-F238E27FC236}">
                      <a16:creationId xmlns:a16="http://schemas.microsoft.com/office/drawing/2014/main" id="{E36359CF-C636-4A11-B7A8-87ECEE6B74CA}"/>
                    </a:ext>
                  </a:extLst>
                </p:cNvPr>
                <p:cNvSpPr/>
                <p:nvPr/>
              </p:nvSpPr>
              <p:spPr>
                <a:xfrm rot="5400000">
                  <a:off x="6402628" y="10716976"/>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03" name="Freeform: Shape 1202">
                  <a:extLst>
                    <a:ext uri="{FF2B5EF4-FFF2-40B4-BE49-F238E27FC236}">
                      <a16:creationId xmlns:a16="http://schemas.microsoft.com/office/drawing/2014/main" id="{DE8433D5-979A-498F-85F5-4CB808BA459F}"/>
                    </a:ext>
                  </a:extLst>
                </p:cNvPr>
                <p:cNvSpPr/>
                <p:nvPr/>
              </p:nvSpPr>
              <p:spPr>
                <a:xfrm rot="5400000">
                  <a:off x="6402609" y="10694362"/>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04" name="Freeform: Shape 1203">
                  <a:extLst>
                    <a:ext uri="{FF2B5EF4-FFF2-40B4-BE49-F238E27FC236}">
                      <a16:creationId xmlns:a16="http://schemas.microsoft.com/office/drawing/2014/main" id="{75012BB3-F87C-45A4-8372-D3E6DBE795E2}"/>
                    </a:ext>
                  </a:extLst>
                </p:cNvPr>
                <p:cNvSpPr/>
                <p:nvPr/>
              </p:nvSpPr>
              <p:spPr>
                <a:xfrm rot="5400000">
                  <a:off x="6402609" y="10671748"/>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05" name="Freeform: Shape 1204">
                  <a:extLst>
                    <a:ext uri="{FF2B5EF4-FFF2-40B4-BE49-F238E27FC236}">
                      <a16:creationId xmlns:a16="http://schemas.microsoft.com/office/drawing/2014/main" id="{41B1D1E0-9685-4A9B-A1F0-D69C59724D1E}"/>
                    </a:ext>
                  </a:extLst>
                </p:cNvPr>
                <p:cNvSpPr/>
                <p:nvPr/>
              </p:nvSpPr>
              <p:spPr>
                <a:xfrm rot="5400000">
                  <a:off x="6402609" y="10649134"/>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06" name="Freeform: Shape 1205">
                  <a:extLst>
                    <a:ext uri="{FF2B5EF4-FFF2-40B4-BE49-F238E27FC236}">
                      <a16:creationId xmlns:a16="http://schemas.microsoft.com/office/drawing/2014/main" id="{7329BA35-4A92-49D1-8461-77847A9B5A23}"/>
                    </a:ext>
                  </a:extLst>
                </p:cNvPr>
                <p:cNvSpPr/>
                <p:nvPr/>
              </p:nvSpPr>
              <p:spPr>
                <a:xfrm rot="5400000">
                  <a:off x="6427878" y="10830047"/>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07" name="Freeform: Shape 1206">
                  <a:extLst>
                    <a:ext uri="{FF2B5EF4-FFF2-40B4-BE49-F238E27FC236}">
                      <a16:creationId xmlns:a16="http://schemas.microsoft.com/office/drawing/2014/main" id="{91473639-4B27-41C4-B031-9C92B56E26E5}"/>
                    </a:ext>
                  </a:extLst>
                </p:cNvPr>
                <p:cNvSpPr/>
                <p:nvPr/>
              </p:nvSpPr>
              <p:spPr>
                <a:xfrm rot="5400000">
                  <a:off x="6427878" y="10807433"/>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08" name="Freeform: Shape 1207">
                  <a:extLst>
                    <a:ext uri="{FF2B5EF4-FFF2-40B4-BE49-F238E27FC236}">
                      <a16:creationId xmlns:a16="http://schemas.microsoft.com/office/drawing/2014/main" id="{D5E9F50A-F7F6-48F3-BFA7-F7665D6E9B59}"/>
                    </a:ext>
                  </a:extLst>
                </p:cNvPr>
                <p:cNvSpPr/>
                <p:nvPr/>
              </p:nvSpPr>
              <p:spPr>
                <a:xfrm rot="5400000">
                  <a:off x="6427878" y="10784819"/>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09" name="Freeform: Shape 1208">
                  <a:extLst>
                    <a:ext uri="{FF2B5EF4-FFF2-40B4-BE49-F238E27FC236}">
                      <a16:creationId xmlns:a16="http://schemas.microsoft.com/office/drawing/2014/main" id="{791A1334-848B-4F04-ADC9-4071954D1408}"/>
                    </a:ext>
                  </a:extLst>
                </p:cNvPr>
                <p:cNvSpPr/>
                <p:nvPr/>
              </p:nvSpPr>
              <p:spPr>
                <a:xfrm rot="5400000">
                  <a:off x="6427878" y="10762205"/>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10" name="Freeform: Shape 1209">
                  <a:extLst>
                    <a:ext uri="{FF2B5EF4-FFF2-40B4-BE49-F238E27FC236}">
                      <a16:creationId xmlns:a16="http://schemas.microsoft.com/office/drawing/2014/main" id="{485EA045-48D8-4524-A913-01F0C0610F97}"/>
                    </a:ext>
                  </a:extLst>
                </p:cNvPr>
                <p:cNvSpPr/>
                <p:nvPr/>
              </p:nvSpPr>
              <p:spPr>
                <a:xfrm rot="5400000">
                  <a:off x="6402609" y="10830028"/>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11" name="Freeform: Shape 1210">
                  <a:extLst>
                    <a:ext uri="{FF2B5EF4-FFF2-40B4-BE49-F238E27FC236}">
                      <a16:creationId xmlns:a16="http://schemas.microsoft.com/office/drawing/2014/main" id="{533E5684-5C5E-4AA0-BD64-1B89C51F5D2D}"/>
                    </a:ext>
                  </a:extLst>
                </p:cNvPr>
                <p:cNvSpPr/>
                <p:nvPr/>
              </p:nvSpPr>
              <p:spPr>
                <a:xfrm rot="5400000">
                  <a:off x="6402609" y="10807413"/>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12" name="Freeform: Shape 1211">
                  <a:extLst>
                    <a:ext uri="{FF2B5EF4-FFF2-40B4-BE49-F238E27FC236}">
                      <a16:creationId xmlns:a16="http://schemas.microsoft.com/office/drawing/2014/main" id="{56F8822F-6515-4524-9089-216AB268CEA2}"/>
                    </a:ext>
                  </a:extLst>
                </p:cNvPr>
                <p:cNvSpPr/>
                <p:nvPr/>
              </p:nvSpPr>
              <p:spPr>
                <a:xfrm rot="5400000">
                  <a:off x="6402609" y="10784799"/>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13" name="Freeform: Shape 1212">
                  <a:extLst>
                    <a:ext uri="{FF2B5EF4-FFF2-40B4-BE49-F238E27FC236}">
                      <a16:creationId xmlns:a16="http://schemas.microsoft.com/office/drawing/2014/main" id="{D8D9C442-183B-48B9-8FCF-D7F5ADF34F90}"/>
                    </a:ext>
                  </a:extLst>
                </p:cNvPr>
                <p:cNvSpPr/>
                <p:nvPr/>
              </p:nvSpPr>
              <p:spPr>
                <a:xfrm rot="5400000">
                  <a:off x="6402609" y="10762205"/>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14" name="Freeform: Shape 1213">
                  <a:extLst>
                    <a:ext uri="{FF2B5EF4-FFF2-40B4-BE49-F238E27FC236}">
                      <a16:creationId xmlns:a16="http://schemas.microsoft.com/office/drawing/2014/main" id="{A0851D29-37EA-4B21-8100-1B6FDD2016A4}"/>
                    </a:ext>
                  </a:extLst>
                </p:cNvPr>
                <p:cNvSpPr/>
                <p:nvPr/>
              </p:nvSpPr>
              <p:spPr>
                <a:xfrm rot="5400000">
                  <a:off x="6402609" y="10626539"/>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15" name="Freeform: Shape 1214">
                  <a:extLst>
                    <a:ext uri="{FF2B5EF4-FFF2-40B4-BE49-F238E27FC236}">
                      <a16:creationId xmlns:a16="http://schemas.microsoft.com/office/drawing/2014/main" id="{EBD3C0E4-DB54-44BE-A28B-1522B9B3FDC1}"/>
                    </a:ext>
                  </a:extLst>
                </p:cNvPr>
                <p:cNvSpPr/>
                <p:nvPr/>
              </p:nvSpPr>
              <p:spPr>
                <a:xfrm rot="5400000">
                  <a:off x="6402609" y="10603925"/>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216" name="Freeform: Shape 1215">
                  <a:extLst>
                    <a:ext uri="{FF2B5EF4-FFF2-40B4-BE49-F238E27FC236}">
                      <a16:creationId xmlns:a16="http://schemas.microsoft.com/office/drawing/2014/main" id="{D87CE501-542D-4DD0-8580-5198D58EFE3B}"/>
                    </a:ext>
                  </a:extLst>
                </p:cNvPr>
                <p:cNvSpPr/>
                <p:nvPr/>
              </p:nvSpPr>
              <p:spPr>
                <a:xfrm rot="5400000">
                  <a:off x="6402628" y="1058131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815" name="Graphic 10">
                <a:extLst>
                  <a:ext uri="{FF2B5EF4-FFF2-40B4-BE49-F238E27FC236}">
                    <a16:creationId xmlns:a16="http://schemas.microsoft.com/office/drawing/2014/main" id="{F52D49CC-38A0-4D85-BF72-C5DED990CF3F}"/>
                  </a:ext>
                </a:extLst>
              </p:cNvPr>
              <p:cNvGrpSpPr/>
              <p:nvPr/>
            </p:nvGrpSpPr>
            <p:grpSpPr>
              <a:xfrm>
                <a:off x="6506693" y="10512623"/>
                <a:ext cx="116885" cy="401392"/>
                <a:chOff x="6506693" y="10512623"/>
                <a:chExt cx="116885" cy="401392"/>
              </a:xfrm>
            </p:grpSpPr>
            <p:sp>
              <p:nvSpPr>
                <p:cNvPr id="1189" name="Freeform: Shape 1188">
                  <a:extLst>
                    <a:ext uri="{FF2B5EF4-FFF2-40B4-BE49-F238E27FC236}">
                      <a16:creationId xmlns:a16="http://schemas.microsoft.com/office/drawing/2014/main" id="{70327AB8-7B5C-4EEB-BF0C-66B16D22EB0E}"/>
                    </a:ext>
                  </a:extLst>
                </p:cNvPr>
                <p:cNvSpPr/>
                <p:nvPr/>
              </p:nvSpPr>
              <p:spPr>
                <a:xfrm rot="-5400000">
                  <a:off x="6364440" y="10654876"/>
                  <a:ext cx="401392" cy="116885"/>
                </a:xfrm>
                <a:custGeom>
                  <a:avLst/>
                  <a:gdLst>
                    <a:gd name="connsiteX0" fmla="*/ 0 w 401392"/>
                    <a:gd name="connsiteY0" fmla="*/ 0 h 116885"/>
                    <a:gd name="connsiteX1" fmla="*/ 401392 w 401392"/>
                    <a:gd name="connsiteY1" fmla="*/ 0 h 116885"/>
                    <a:gd name="connsiteX2" fmla="*/ 401392 w 401392"/>
                    <a:gd name="connsiteY2" fmla="*/ 116886 h 116885"/>
                    <a:gd name="connsiteX3" fmla="*/ 0 w 401392"/>
                    <a:gd name="connsiteY3" fmla="*/ 116886 h 116885"/>
                  </a:gdLst>
                  <a:ahLst/>
                  <a:cxnLst>
                    <a:cxn ang="0">
                      <a:pos x="connsiteX0" y="connsiteY0"/>
                    </a:cxn>
                    <a:cxn ang="0">
                      <a:pos x="connsiteX1" y="connsiteY1"/>
                    </a:cxn>
                    <a:cxn ang="0">
                      <a:pos x="connsiteX2" y="connsiteY2"/>
                    </a:cxn>
                    <a:cxn ang="0">
                      <a:pos x="connsiteX3" y="connsiteY3"/>
                    </a:cxn>
                  </a:cxnLst>
                  <a:rect l="l" t="t" r="r" b="b"/>
                  <a:pathLst>
                    <a:path w="401392" h="116885">
                      <a:moveTo>
                        <a:pt x="0" y="0"/>
                      </a:moveTo>
                      <a:lnTo>
                        <a:pt x="401392" y="0"/>
                      </a:lnTo>
                      <a:lnTo>
                        <a:pt x="401392" y="116886"/>
                      </a:lnTo>
                      <a:lnTo>
                        <a:pt x="0" y="116886"/>
                      </a:lnTo>
                      <a:close/>
                    </a:path>
                  </a:pathLst>
                </a:custGeom>
                <a:solidFill>
                  <a:srgbClr val="FFDD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190" name="Graphic 10">
                  <a:extLst>
                    <a:ext uri="{FF2B5EF4-FFF2-40B4-BE49-F238E27FC236}">
                      <a16:creationId xmlns:a16="http://schemas.microsoft.com/office/drawing/2014/main" id="{F45B856D-16AF-4305-8483-C874780A859E}"/>
                    </a:ext>
                  </a:extLst>
                </p:cNvPr>
                <p:cNvGrpSpPr/>
                <p:nvPr/>
              </p:nvGrpSpPr>
              <p:grpSpPr>
                <a:xfrm>
                  <a:off x="6529700" y="10813844"/>
                  <a:ext cx="70890" cy="67822"/>
                  <a:chOff x="6529700" y="10813844"/>
                  <a:chExt cx="70890" cy="67822"/>
                </a:xfrm>
              </p:grpSpPr>
              <p:sp>
                <p:nvSpPr>
                  <p:cNvPr id="1191" name="Freeform: Shape 1190">
                    <a:extLst>
                      <a:ext uri="{FF2B5EF4-FFF2-40B4-BE49-F238E27FC236}">
                        <a16:creationId xmlns:a16="http://schemas.microsoft.com/office/drawing/2014/main" id="{DE8694D3-7C1F-48EF-948E-8BA0E3649D81}"/>
                      </a:ext>
                    </a:extLst>
                  </p:cNvPr>
                  <p:cNvSpPr/>
                  <p:nvPr/>
                </p:nvSpPr>
                <p:spPr>
                  <a:xfrm>
                    <a:off x="6529700" y="10813844"/>
                    <a:ext cx="25976" cy="67822"/>
                  </a:xfrm>
                  <a:custGeom>
                    <a:avLst/>
                    <a:gdLst>
                      <a:gd name="connsiteX0" fmla="*/ 0 w 25976"/>
                      <a:gd name="connsiteY0" fmla="*/ 0 h 67822"/>
                      <a:gd name="connsiteX1" fmla="*/ 25977 w 25976"/>
                      <a:gd name="connsiteY1" fmla="*/ 0 h 67822"/>
                      <a:gd name="connsiteX2" fmla="*/ 25977 w 25976"/>
                      <a:gd name="connsiteY2" fmla="*/ 67823 h 67822"/>
                      <a:gd name="connsiteX3" fmla="*/ 0 w 25976"/>
                      <a:gd name="connsiteY3" fmla="*/ 67823 h 67822"/>
                    </a:gdLst>
                    <a:ahLst/>
                    <a:cxnLst>
                      <a:cxn ang="0">
                        <a:pos x="connsiteX0" y="connsiteY0"/>
                      </a:cxn>
                      <a:cxn ang="0">
                        <a:pos x="connsiteX1" y="connsiteY1"/>
                      </a:cxn>
                      <a:cxn ang="0">
                        <a:pos x="connsiteX2" y="connsiteY2"/>
                      </a:cxn>
                      <a:cxn ang="0">
                        <a:pos x="connsiteX3" y="connsiteY3"/>
                      </a:cxn>
                    </a:cxnLst>
                    <a:rect l="l" t="t" r="r" b="b"/>
                    <a:pathLst>
                      <a:path w="25976" h="67822">
                        <a:moveTo>
                          <a:pt x="0" y="0"/>
                        </a:moveTo>
                        <a:lnTo>
                          <a:pt x="25977" y="0"/>
                        </a:lnTo>
                        <a:lnTo>
                          <a:pt x="25977" y="67823"/>
                        </a:lnTo>
                        <a:lnTo>
                          <a:pt x="0" y="67823"/>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92" name="Freeform: Shape 1191">
                    <a:extLst>
                      <a:ext uri="{FF2B5EF4-FFF2-40B4-BE49-F238E27FC236}">
                        <a16:creationId xmlns:a16="http://schemas.microsoft.com/office/drawing/2014/main" id="{82D3654F-98F0-4ECB-8A4F-5C6174AE3B44}"/>
                      </a:ext>
                    </a:extLst>
                  </p:cNvPr>
                  <p:cNvSpPr/>
                  <p:nvPr/>
                </p:nvSpPr>
                <p:spPr>
                  <a:xfrm>
                    <a:off x="6574614" y="10813844"/>
                    <a:ext cx="25976" cy="67822"/>
                  </a:xfrm>
                  <a:custGeom>
                    <a:avLst/>
                    <a:gdLst>
                      <a:gd name="connsiteX0" fmla="*/ 0 w 25976"/>
                      <a:gd name="connsiteY0" fmla="*/ 0 h 67822"/>
                      <a:gd name="connsiteX1" fmla="*/ 25977 w 25976"/>
                      <a:gd name="connsiteY1" fmla="*/ 0 h 67822"/>
                      <a:gd name="connsiteX2" fmla="*/ 25977 w 25976"/>
                      <a:gd name="connsiteY2" fmla="*/ 67823 h 67822"/>
                      <a:gd name="connsiteX3" fmla="*/ 0 w 25976"/>
                      <a:gd name="connsiteY3" fmla="*/ 67823 h 67822"/>
                    </a:gdLst>
                    <a:ahLst/>
                    <a:cxnLst>
                      <a:cxn ang="0">
                        <a:pos x="connsiteX0" y="connsiteY0"/>
                      </a:cxn>
                      <a:cxn ang="0">
                        <a:pos x="connsiteX1" y="connsiteY1"/>
                      </a:cxn>
                      <a:cxn ang="0">
                        <a:pos x="connsiteX2" y="connsiteY2"/>
                      </a:cxn>
                      <a:cxn ang="0">
                        <a:pos x="connsiteX3" y="connsiteY3"/>
                      </a:cxn>
                    </a:cxnLst>
                    <a:rect l="l" t="t" r="r" b="b"/>
                    <a:pathLst>
                      <a:path w="25976" h="67822">
                        <a:moveTo>
                          <a:pt x="0" y="0"/>
                        </a:moveTo>
                        <a:lnTo>
                          <a:pt x="25977" y="0"/>
                        </a:lnTo>
                        <a:lnTo>
                          <a:pt x="25977" y="67823"/>
                        </a:lnTo>
                        <a:lnTo>
                          <a:pt x="0" y="67823"/>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sp>
            <p:nvSpPr>
              <p:cNvPr id="816" name="Freeform: Shape 815">
                <a:extLst>
                  <a:ext uri="{FF2B5EF4-FFF2-40B4-BE49-F238E27FC236}">
                    <a16:creationId xmlns:a16="http://schemas.microsoft.com/office/drawing/2014/main" id="{F43164A9-9623-4502-9CCD-FB13872EC656}"/>
                  </a:ext>
                </a:extLst>
              </p:cNvPr>
              <p:cNvSpPr/>
              <p:nvPr/>
            </p:nvSpPr>
            <p:spPr>
              <a:xfrm>
                <a:off x="6523762" y="9892935"/>
                <a:ext cx="1259846" cy="309676"/>
              </a:xfrm>
              <a:custGeom>
                <a:avLst/>
                <a:gdLst>
                  <a:gd name="connsiteX0" fmla="*/ 1259846 w 1259846"/>
                  <a:gd name="connsiteY0" fmla="*/ 309677 h 309676"/>
                  <a:gd name="connsiteX1" fmla="*/ 1161524 w 1259846"/>
                  <a:gd name="connsiteY1" fmla="*/ 309677 h 309676"/>
                  <a:gd name="connsiteX2" fmla="*/ 1107761 w 1259846"/>
                  <a:gd name="connsiteY2" fmla="*/ 255914 h 309676"/>
                  <a:gd name="connsiteX3" fmla="*/ 775470 w 1259846"/>
                  <a:gd name="connsiteY3" fmla="*/ 255914 h 309676"/>
                  <a:gd name="connsiteX4" fmla="*/ 647513 w 1259846"/>
                  <a:gd name="connsiteY4" fmla="*/ 127957 h 309676"/>
                  <a:gd name="connsiteX5" fmla="*/ 617879 w 1259846"/>
                  <a:gd name="connsiteY5" fmla="*/ 98323 h 309676"/>
                  <a:gd name="connsiteX6" fmla="*/ 187344 w 1259846"/>
                  <a:gd name="connsiteY6" fmla="*/ 98323 h 309676"/>
                  <a:gd name="connsiteX7" fmla="*/ 98323 w 1259846"/>
                  <a:gd name="connsiteY7" fmla="*/ 187344 h 309676"/>
                  <a:gd name="connsiteX8" fmla="*/ 98323 w 1259846"/>
                  <a:gd name="connsiteY8" fmla="*/ 309677 h 309676"/>
                  <a:gd name="connsiteX9" fmla="*/ 0 w 1259846"/>
                  <a:gd name="connsiteY9" fmla="*/ 309677 h 309676"/>
                  <a:gd name="connsiteX10" fmla="*/ 0 w 1259846"/>
                  <a:gd name="connsiteY10" fmla="*/ 187344 h 309676"/>
                  <a:gd name="connsiteX11" fmla="*/ 187344 w 1259846"/>
                  <a:gd name="connsiteY11" fmla="*/ 0 h 309676"/>
                  <a:gd name="connsiteX12" fmla="*/ 617879 w 1259846"/>
                  <a:gd name="connsiteY12" fmla="*/ 0 h 309676"/>
                  <a:gd name="connsiteX13" fmla="*/ 745836 w 1259846"/>
                  <a:gd name="connsiteY13" fmla="*/ 127957 h 309676"/>
                  <a:gd name="connsiteX14" fmla="*/ 775470 w 1259846"/>
                  <a:gd name="connsiteY14" fmla="*/ 157591 h 309676"/>
                  <a:gd name="connsiteX15" fmla="*/ 1107761 w 1259846"/>
                  <a:gd name="connsiteY15" fmla="*/ 157591 h 309676"/>
                  <a:gd name="connsiteX16" fmla="*/ 1259846 w 1259846"/>
                  <a:gd name="connsiteY16" fmla="*/ 309677 h 309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9846" h="309676">
                    <a:moveTo>
                      <a:pt x="1259846" y="309677"/>
                    </a:moveTo>
                    <a:lnTo>
                      <a:pt x="1161524" y="309677"/>
                    </a:lnTo>
                    <a:cubicBezTo>
                      <a:pt x="1161524" y="280023"/>
                      <a:pt x="1137415" y="255914"/>
                      <a:pt x="1107761" y="255914"/>
                    </a:cubicBezTo>
                    <a:lnTo>
                      <a:pt x="775470" y="255914"/>
                    </a:lnTo>
                    <a:cubicBezTo>
                      <a:pt x="704914" y="255914"/>
                      <a:pt x="647513" y="198513"/>
                      <a:pt x="647513" y="127957"/>
                    </a:cubicBezTo>
                    <a:cubicBezTo>
                      <a:pt x="647513" y="111616"/>
                      <a:pt x="634220" y="98323"/>
                      <a:pt x="617879" y="98323"/>
                    </a:cubicBezTo>
                    <a:lnTo>
                      <a:pt x="187344" y="98323"/>
                    </a:lnTo>
                    <a:cubicBezTo>
                      <a:pt x="138261" y="98323"/>
                      <a:pt x="98323" y="138261"/>
                      <a:pt x="98323" y="187344"/>
                    </a:cubicBezTo>
                    <a:lnTo>
                      <a:pt x="98323" y="309677"/>
                    </a:lnTo>
                    <a:lnTo>
                      <a:pt x="0" y="309677"/>
                    </a:lnTo>
                    <a:lnTo>
                      <a:pt x="0" y="187344"/>
                    </a:lnTo>
                    <a:cubicBezTo>
                      <a:pt x="0" y="84046"/>
                      <a:pt x="84046" y="0"/>
                      <a:pt x="187344" y="0"/>
                    </a:cubicBezTo>
                    <a:lnTo>
                      <a:pt x="617879" y="0"/>
                    </a:lnTo>
                    <a:cubicBezTo>
                      <a:pt x="688435" y="0"/>
                      <a:pt x="745836" y="57401"/>
                      <a:pt x="745836" y="127957"/>
                    </a:cubicBezTo>
                    <a:cubicBezTo>
                      <a:pt x="745836" y="144298"/>
                      <a:pt x="759129" y="157591"/>
                      <a:pt x="775470" y="157591"/>
                    </a:cubicBezTo>
                    <a:lnTo>
                      <a:pt x="1107761" y="157591"/>
                    </a:lnTo>
                    <a:cubicBezTo>
                      <a:pt x="1191630" y="157591"/>
                      <a:pt x="1259846" y="225808"/>
                      <a:pt x="1259846" y="309677"/>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17" name="Freeform: Shape 816">
                <a:extLst>
                  <a:ext uri="{FF2B5EF4-FFF2-40B4-BE49-F238E27FC236}">
                    <a16:creationId xmlns:a16="http://schemas.microsoft.com/office/drawing/2014/main" id="{0A69E93A-A49B-4E37-82F9-FA3089AE69A3}"/>
                  </a:ext>
                </a:extLst>
              </p:cNvPr>
              <p:cNvSpPr/>
              <p:nvPr/>
            </p:nvSpPr>
            <p:spPr>
              <a:xfrm>
                <a:off x="6523722" y="9892935"/>
                <a:ext cx="1259846" cy="309676"/>
              </a:xfrm>
              <a:custGeom>
                <a:avLst/>
                <a:gdLst>
                  <a:gd name="connsiteX0" fmla="*/ 20 w 1259846"/>
                  <a:gd name="connsiteY0" fmla="*/ 309677 h 309676"/>
                  <a:gd name="connsiteX1" fmla="*/ 98342 w 1259846"/>
                  <a:gd name="connsiteY1" fmla="*/ 309677 h 309676"/>
                  <a:gd name="connsiteX2" fmla="*/ 98342 w 1259846"/>
                  <a:gd name="connsiteY2" fmla="*/ 299844 h 309676"/>
                  <a:gd name="connsiteX3" fmla="*/ 20 w 1259846"/>
                  <a:gd name="connsiteY3" fmla="*/ 299844 h 309676"/>
                  <a:gd name="connsiteX4" fmla="*/ 20 w 1259846"/>
                  <a:gd name="connsiteY4" fmla="*/ 309677 h 309676"/>
                  <a:gd name="connsiteX5" fmla="*/ 354964 w 1259846"/>
                  <a:gd name="connsiteY5" fmla="*/ 98323 h 309676"/>
                  <a:gd name="connsiteX6" fmla="*/ 374845 w 1259846"/>
                  <a:gd name="connsiteY6" fmla="*/ 98323 h 309676"/>
                  <a:gd name="connsiteX7" fmla="*/ 374845 w 1259846"/>
                  <a:gd name="connsiteY7" fmla="*/ 0 h 309676"/>
                  <a:gd name="connsiteX8" fmla="*/ 354964 w 1259846"/>
                  <a:gd name="connsiteY8" fmla="*/ 0 h 309676"/>
                  <a:gd name="connsiteX9" fmla="*/ 354964 w 1259846"/>
                  <a:gd name="connsiteY9" fmla="*/ 98323 h 309676"/>
                  <a:gd name="connsiteX10" fmla="*/ 553851 w 1259846"/>
                  <a:gd name="connsiteY10" fmla="*/ 98323 h 309676"/>
                  <a:gd name="connsiteX11" fmla="*/ 573732 w 1259846"/>
                  <a:gd name="connsiteY11" fmla="*/ 98323 h 309676"/>
                  <a:gd name="connsiteX12" fmla="*/ 573732 w 1259846"/>
                  <a:gd name="connsiteY12" fmla="*/ 0 h 309676"/>
                  <a:gd name="connsiteX13" fmla="*/ 553851 w 1259846"/>
                  <a:gd name="connsiteY13" fmla="*/ 0 h 309676"/>
                  <a:gd name="connsiteX14" fmla="*/ 553851 w 1259846"/>
                  <a:gd name="connsiteY14" fmla="*/ 98323 h 309676"/>
                  <a:gd name="connsiteX15" fmla="*/ 315183 w 1259846"/>
                  <a:gd name="connsiteY15" fmla="*/ 98323 h 309676"/>
                  <a:gd name="connsiteX16" fmla="*/ 335063 w 1259846"/>
                  <a:gd name="connsiteY16" fmla="*/ 98323 h 309676"/>
                  <a:gd name="connsiteX17" fmla="*/ 335063 w 1259846"/>
                  <a:gd name="connsiteY17" fmla="*/ 0 h 309676"/>
                  <a:gd name="connsiteX18" fmla="*/ 315183 w 1259846"/>
                  <a:gd name="connsiteY18" fmla="*/ 0 h 309676"/>
                  <a:gd name="connsiteX19" fmla="*/ 315183 w 1259846"/>
                  <a:gd name="connsiteY19" fmla="*/ 98323 h 309676"/>
                  <a:gd name="connsiteX20" fmla="*/ 235620 w 1259846"/>
                  <a:gd name="connsiteY20" fmla="*/ 98323 h 309676"/>
                  <a:gd name="connsiteX21" fmla="*/ 255501 w 1259846"/>
                  <a:gd name="connsiteY21" fmla="*/ 98323 h 309676"/>
                  <a:gd name="connsiteX22" fmla="*/ 255501 w 1259846"/>
                  <a:gd name="connsiteY22" fmla="*/ 0 h 309676"/>
                  <a:gd name="connsiteX23" fmla="*/ 235620 w 1259846"/>
                  <a:gd name="connsiteY23" fmla="*/ 0 h 309676"/>
                  <a:gd name="connsiteX24" fmla="*/ 235620 w 1259846"/>
                  <a:gd name="connsiteY24" fmla="*/ 98323 h 309676"/>
                  <a:gd name="connsiteX25" fmla="*/ 275402 w 1259846"/>
                  <a:gd name="connsiteY25" fmla="*/ 98323 h 309676"/>
                  <a:gd name="connsiteX26" fmla="*/ 295282 w 1259846"/>
                  <a:gd name="connsiteY26" fmla="*/ 98323 h 309676"/>
                  <a:gd name="connsiteX27" fmla="*/ 295282 w 1259846"/>
                  <a:gd name="connsiteY27" fmla="*/ 0 h 309676"/>
                  <a:gd name="connsiteX28" fmla="*/ 275402 w 1259846"/>
                  <a:gd name="connsiteY28" fmla="*/ 0 h 309676"/>
                  <a:gd name="connsiteX29" fmla="*/ 275402 w 1259846"/>
                  <a:gd name="connsiteY29" fmla="*/ 98323 h 309676"/>
                  <a:gd name="connsiteX30" fmla="*/ 514070 w 1259846"/>
                  <a:gd name="connsiteY30" fmla="*/ 98323 h 309676"/>
                  <a:gd name="connsiteX31" fmla="*/ 533951 w 1259846"/>
                  <a:gd name="connsiteY31" fmla="*/ 98323 h 309676"/>
                  <a:gd name="connsiteX32" fmla="*/ 533951 w 1259846"/>
                  <a:gd name="connsiteY32" fmla="*/ 0 h 309676"/>
                  <a:gd name="connsiteX33" fmla="*/ 514070 w 1259846"/>
                  <a:gd name="connsiteY33" fmla="*/ 0 h 309676"/>
                  <a:gd name="connsiteX34" fmla="*/ 514070 w 1259846"/>
                  <a:gd name="connsiteY34" fmla="*/ 98323 h 309676"/>
                  <a:gd name="connsiteX35" fmla="*/ 474288 w 1259846"/>
                  <a:gd name="connsiteY35" fmla="*/ 98323 h 309676"/>
                  <a:gd name="connsiteX36" fmla="*/ 494169 w 1259846"/>
                  <a:gd name="connsiteY36" fmla="*/ 98323 h 309676"/>
                  <a:gd name="connsiteX37" fmla="*/ 494169 w 1259846"/>
                  <a:gd name="connsiteY37" fmla="*/ 0 h 309676"/>
                  <a:gd name="connsiteX38" fmla="*/ 474288 w 1259846"/>
                  <a:gd name="connsiteY38" fmla="*/ 0 h 309676"/>
                  <a:gd name="connsiteX39" fmla="*/ 474288 w 1259846"/>
                  <a:gd name="connsiteY39" fmla="*/ 98323 h 309676"/>
                  <a:gd name="connsiteX40" fmla="*/ 394726 w 1259846"/>
                  <a:gd name="connsiteY40" fmla="*/ 98323 h 309676"/>
                  <a:gd name="connsiteX41" fmla="*/ 414607 w 1259846"/>
                  <a:gd name="connsiteY41" fmla="*/ 98323 h 309676"/>
                  <a:gd name="connsiteX42" fmla="*/ 414607 w 1259846"/>
                  <a:gd name="connsiteY42" fmla="*/ 0 h 309676"/>
                  <a:gd name="connsiteX43" fmla="*/ 394726 w 1259846"/>
                  <a:gd name="connsiteY43" fmla="*/ 0 h 309676"/>
                  <a:gd name="connsiteX44" fmla="*/ 394726 w 1259846"/>
                  <a:gd name="connsiteY44" fmla="*/ 98323 h 309676"/>
                  <a:gd name="connsiteX45" fmla="*/ 434507 w 1259846"/>
                  <a:gd name="connsiteY45" fmla="*/ 98323 h 309676"/>
                  <a:gd name="connsiteX46" fmla="*/ 454388 w 1259846"/>
                  <a:gd name="connsiteY46" fmla="*/ 98323 h 309676"/>
                  <a:gd name="connsiteX47" fmla="*/ 454388 w 1259846"/>
                  <a:gd name="connsiteY47" fmla="*/ 0 h 309676"/>
                  <a:gd name="connsiteX48" fmla="*/ 434507 w 1259846"/>
                  <a:gd name="connsiteY48" fmla="*/ 0 h 309676"/>
                  <a:gd name="connsiteX49" fmla="*/ 434507 w 1259846"/>
                  <a:gd name="connsiteY49" fmla="*/ 98323 h 309676"/>
                  <a:gd name="connsiteX50" fmla="*/ 21277 w 1259846"/>
                  <a:gd name="connsiteY50" fmla="*/ 100584 h 309676"/>
                  <a:gd name="connsiteX51" fmla="*/ 108391 w 1259846"/>
                  <a:gd name="connsiteY51" fmla="*/ 146166 h 309676"/>
                  <a:gd name="connsiteX52" fmla="*/ 115136 w 1259846"/>
                  <a:gd name="connsiteY52" fmla="*/ 135272 h 309676"/>
                  <a:gd name="connsiteX53" fmla="*/ 35455 w 1259846"/>
                  <a:gd name="connsiteY53" fmla="*/ 77675 h 309676"/>
                  <a:gd name="connsiteX54" fmla="*/ 21277 w 1259846"/>
                  <a:gd name="connsiteY54" fmla="*/ 100584 h 309676"/>
                  <a:gd name="connsiteX55" fmla="*/ 0 w 1259846"/>
                  <a:gd name="connsiteY55" fmla="*/ 187363 h 309676"/>
                  <a:gd name="connsiteX56" fmla="*/ 0 w 1259846"/>
                  <a:gd name="connsiteY56" fmla="*/ 200401 h 309676"/>
                  <a:gd name="connsiteX57" fmla="*/ 98323 w 1259846"/>
                  <a:gd name="connsiteY57" fmla="*/ 200401 h 309676"/>
                  <a:gd name="connsiteX58" fmla="*/ 98323 w 1259846"/>
                  <a:gd name="connsiteY58" fmla="*/ 187363 h 309676"/>
                  <a:gd name="connsiteX59" fmla="*/ 98421 w 1259846"/>
                  <a:gd name="connsiteY59" fmla="*/ 182919 h 309676"/>
                  <a:gd name="connsiteX60" fmla="*/ 217 w 1259846"/>
                  <a:gd name="connsiteY60" fmla="*/ 178141 h 309676"/>
                  <a:gd name="connsiteX61" fmla="*/ 0 w 1259846"/>
                  <a:gd name="connsiteY61" fmla="*/ 187363 h 309676"/>
                  <a:gd name="connsiteX62" fmla="*/ 0 w 1259846"/>
                  <a:gd name="connsiteY62" fmla="*/ 240182 h 309676"/>
                  <a:gd name="connsiteX63" fmla="*/ 98323 w 1259846"/>
                  <a:gd name="connsiteY63" fmla="*/ 240182 h 309676"/>
                  <a:gd name="connsiteX64" fmla="*/ 98323 w 1259846"/>
                  <a:gd name="connsiteY64" fmla="*/ 220301 h 309676"/>
                  <a:gd name="connsiteX65" fmla="*/ 0 w 1259846"/>
                  <a:gd name="connsiteY65" fmla="*/ 220301 h 309676"/>
                  <a:gd name="connsiteX66" fmla="*/ 0 w 1259846"/>
                  <a:gd name="connsiteY66" fmla="*/ 240182 h 309676"/>
                  <a:gd name="connsiteX67" fmla="*/ 3461 w 1259846"/>
                  <a:gd name="connsiteY67" fmla="*/ 151397 h 309676"/>
                  <a:gd name="connsiteX68" fmla="*/ 99975 w 1259846"/>
                  <a:gd name="connsiteY68" fmla="*/ 170177 h 309676"/>
                  <a:gd name="connsiteX69" fmla="*/ 103317 w 1259846"/>
                  <a:gd name="connsiteY69" fmla="*/ 157867 h 309676"/>
                  <a:gd name="connsiteX70" fmla="*/ 10540 w 1259846"/>
                  <a:gd name="connsiteY70" fmla="*/ 125322 h 309676"/>
                  <a:gd name="connsiteX71" fmla="*/ 3481 w 1259846"/>
                  <a:gd name="connsiteY71" fmla="*/ 151377 h 309676"/>
                  <a:gd name="connsiteX72" fmla="*/ 0 w 1259846"/>
                  <a:gd name="connsiteY72" fmla="*/ 279944 h 309676"/>
                  <a:gd name="connsiteX73" fmla="*/ 98323 w 1259846"/>
                  <a:gd name="connsiteY73" fmla="*/ 279944 h 309676"/>
                  <a:gd name="connsiteX74" fmla="*/ 98323 w 1259846"/>
                  <a:gd name="connsiteY74" fmla="*/ 260063 h 309676"/>
                  <a:gd name="connsiteX75" fmla="*/ 0 w 1259846"/>
                  <a:gd name="connsiteY75" fmla="*/ 260063 h 309676"/>
                  <a:gd name="connsiteX76" fmla="*/ 0 w 1259846"/>
                  <a:gd name="connsiteY76" fmla="*/ 279944 h 309676"/>
                  <a:gd name="connsiteX77" fmla="*/ 95176 w 1259846"/>
                  <a:gd name="connsiteY77" fmla="*/ 24207 h 309676"/>
                  <a:gd name="connsiteX78" fmla="*/ 143610 w 1259846"/>
                  <a:gd name="connsiteY78" fmla="*/ 109767 h 309676"/>
                  <a:gd name="connsiteX79" fmla="*/ 155133 w 1259846"/>
                  <a:gd name="connsiteY79" fmla="*/ 104301 h 309676"/>
                  <a:gd name="connsiteX80" fmla="*/ 119521 w 1259846"/>
                  <a:gd name="connsiteY80" fmla="*/ 12664 h 309676"/>
                  <a:gd name="connsiteX81" fmla="*/ 95176 w 1259846"/>
                  <a:gd name="connsiteY81" fmla="*/ 24207 h 309676"/>
                  <a:gd name="connsiteX82" fmla="*/ 145321 w 1259846"/>
                  <a:gd name="connsiteY82" fmla="*/ 4739 h 309676"/>
                  <a:gd name="connsiteX83" fmla="*/ 167306 w 1259846"/>
                  <a:gd name="connsiteY83" fmla="*/ 100564 h 309676"/>
                  <a:gd name="connsiteX84" fmla="*/ 179950 w 1259846"/>
                  <a:gd name="connsiteY84" fmla="*/ 98617 h 309676"/>
                  <a:gd name="connsiteX85" fmla="*/ 171927 w 1259846"/>
                  <a:gd name="connsiteY85" fmla="*/ 629 h 309676"/>
                  <a:gd name="connsiteX86" fmla="*/ 145301 w 1259846"/>
                  <a:gd name="connsiteY86" fmla="*/ 4739 h 309676"/>
                  <a:gd name="connsiteX87" fmla="*/ 52721 w 1259846"/>
                  <a:gd name="connsiteY87" fmla="*/ 57047 h 309676"/>
                  <a:gd name="connsiteX88" fmla="*/ 123355 w 1259846"/>
                  <a:gd name="connsiteY88" fmla="*/ 125440 h 309676"/>
                  <a:gd name="connsiteX89" fmla="*/ 132932 w 1259846"/>
                  <a:gd name="connsiteY89" fmla="*/ 116866 h 309676"/>
                  <a:gd name="connsiteX90" fmla="*/ 72759 w 1259846"/>
                  <a:gd name="connsiteY90" fmla="*/ 39113 h 309676"/>
                  <a:gd name="connsiteX91" fmla="*/ 52721 w 1259846"/>
                  <a:gd name="connsiteY91" fmla="*/ 57047 h 309676"/>
                  <a:gd name="connsiteX92" fmla="*/ 195819 w 1259846"/>
                  <a:gd name="connsiteY92" fmla="*/ 98323 h 309676"/>
                  <a:gd name="connsiteX93" fmla="*/ 215700 w 1259846"/>
                  <a:gd name="connsiteY93" fmla="*/ 98323 h 309676"/>
                  <a:gd name="connsiteX94" fmla="*/ 215700 w 1259846"/>
                  <a:gd name="connsiteY94" fmla="*/ 0 h 309676"/>
                  <a:gd name="connsiteX95" fmla="*/ 195819 w 1259846"/>
                  <a:gd name="connsiteY95" fmla="*/ 0 h 309676"/>
                  <a:gd name="connsiteX96" fmla="*/ 195819 w 1259846"/>
                  <a:gd name="connsiteY96" fmla="*/ 98323 h 309676"/>
                  <a:gd name="connsiteX97" fmla="*/ 723045 w 1259846"/>
                  <a:gd name="connsiteY97" fmla="*/ 244705 h 309676"/>
                  <a:gd name="connsiteX98" fmla="*/ 753918 w 1259846"/>
                  <a:gd name="connsiteY98" fmla="*/ 254105 h 309676"/>
                  <a:gd name="connsiteX99" fmla="*/ 770397 w 1259846"/>
                  <a:gd name="connsiteY99" fmla="*/ 157178 h 309676"/>
                  <a:gd name="connsiteX100" fmla="*/ 763337 w 1259846"/>
                  <a:gd name="connsiteY100" fmla="*/ 155035 h 309676"/>
                  <a:gd name="connsiteX101" fmla="*/ 723025 w 1259846"/>
                  <a:gd name="connsiteY101" fmla="*/ 244705 h 309676"/>
                  <a:gd name="connsiteX102" fmla="*/ 980886 w 1259846"/>
                  <a:gd name="connsiteY102" fmla="*/ 255914 h 309676"/>
                  <a:gd name="connsiteX103" fmla="*/ 1000766 w 1259846"/>
                  <a:gd name="connsiteY103" fmla="*/ 255914 h 309676"/>
                  <a:gd name="connsiteX104" fmla="*/ 1000766 w 1259846"/>
                  <a:gd name="connsiteY104" fmla="*/ 157591 h 309676"/>
                  <a:gd name="connsiteX105" fmla="*/ 980886 w 1259846"/>
                  <a:gd name="connsiteY105" fmla="*/ 157591 h 309676"/>
                  <a:gd name="connsiteX106" fmla="*/ 980886 w 1259846"/>
                  <a:gd name="connsiteY106" fmla="*/ 255914 h 309676"/>
                  <a:gd name="connsiteX107" fmla="*/ 901323 w 1259846"/>
                  <a:gd name="connsiteY107" fmla="*/ 255914 h 309676"/>
                  <a:gd name="connsiteX108" fmla="*/ 921204 w 1259846"/>
                  <a:gd name="connsiteY108" fmla="*/ 255914 h 309676"/>
                  <a:gd name="connsiteX109" fmla="*/ 921204 w 1259846"/>
                  <a:gd name="connsiteY109" fmla="*/ 157591 h 309676"/>
                  <a:gd name="connsiteX110" fmla="*/ 901323 w 1259846"/>
                  <a:gd name="connsiteY110" fmla="*/ 157591 h 309676"/>
                  <a:gd name="connsiteX111" fmla="*/ 901323 w 1259846"/>
                  <a:gd name="connsiteY111" fmla="*/ 255914 h 309676"/>
                  <a:gd name="connsiteX112" fmla="*/ 941105 w 1259846"/>
                  <a:gd name="connsiteY112" fmla="*/ 255914 h 309676"/>
                  <a:gd name="connsiteX113" fmla="*/ 960985 w 1259846"/>
                  <a:gd name="connsiteY113" fmla="*/ 255914 h 309676"/>
                  <a:gd name="connsiteX114" fmla="*/ 960985 w 1259846"/>
                  <a:gd name="connsiteY114" fmla="*/ 157591 h 309676"/>
                  <a:gd name="connsiteX115" fmla="*/ 941105 w 1259846"/>
                  <a:gd name="connsiteY115" fmla="*/ 157591 h 309676"/>
                  <a:gd name="connsiteX116" fmla="*/ 941105 w 1259846"/>
                  <a:gd name="connsiteY116" fmla="*/ 255914 h 309676"/>
                  <a:gd name="connsiteX117" fmla="*/ 1060448 w 1259846"/>
                  <a:gd name="connsiteY117" fmla="*/ 255914 h 309676"/>
                  <a:gd name="connsiteX118" fmla="*/ 1080329 w 1259846"/>
                  <a:gd name="connsiteY118" fmla="*/ 255914 h 309676"/>
                  <a:gd name="connsiteX119" fmla="*/ 1080329 w 1259846"/>
                  <a:gd name="connsiteY119" fmla="*/ 157591 h 309676"/>
                  <a:gd name="connsiteX120" fmla="*/ 1060448 w 1259846"/>
                  <a:gd name="connsiteY120" fmla="*/ 157591 h 309676"/>
                  <a:gd name="connsiteX121" fmla="*/ 1060448 w 1259846"/>
                  <a:gd name="connsiteY121" fmla="*/ 255914 h 309676"/>
                  <a:gd name="connsiteX122" fmla="*/ 1020667 w 1259846"/>
                  <a:gd name="connsiteY122" fmla="*/ 255914 h 309676"/>
                  <a:gd name="connsiteX123" fmla="*/ 1040548 w 1259846"/>
                  <a:gd name="connsiteY123" fmla="*/ 255914 h 309676"/>
                  <a:gd name="connsiteX124" fmla="*/ 1040548 w 1259846"/>
                  <a:gd name="connsiteY124" fmla="*/ 157591 h 309676"/>
                  <a:gd name="connsiteX125" fmla="*/ 1020667 w 1259846"/>
                  <a:gd name="connsiteY125" fmla="*/ 157591 h 309676"/>
                  <a:gd name="connsiteX126" fmla="*/ 1020667 w 1259846"/>
                  <a:gd name="connsiteY126" fmla="*/ 255914 h 309676"/>
                  <a:gd name="connsiteX127" fmla="*/ 1205710 w 1259846"/>
                  <a:gd name="connsiteY127" fmla="*/ 193322 h 309676"/>
                  <a:gd name="connsiteX128" fmla="*/ 1142371 w 1259846"/>
                  <a:gd name="connsiteY128" fmla="*/ 268539 h 309676"/>
                  <a:gd name="connsiteX129" fmla="*/ 1149666 w 1259846"/>
                  <a:gd name="connsiteY129" fmla="*/ 275991 h 309676"/>
                  <a:gd name="connsiteX130" fmla="*/ 1226181 w 1259846"/>
                  <a:gd name="connsiteY130" fmla="*/ 214245 h 309676"/>
                  <a:gd name="connsiteX131" fmla="*/ 1205690 w 1259846"/>
                  <a:gd name="connsiteY131" fmla="*/ 193322 h 309676"/>
                  <a:gd name="connsiteX132" fmla="*/ 1242326 w 1259846"/>
                  <a:gd name="connsiteY132" fmla="*/ 238727 h 309676"/>
                  <a:gd name="connsiteX133" fmla="*/ 1155389 w 1259846"/>
                  <a:gd name="connsiteY133" fmla="*/ 284644 h 309676"/>
                  <a:gd name="connsiteX134" fmla="*/ 1159302 w 1259846"/>
                  <a:gd name="connsiteY134" fmla="*/ 294181 h 309676"/>
                  <a:gd name="connsiteX135" fmla="*/ 1253475 w 1259846"/>
                  <a:gd name="connsiteY135" fmla="*/ 265923 h 309676"/>
                  <a:gd name="connsiteX136" fmla="*/ 1242326 w 1259846"/>
                  <a:gd name="connsiteY136" fmla="*/ 238727 h 309676"/>
                  <a:gd name="connsiteX137" fmla="*/ 1154622 w 1259846"/>
                  <a:gd name="connsiteY137" fmla="*/ 164946 h 309676"/>
                  <a:gd name="connsiteX138" fmla="*/ 1124358 w 1259846"/>
                  <a:gd name="connsiteY138" fmla="*/ 258490 h 309676"/>
                  <a:gd name="connsiteX139" fmla="*/ 1133817 w 1259846"/>
                  <a:gd name="connsiteY139" fmla="*/ 262600 h 309676"/>
                  <a:gd name="connsiteX140" fmla="*/ 1181582 w 1259846"/>
                  <a:gd name="connsiteY140" fmla="*/ 176666 h 309676"/>
                  <a:gd name="connsiteX141" fmla="*/ 1154622 w 1259846"/>
                  <a:gd name="connsiteY141" fmla="*/ 164946 h 309676"/>
                  <a:gd name="connsiteX142" fmla="*/ 1107781 w 1259846"/>
                  <a:gd name="connsiteY142" fmla="*/ 157591 h 309676"/>
                  <a:gd name="connsiteX143" fmla="*/ 1100230 w 1259846"/>
                  <a:gd name="connsiteY143" fmla="*/ 157591 h 309676"/>
                  <a:gd name="connsiteX144" fmla="*/ 1100230 w 1259846"/>
                  <a:gd name="connsiteY144" fmla="*/ 255914 h 309676"/>
                  <a:gd name="connsiteX145" fmla="*/ 1107781 w 1259846"/>
                  <a:gd name="connsiteY145" fmla="*/ 255914 h 309676"/>
                  <a:gd name="connsiteX146" fmla="*/ 1114270 w 1259846"/>
                  <a:gd name="connsiteY146" fmla="*/ 256288 h 309676"/>
                  <a:gd name="connsiteX147" fmla="*/ 1125912 w 1259846"/>
                  <a:gd name="connsiteY147" fmla="*/ 158653 h 309676"/>
                  <a:gd name="connsiteX148" fmla="*/ 1107781 w 1259846"/>
                  <a:gd name="connsiteY148" fmla="*/ 157572 h 309676"/>
                  <a:gd name="connsiteX149" fmla="*/ 700470 w 1259846"/>
                  <a:gd name="connsiteY149" fmla="*/ 30205 h 309676"/>
                  <a:gd name="connsiteX150" fmla="*/ 636993 w 1259846"/>
                  <a:gd name="connsiteY150" fmla="*/ 105303 h 309676"/>
                  <a:gd name="connsiteX151" fmla="*/ 642086 w 1259846"/>
                  <a:gd name="connsiteY151" fmla="*/ 110829 h 309676"/>
                  <a:gd name="connsiteX152" fmla="*/ 722219 w 1259846"/>
                  <a:gd name="connsiteY152" fmla="*/ 53861 h 309676"/>
                  <a:gd name="connsiteX153" fmla="*/ 700470 w 1259846"/>
                  <a:gd name="connsiteY153" fmla="*/ 30205 h 309676"/>
                  <a:gd name="connsiteX154" fmla="*/ 746131 w 1259846"/>
                  <a:gd name="connsiteY154" fmla="*/ 132145 h 309676"/>
                  <a:gd name="connsiteX155" fmla="*/ 648752 w 1259846"/>
                  <a:gd name="connsiteY155" fmla="*/ 145714 h 309676"/>
                  <a:gd name="connsiteX156" fmla="*/ 657227 w 1259846"/>
                  <a:gd name="connsiteY156" fmla="*/ 176882 h 309676"/>
                  <a:gd name="connsiteX157" fmla="*/ 748077 w 1259846"/>
                  <a:gd name="connsiteY157" fmla="*/ 139284 h 309676"/>
                  <a:gd name="connsiteX158" fmla="*/ 746150 w 1259846"/>
                  <a:gd name="connsiteY158" fmla="*/ 132165 h 309676"/>
                  <a:gd name="connsiteX159" fmla="*/ 737439 w 1259846"/>
                  <a:gd name="connsiteY159" fmla="*/ 82276 h 309676"/>
                  <a:gd name="connsiteX160" fmla="*/ 645606 w 1259846"/>
                  <a:gd name="connsiteY160" fmla="*/ 117377 h 309676"/>
                  <a:gd name="connsiteX161" fmla="*/ 647356 w 1259846"/>
                  <a:gd name="connsiteY161" fmla="*/ 124555 h 309676"/>
                  <a:gd name="connsiteX162" fmla="*/ 745069 w 1259846"/>
                  <a:gd name="connsiteY162" fmla="*/ 113621 h 309676"/>
                  <a:gd name="connsiteX163" fmla="*/ 737459 w 1259846"/>
                  <a:gd name="connsiteY163" fmla="*/ 82276 h 309676"/>
                  <a:gd name="connsiteX164" fmla="*/ 593613 w 1259846"/>
                  <a:gd name="connsiteY164" fmla="*/ 98323 h 309676"/>
                  <a:gd name="connsiteX165" fmla="*/ 613494 w 1259846"/>
                  <a:gd name="connsiteY165" fmla="*/ 98323 h 309676"/>
                  <a:gd name="connsiteX166" fmla="*/ 613494 w 1259846"/>
                  <a:gd name="connsiteY166" fmla="*/ 0 h 309676"/>
                  <a:gd name="connsiteX167" fmla="*/ 593613 w 1259846"/>
                  <a:gd name="connsiteY167" fmla="*/ 0 h 309676"/>
                  <a:gd name="connsiteX168" fmla="*/ 593613 w 1259846"/>
                  <a:gd name="connsiteY168" fmla="*/ 98323 h 309676"/>
                  <a:gd name="connsiteX169" fmla="*/ 642833 w 1259846"/>
                  <a:gd name="connsiteY169" fmla="*/ 2438 h 309676"/>
                  <a:gd name="connsiteX170" fmla="*/ 623739 w 1259846"/>
                  <a:gd name="connsiteY170" fmla="*/ 98893 h 309676"/>
                  <a:gd name="connsiteX171" fmla="*/ 630720 w 1259846"/>
                  <a:gd name="connsiteY171" fmla="*/ 101233 h 309676"/>
                  <a:gd name="connsiteX172" fmla="*/ 673470 w 1259846"/>
                  <a:gd name="connsiteY172" fmla="*/ 12684 h 309676"/>
                  <a:gd name="connsiteX173" fmla="*/ 642833 w 1259846"/>
                  <a:gd name="connsiteY173" fmla="*/ 2438 h 309676"/>
                  <a:gd name="connsiteX174" fmla="*/ 781999 w 1259846"/>
                  <a:gd name="connsiteY174" fmla="*/ 255914 h 309676"/>
                  <a:gd name="connsiteX175" fmla="*/ 801880 w 1259846"/>
                  <a:gd name="connsiteY175" fmla="*/ 255914 h 309676"/>
                  <a:gd name="connsiteX176" fmla="*/ 801880 w 1259846"/>
                  <a:gd name="connsiteY176" fmla="*/ 157591 h 309676"/>
                  <a:gd name="connsiteX177" fmla="*/ 781999 w 1259846"/>
                  <a:gd name="connsiteY177" fmla="*/ 157591 h 309676"/>
                  <a:gd name="connsiteX178" fmla="*/ 781999 w 1259846"/>
                  <a:gd name="connsiteY178" fmla="*/ 255914 h 309676"/>
                  <a:gd name="connsiteX179" fmla="*/ 751755 w 1259846"/>
                  <a:gd name="connsiteY179" fmla="*/ 145734 h 309676"/>
                  <a:gd name="connsiteX180" fmla="*/ 673195 w 1259846"/>
                  <a:gd name="connsiteY180" fmla="*/ 204845 h 309676"/>
                  <a:gd name="connsiteX181" fmla="*/ 695593 w 1259846"/>
                  <a:gd name="connsiteY181" fmla="*/ 227912 h 309676"/>
                  <a:gd name="connsiteX182" fmla="*/ 757005 w 1259846"/>
                  <a:gd name="connsiteY182" fmla="*/ 151122 h 309676"/>
                  <a:gd name="connsiteX183" fmla="*/ 751775 w 1259846"/>
                  <a:gd name="connsiteY183" fmla="*/ 145734 h 309676"/>
                  <a:gd name="connsiteX184" fmla="*/ 821780 w 1259846"/>
                  <a:gd name="connsiteY184" fmla="*/ 255914 h 309676"/>
                  <a:gd name="connsiteX185" fmla="*/ 841661 w 1259846"/>
                  <a:gd name="connsiteY185" fmla="*/ 255914 h 309676"/>
                  <a:gd name="connsiteX186" fmla="*/ 841661 w 1259846"/>
                  <a:gd name="connsiteY186" fmla="*/ 157591 h 309676"/>
                  <a:gd name="connsiteX187" fmla="*/ 821780 w 1259846"/>
                  <a:gd name="connsiteY187" fmla="*/ 157591 h 309676"/>
                  <a:gd name="connsiteX188" fmla="*/ 821780 w 1259846"/>
                  <a:gd name="connsiteY188" fmla="*/ 255914 h 309676"/>
                  <a:gd name="connsiteX189" fmla="*/ 861561 w 1259846"/>
                  <a:gd name="connsiteY189" fmla="*/ 255914 h 309676"/>
                  <a:gd name="connsiteX190" fmla="*/ 881442 w 1259846"/>
                  <a:gd name="connsiteY190" fmla="*/ 255914 h 309676"/>
                  <a:gd name="connsiteX191" fmla="*/ 881442 w 1259846"/>
                  <a:gd name="connsiteY191" fmla="*/ 157591 h 309676"/>
                  <a:gd name="connsiteX192" fmla="*/ 861561 w 1259846"/>
                  <a:gd name="connsiteY192" fmla="*/ 157591 h 309676"/>
                  <a:gd name="connsiteX193" fmla="*/ 861561 w 1259846"/>
                  <a:gd name="connsiteY193" fmla="*/ 255914 h 309676"/>
                  <a:gd name="connsiteX194" fmla="*/ 1259178 w 1259846"/>
                  <a:gd name="connsiteY194" fmla="*/ 295223 h 309676"/>
                  <a:gd name="connsiteX195" fmla="*/ 1161288 w 1259846"/>
                  <a:gd name="connsiteY195" fmla="*/ 304466 h 309676"/>
                  <a:gd name="connsiteX196" fmla="*/ 1161524 w 1259846"/>
                  <a:gd name="connsiteY196" fmla="*/ 309677 h 309676"/>
                  <a:gd name="connsiteX197" fmla="*/ 1259846 w 1259846"/>
                  <a:gd name="connsiteY197" fmla="*/ 309677 h 309676"/>
                  <a:gd name="connsiteX198" fmla="*/ 1259158 w 1259846"/>
                  <a:gd name="connsiteY198" fmla="*/ 295223 h 309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1259846" h="309676">
                    <a:moveTo>
                      <a:pt x="20" y="309677"/>
                    </a:moveTo>
                    <a:lnTo>
                      <a:pt x="98342" y="309677"/>
                    </a:lnTo>
                    <a:lnTo>
                      <a:pt x="98342" y="299844"/>
                    </a:lnTo>
                    <a:lnTo>
                      <a:pt x="20" y="299844"/>
                    </a:lnTo>
                    <a:lnTo>
                      <a:pt x="20" y="309677"/>
                    </a:lnTo>
                    <a:close/>
                    <a:moveTo>
                      <a:pt x="354964" y="98323"/>
                    </a:moveTo>
                    <a:lnTo>
                      <a:pt x="374845" y="98323"/>
                    </a:lnTo>
                    <a:lnTo>
                      <a:pt x="374845" y="0"/>
                    </a:lnTo>
                    <a:lnTo>
                      <a:pt x="354964" y="0"/>
                    </a:lnTo>
                    <a:lnTo>
                      <a:pt x="354964" y="98323"/>
                    </a:lnTo>
                    <a:close/>
                    <a:moveTo>
                      <a:pt x="553851" y="98323"/>
                    </a:moveTo>
                    <a:lnTo>
                      <a:pt x="573732" y="98323"/>
                    </a:lnTo>
                    <a:lnTo>
                      <a:pt x="573732" y="0"/>
                    </a:lnTo>
                    <a:lnTo>
                      <a:pt x="553851" y="0"/>
                    </a:lnTo>
                    <a:lnTo>
                      <a:pt x="553851" y="98323"/>
                    </a:lnTo>
                    <a:close/>
                    <a:moveTo>
                      <a:pt x="315183" y="98323"/>
                    </a:moveTo>
                    <a:lnTo>
                      <a:pt x="335063" y="98323"/>
                    </a:lnTo>
                    <a:lnTo>
                      <a:pt x="335063" y="0"/>
                    </a:lnTo>
                    <a:lnTo>
                      <a:pt x="315183" y="0"/>
                    </a:lnTo>
                    <a:lnTo>
                      <a:pt x="315183" y="98323"/>
                    </a:lnTo>
                    <a:close/>
                    <a:moveTo>
                      <a:pt x="235620" y="98323"/>
                    </a:moveTo>
                    <a:lnTo>
                      <a:pt x="255501" y="98323"/>
                    </a:lnTo>
                    <a:lnTo>
                      <a:pt x="255501" y="0"/>
                    </a:lnTo>
                    <a:lnTo>
                      <a:pt x="235620" y="0"/>
                    </a:lnTo>
                    <a:lnTo>
                      <a:pt x="235620" y="98323"/>
                    </a:lnTo>
                    <a:close/>
                    <a:moveTo>
                      <a:pt x="275402" y="98323"/>
                    </a:moveTo>
                    <a:lnTo>
                      <a:pt x="295282" y="98323"/>
                    </a:lnTo>
                    <a:lnTo>
                      <a:pt x="295282" y="0"/>
                    </a:lnTo>
                    <a:lnTo>
                      <a:pt x="275402" y="0"/>
                    </a:lnTo>
                    <a:lnTo>
                      <a:pt x="275402" y="98323"/>
                    </a:lnTo>
                    <a:close/>
                    <a:moveTo>
                      <a:pt x="514070" y="98323"/>
                    </a:moveTo>
                    <a:lnTo>
                      <a:pt x="533951" y="98323"/>
                    </a:lnTo>
                    <a:lnTo>
                      <a:pt x="533951" y="0"/>
                    </a:lnTo>
                    <a:lnTo>
                      <a:pt x="514070" y="0"/>
                    </a:lnTo>
                    <a:lnTo>
                      <a:pt x="514070" y="98323"/>
                    </a:lnTo>
                    <a:close/>
                    <a:moveTo>
                      <a:pt x="474288" y="98323"/>
                    </a:moveTo>
                    <a:lnTo>
                      <a:pt x="494169" y="98323"/>
                    </a:lnTo>
                    <a:lnTo>
                      <a:pt x="494169" y="0"/>
                    </a:lnTo>
                    <a:lnTo>
                      <a:pt x="474288" y="0"/>
                    </a:lnTo>
                    <a:lnTo>
                      <a:pt x="474288" y="98323"/>
                    </a:lnTo>
                    <a:close/>
                    <a:moveTo>
                      <a:pt x="394726" y="98323"/>
                    </a:moveTo>
                    <a:lnTo>
                      <a:pt x="414607" y="98323"/>
                    </a:lnTo>
                    <a:lnTo>
                      <a:pt x="414607" y="0"/>
                    </a:lnTo>
                    <a:lnTo>
                      <a:pt x="394726" y="0"/>
                    </a:lnTo>
                    <a:lnTo>
                      <a:pt x="394726" y="98323"/>
                    </a:lnTo>
                    <a:close/>
                    <a:moveTo>
                      <a:pt x="434507" y="98323"/>
                    </a:moveTo>
                    <a:lnTo>
                      <a:pt x="454388" y="98323"/>
                    </a:lnTo>
                    <a:lnTo>
                      <a:pt x="454388" y="0"/>
                    </a:lnTo>
                    <a:lnTo>
                      <a:pt x="434507" y="0"/>
                    </a:lnTo>
                    <a:lnTo>
                      <a:pt x="434507" y="98323"/>
                    </a:lnTo>
                    <a:close/>
                    <a:moveTo>
                      <a:pt x="21277" y="100584"/>
                    </a:moveTo>
                    <a:lnTo>
                      <a:pt x="108391" y="146166"/>
                    </a:lnTo>
                    <a:cubicBezTo>
                      <a:pt x="110357" y="142391"/>
                      <a:pt x="112638" y="138733"/>
                      <a:pt x="115136" y="135272"/>
                    </a:cubicBezTo>
                    <a:lnTo>
                      <a:pt x="35455" y="77675"/>
                    </a:lnTo>
                    <a:cubicBezTo>
                      <a:pt x="30205" y="84951"/>
                      <a:pt x="25426" y="92659"/>
                      <a:pt x="21277" y="100584"/>
                    </a:cubicBezTo>
                    <a:close/>
                    <a:moveTo>
                      <a:pt x="0" y="187363"/>
                    </a:moveTo>
                    <a:lnTo>
                      <a:pt x="0" y="200401"/>
                    </a:lnTo>
                    <a:lnTo>
                      <a:pt x="98323" y="200401"/>
                    </a:lnTo>
                    <a:lnTo>
                      <a:pt x="98323" y="187363"/>
                    </a:lnTo>
                    <a:cubicBezTo>
                      <a:pt x="98323" y="185889"/>
                      <a:pt x="98362" y="184394"/>
                      <a:pt x="98421" y="182919"/>
                    </a:cubicBezTo>
                    <a:lnTo>
                      <a:pt x="217" y="178141"/>
                    </a:lnTo>
                    <a:cubicBezTo>
                      <a:pt x="59" y="181189"/>
                      <a:pt x="0" y="184296"/>
                      <a:pt x="0" y="187363"/>
                    </a:cubicBezTo>
                    <a:close/>
                    <a:moveTo>
                      <a:pt x="0" y="240182"/>
                    </a:moveTo>
                    <a:lnTo>
                      <a:pt x="98323" y="240182"/>
                    </a:lnTo>
                    <a:lnTo>
                      <a:pt x="98323" y="220301"/>
                    </a:lnTo>
                    <a:lnTo>
                      <a:pt x="0" y="220301"/>
                    </a:lnTo>
                    <a:lnTo>
                      <a:pt x="0" y="240182"/>
                    </a:lnTo>
                    <a:close/>
                    <a:moveTo>
                      <a:pt x="3461" y="151397"/>
                    </a:moveTo>
                    <a:lnTo>
                      <a:pt x="99975" y="170177"/>
                    </a:lnTo>
                    <a:cubicBezTo>
                      <a:pt x="100781" y="166008"/>
                      <a:pt x="101902" y="161859"/>
                      <a:pt x="103317" y="157867"/>
                    </a:cubicBezTo>
                    <a:lnTo>
                      <a:pt x="10540" y="125322"/>
                    </a:lnTo>
                    <a:cubicBezTo>
                      <a:pt x="7571" y="133797"/>
                      <a:pt x="5191" y="142568"/>
                      <a:pt x="3481" y="151377"/>
                    </a:cubicBezTo>
                    <a:close/>
                    <a:moveTo>
                      <a:pt x="0" y="279944"/>
                    </a:moveTo>
                    <a:lnTo>
                      <a:pt x="98323" y="279944"/>
                    </a:lnTo>
                    <a:lnTo>
                      <a:pt x="98323" y="260063"/>
                    </a:lnTo>
                    <a:lnTo>
                      <a:pt x="0" y="260063"/>
                    </a:lnTo>
                    <a:lnTo>
                      <a:pt x="0" y="279944"/>
                    </a:lnTo>
                    <a:close/>
                    <a:moveTo>
                      <a:pt x="95176" y="24207"/>
                    </a:moveTo>
                    <a:lnTo>
                      <a:pt x="143610" y="109767"/>
                    </a:lnTo>
                    <a:cubicBezTo>
                      <a:pt x="147307" y="107683"/>
                      <a:pt x="151181" y="105834"/>
                      <a:pt x="155133" y="104301"/>
                    </a:cubicBezTo>
                    <a:lnTo>
                      <a:pt x="119521" y="12664"/>
                    </a:lnTo>
                    <a:cubicBezTo>
                      <a:pt x="111164" y="15909"/>
                      <a:pt x="102983" y="19802"/>
                      <a:pt x="95176" y="24207"/>
                    </a:cubicBezTo>
                    <a:close/>
                    <a:moveTo>
                      <a:pt x="145321" y="4739"/>
                    </a:moveTo>
                    <a:lnTo>
                      <a:pt x="167306" y="100564"/>
                    </a:lnTo>
                    <a:cubicBezTo>
                      <a:pt x="171435" y="99620"/>
                      <a:pt x="175683" y="98952"/>
                      <a:pt x="179950" y="98617"/>
                    </a:cubicBezTo>
                    <a:lnTo>
                      <a:pt x="171927" y="629"/>
                    </a:lnTo>
                    <a:cubicBezTo>
                      <a:pt x="162979" y="1357"/>
                      <a:pt x="154032" y="2753"/>
                      <a:pt x="145301" y="4739"/>
                    </a:cubicBezTo>
                    <a:close/>
                    <a:moveTo>
                      <a:pt x="52721" y="57047"/>
                    </a:moveTo>
                    <a:lnTo>
                      <a:pt x="123355" y="125440"/>
                    </a:lnTo>
                    <a:cubicBezTo>
                      <a:pt x="126325" y="122372"/>
                      <a:pt x="129550" y="119481"/>
                      <a:pt x="132932" y="116866"/>
                    </a:cubicBezTo>
                    <a:lnTo>
                      <a:pt x="72759" y="39113"/>
                    </a:lnTo>
                    <a:cubicBezTo>
                      <a:pt x="65679" y="44579"/>
                      <a:pt x="58954" y="50616"/>
                      <a:pt x="52721" y="57047"/>
                    </a:cubicBezTo>
                    <a:close/>
                    <a:moveTo>
                      <a:pt x="195819" y="98323"/>
                    </a:moveTo>
                    <a:lnTo>
                      <a:pt x="215700" y="98323"/>
                    </a:lnTo>
                    <a:lnTo>
                      <a:pt x="215700" y="0"/>
                    </a:lnTo>
                    <a:lnTo>
                      <a:pt x="195819" y="0"/>
                    </a:lnTo>
                    <a:lnTo>
                      <a:pt x="195819" y="98323"/>
                    </a:lnTo>
                    <a:close/>
                    <a:moveTo>
                      <a:pt x="723045" y="244705"/>
                    </a:moveTo>
                    <a:cubicBezTo>
                      <a:pt x="732896" y="249130"/>
                      <a:pt x="743279" y="252296"/>
                      <a:pt x="753918" y="254105"/>
                    </a:cubicBezTo>
                    <a:lnTo>
                      <a:pt x="770397" y="157178"/>
                    </a:lnTo>
                    <a:cubicBezTo>
                      <a:pt x="767958" y="156765"/>
                      <a:pt x="765579" y="156038"/>
                      <a:pt x="763337" y="155035"/>
                    </a:cubicBezTo>
                    <a:lnTo>
                      <a:pt x="723025" y="244705"/>
                    </a:lnTo>
                    <a:close/>
                    <a:moveTo>
                      <a:pt x="980886" y="255914"/>
                    </a:moveTo>
                    <a:lnTo>
                      <a:pt x="1000766" y="255914"/>
                    </a:lnTo>
                    <a:lnTo>
                      <a:pt x="1000766" y="157591"/>
                    </a:lnTo>
                    <a:lnTo>
                      <a:pt x="980886" y="157591"/>
                    </a:lnTo>
                    <a:lnTo>
                      <a:pt x="980886" y="255914"/>
                    </a:lnTo>
                    <a:close/>
                    <a:moveTo>
                      <a:pt x="901323" y="255914"/>
                    </a:moveTo>
                    <a:lnTo>
                      <a:pt x="921204" y="255914"/>
                    </a:lnTo>
                    <a:lnTo>
                      <a:pt x="921204" y="157591"/>
                    </a:lnTo>
                    <a:lnTo>
                      <a:pt x="901323" y="157591"/>
                    </a:lnTo>
                    <a:lnTo>
                      <a:pt x="901323" y="255914"/>
                    </a:lnTo>
                    <a:close/>
                    <a:moveTo>
                      <a:pt x="941105" y="255914"/>
                    </a:moveTo>
                    <a:lnTo>
                      <a:pt x="960985" y="255914"/>
                    </a:lnTo>
                    <a:lnTo>
                      <a:pt x="960985" y="157591"/>
                    </a:lnTo>
                    <a:lnTo>
                      <a:pt x="941105" y="157591"/>
                    </a:lnTo>
                    <a:lnTo>
                      <a:pt x="941105" y="255914"/>
                    </a:lnTo>
                    <a:close/>
                    <a:moveTo>
                      <a:pt x="1060448" y="255914"/>
                    </a:moveTo>
                    <a:lnTo>
                      <a:pt x="1080329" y="255914"/>
                    </a:lnTo>
                    <a:lnTo>
                      <a:pt x="1080329" y="157591"/>
                    </a:lnTo>
                    <a:lnTo>
                      <a:pt x="1060448" y="157591"/>
                    </a:lnTo>
                    <a:lnTo>
                      <a:pt x="1060448" y="255914"/>
                    </a:lnTo>
                    <a:close/>
                    <a:moveTo>
                      <a:pt x="1020667" y="255914"/>
                    </a:moveTo>
                    <a:lnTo>
                      <a:pt x="1040548" y="255914"/>
                    </a:lnTo>
                    <a:lnTo>
                      <a:pt x="1040548" y="157591"/>
                    </a:lnTo>
                    <a:lnTo>
                      <a:pt x="1020667" y="157591"/>
                    </a:lnTo>
                    <a:lnTo>
                      <a:pt x="1020667" y="255914"/>
                    </a:lnTo>
                    <a:close/>
                    <a:moveTo>
                      <a:pt x="1205710" y="193322"/>
                    </a:moveTo>
                    <a:lnTo>
                      <a:pt x="1142371" y="268539"/>
                    </a:lnTo>
                    <a:cubicBezTo>
                      <a:pt x="1145026" y="270780"/>
                      <a:pt x="1147484" y="273278"/>
                      <a:pt x="1149666" y="275991"/>
                    </a:cubicBezTo>
                    <a:lnTo>
                      <a:pt x="1226181" y="214245"/>
                    </a:lnTo>
                    <a:cubicBezTo>
                      <a:pt x="1220046" y="206654"/>
                      <a:pt x="1213163" y="199614"/>
                      <a:pt x="1205690" y="193322"/>
                    </a:cubicBezTo>
                    <a:close/>
                    <a:moveTo>
                      <a:pt x="1242326" y="238727"/>
                    </a:moveTo>
                    <a:lnTo>
                      <a:pt x="1155389" y="284644"/>
                    </a:lnTo>
                    <a:cubicBezTo>
                      <a:pt x="1157001" y="287692"/>
                      <a:pt x="1158319" y="290897"/>
                      <a:pt x="1159302" y="294181"/>
                    </a:cubicBezTo>
                    <a:lnTo>
                      <a:pt x="1253475" y="265923"/>
                    </a:lnTo>
                    <a:cubicBezTo>
                      <a:pt x="1250663" y="256543"/>
                      <a:pt x="1246908" y="247399"/>
                      <a:pt x="1242326" y="238727"/>
                    </a:cubicBezTo>
                    <a:close/>
                    <a:moveTo>
                      <a:pt x="1154622" y="164946"/>
                    </a:moveTo>
                    <a:lnTo>
                      <a:pt x="1124358" y="258490"/>
                    </a:lnTo>
                    <a:cubicBezTo>
                      <a:pt x="1127622" y="259552"/>
                      <a:pt x="1130808" y="260928"/>
                      <a:pt x="1133817" y="262600"/>
                    </a:cubicBezTo>
                    <a:lnTo>
                      <a:pt x="1181582" y="176666"/>
                    </a:lnTo>
                    <a:cubicBezTo>
                      <a:pt x="1173008" y="171907"/>
                      <a:pt x="1163943" y="167955"/>
                      <a:pt x="1154622" y="164946"/>
                    </a:cubicBezTo>
                    <a:close/>
                    <a:moveTo>
                      <a:pt x="1107781" y="157591"/>
                    </a:moveTo>
                    <a:lnTo>
                      <a:pt x="1100230" y="157591"/>
                    </a:lnTo>
                    <a:lnTo>
                      <a:pt x="1100230" y="255914"/>
                    </a:lnTo>
                    <a:lnTo>
                      <a:pt x="1107781" y="255914"/>
                    </a:lnTo>
                    <a:cubicBezTo>
                      <a:pt x="1109944" y="255914"/>
                      <a:pt x="1112127" y="256052"/>
                      <a:pt x="1114270" y="256288"/>
                    </a:cubicBezTo>
                    <a:lnTo>
                      <a:pt x="1125912" y="158653"/>
                    </a:lnTo>
                    <a:cubicBezTo>
                      <a:pt x="1119934" y="157945"/>
                      <a:pt x="1113837" y="157572"/>
                      <a:pt x="1107781" y="157572"/>
                    </a:cubicBezTo>
                    <a:close/>
                    <a:moveTo>
                      <a:pt x="700470" y="30205"/>
                    </a:moveTo>
                    <a:lnTo>
                      <a:pt x="636993" y="105303"/>
                    </a:lnTo>
                    <a:cubicBezTo>
                      <a:pt x="638920" y="106936"/>
                      <a:pt x="640631" y="108784"/>
                      <a:pt x="642086" y="110829"/>
                    </a:cubicBezTo>
                    <a:lnTo>
                      <a:pt x="722219" y="53861"/>
                    </a:lnTo>
                    <a:cubicBezTo>
                      <a:pt x="715985" y="45110"/>
                      <a:pt x="708670" y="37146"/>
                      <a:pt x="700470" y="30205"/>
                    </a:cubicBezTo>
                    <a:close/>
                    <a:moveTo>
                      <a:pt x="746131" y="132145"/>
                    </a:moveTo>
                    <a:lnTo>
                      <a:pt x="648752" y="145714"/>
                    </a:lnTo>
                    <a:cubicBezTo>
                      <a:pt x="650246" y="156412"/>
                      <a:pt x="653098" y="166893"/>
                      <a:pt x="657227" y="176882"/>
                    </a:cubicBezTo>
                    <a:lnTo>
                      <a:pt x="748077" y="139284"/>
                    </a:lnTo>
                    <a:cubicBezTo>
                      <a:pt x="747134" y="137003"/>
                      <a:pt x="746485" y="134604"/>
                      <a:pt x="746150" y="132165"/>
                    </a:cubicBezTo>
                    <a:close/>
                    <a:moveTo>
                      <a:pt x="737439" y="82276"/>
                    </a:moveTo>
                    <a:lnTo>
                      <a:pt x="645606" y="117377"/>
                    </a:lnTo>
                    <a:cubicBezTo>
                      <a:pt x="646491" y="119678"/>
                      <a:pt x="647081" y="122097"/>
                      <a:pt x="647356" y="124555"/>
                    </a:cubicBezTo>
                    <a:lnTo>
                      <a:pt x="745069" y="113621"/>
                    </a:lnTo>
                    <a:cubicBezTo>
                      <a:pt x="743869" y="102885"/>
                      <a:pt x="741313" y="92344"/>
                      <a:pt x="737459" y="82276"/>
                    </a:cubicBezTo>
                    <a:close/>
                    <a:moveTo>
                      <a:pt x="593613" y="98323"/>
                    </a:moveTo>
                    <a:lnTo>
                      <a:pt x="613494" y="98323"/>
                    </a:lnTo>
                    <a:lnTo>
                      <a:pt x="613494" y="0"/>
                    </a:lnTo>
                    <a:lnTo>
                      <a:pt x="593613" y="0"/>
                    </a:lnTo>
                    <a:lnTo>
                      <a:pt x="593613" y="98323"/>
                    </a:lnTo>
                    <a:close/>
                    <a:moveTo>
                      <a:pt x="642833" y="2438"/>
                    </a:moveTo>
                    <a:lnTo>
                      <a:pt x="623739" y="98893"/>
                    </a:lnTo>
                    <a:cubicBezTo>
                      <a:pt x="626157" y="99365"/>
                      <a:pt x="628498" y="100151"/>
                      <a:pt x="630720" y="101233"/>
                    </a:cubicBezTo>
                    <a:lnTo>
                      <a:pt x="673470" y="12684"/>
                    </a:lnTo>
                    <a:cubicBezTo>
                      <a:pt x="663737" y="7984"/>
                      <a:pt x="653432" y="4542"/>
                      <a:pt x="642833" y="2438"/>
                    </a:cubicBezTo>
                    <a:close/>
                    <a:moveTo>
                      <a:pt x="781999" y="255914"/>
                    </a:moveTo>
                    <a:lnTo>
                      <a:pt x="801880" y="255914"/>
                    </a:lnTo>
                    <a:lnTo>
                      <a:pt x="801880" y="157591"/>
                    </a:lnTo>
                    <a:lnTo>
                      <a:pt x="781999" y="157591"/>
                    </a:lnTo>
                    <a:lnTo>
                      <a:pt x="781999" y="255914"/>
                    </a:lnTo>
                    <a:close/>
                    <a:moveTo>
                      <a:pt x="751755" y="145734"/>
                    </a:moveTo>
                    <a:lnTo>
                      <a:pt x="673195" y="204845"/>
                    </a:lnTo>
                    <a:cubicBezTo>
                      <a:pt x="679664" y="213439"/>
                      <a:pt x="687196" y="221186"/>
                      <a:pt x="695593" y="227912"/>
                    </a:cubicBezTo>
                    <a:lnTo>
                      <a:pt x="757005" y="151122"/>
                    </a:lnTo>
                    <a:cubicBezTo>
                      <a:pt x="755039" y="149549"/>
                      <a:pt x="753269" y="147739"/>
                      <a:pt x="751775" y="145734"/>
                    </a:cubicBezTo>
                    <a:close/>
                    <a:moveTo>
                      <a:pt x="821780" y="255914"/>
                    </a:moveTo>
                    <a:lnTo>
                      <a:pt x="841661" y="255914"/>
                    </a:lnTo>
                    <a:lnTo>
                      <a:pt x="841661" y="157591"/>
                    </a:lnTo>
                    <a:lnTo>
                      <a:pt x="821780" y="157591"/>
                    </a:lnTo>
                    <a:lnTo>
                      <a:pt x="821780" y="255914"/>
                    </a:lnTo>
                    <a:close/>
                    <a:moveTo>
                      <a:pt x="861561" y="255914"/>
                    </a:moveTo>
                    <a:lnTo>
                      <a:pt x="881442" y="255914"/>
                    </a:lnTo>
                    <a:lnTo>
                      <a:pt x="881442" y="157591"/>
                    </a:lnTo>
                    <a:lnTo>
                      <a:pt x="861561" y="157591"/>
                    </a:lnTo>
                    <a:lnTo>
                      <a:pt x="861561" y="255914"/>
                    </a:lnTo>
                    <a:close/>
                    <a:moveTo>
                      <a:pt x="1259178" y="295223"/>
                    </a:moveTo>
                    <a:lnTo>
                      <a:pt x="1161288" y="304466"/>
                    </a:lnTo>
                    <a:cubicBezTo>
                      <a:pt x="1161445" y="306196"/>
                      <a:pt x="1161524" y="307946"/>
                      <a:pt x="1161524" y="309677"/>
                    </a:cubicBezTo>
                    <a:lnTo>
                      <a:pt x="1259846" y="309677"/>
                    </a:lnTo>
                    <a:cubicBezTo>
                      <a:pt x="1259846" y="304879"/>
                      <a:pt x="1259611" y="300021"/>
                      <a:pt x="1259158" y="295223"/>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18" name="Freeform: Shape 817">
                <a:extLst>
                  <a:ext uri="{FF2B5EF4-FFF2-40B4-BE49-F238E27FC236}">
                    <a16:creationId xmlns:a16="http://schemas.microsoft.com/office/drawing/2014/main" id="{71FBAA8D-3C21-4BF3-BFC2-93A18E37852D}"/>
                  </a:ext>
                </a:extLst>
              </p:cNvPr>
              <p:cNvSpPr/>
              <p:nvPr/>
            </p:nvSpPr>
            <p:spPr>
              <a:xfrm>
                <a:off x="6498434" y="10165446"/>
                <a:ext cx="146795" cy="37165"/>
              </a:xfrm>
              <a:custGeom>
                <a:avLst/>
                <a:gdLst>
                  <a:gd name="connsiteX0" fmla="*/ 37166 w 146795"/>
                  <a:gd name="connsiteY0" fmla="*/ 0 h 37165"/>
                  <a:gd name="connsiteX1" fmla="*/ 109630 w 146795"/>
                  <a:gd name="connsiteY1" fmla="*/ 0 h 37165"/>
                  <a:gd name="connsiteX2" fmla="*/ 146796 w 146795"/>
                  <a:gd name="connsiteY2" fmla="*/ 37166 h 37165"/>
                  <a:gd name="connsiteX3" fmla="*/ 0 w 146795"/>
                  <a:gd name="connsiteY3" fmla="*/ 37166 h 37165"/>
                  <a:gd name="connsiteX4" fmla="*/ 37166 w 146795"/>
                  <a:gd name="connsiteY4" fmla="*/ 0 h 37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95" h="37165">
                    <a:moveTo>
                      <a:pt x="37166" y="0"/>
                    </a:moveTo>
                    <a:lnTo>
                      <a:pt x="109630" y="0"/>
                    </a:lnTo>
                    <a:cubicBezTo>
                      <a:pt x="130160" y="0"/>
                      <a:pt x="146796" y="16636"/>
                      <a:pt x="146796" y="37166"/>
                    </a:cubicBezTo>
                    <a:lnTo>
                      <a:pt x="0" y="37166"/>
                    </a:lnTo>
                    <a:cubicBezTo>
                      <a:pt x="0" y="16636"/>
                      <a:pt x="16637" y="0"/>
                      <a:pt x="37166" y="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19" name="Freeform: Shape 818">
                <a:extLst>
                  <a:ext uri="{FF2B5EF4-FFF2-40B4-BE49-F238E27FC236}">
                    <a16:creationId xmlns:a16="http://schemas.microsoft.com/office/drawing/2014/main" id="{5E9D3B4D-810F-4141-BEBA-0D68B524896C}"/>
                  </a:ext>
                </a:extLst>
              </p:cNvPr>
              <p:cNvSpPr/>
              <p:nvPr/>
            </p:nvSpPr>
            <p:spPr>
              <a:xfrm>
                <a:off x="7661059" y="10165446"/>
                <a:ext cx="146795" cy="37165"/>
              </a:xfrm>
              <a:custGeom>
                <a:avLst/>
                <a:gdLst>
                  <a:gd name="connsiteX0" fmla="*/ 109630 w 146795"/>
                  <a:gd name="connsiteY0" fmla="*/ 0 h 37165"/>
                  <a:gd name="connsiteX1" fmla="*/ 37166 w 146795"/>
                  <a:gd name="connsiteY1" fmla="*/ 0 h 37165"/>
                  <a:gd name="connsiteX2" fmla="*/ 0 w 146795"/>
                  <a:gd name="connsiteY2" fmla="*/ 37166 h 37165"/>
                  <a:gd name="connsiteX3" fmla="*/ 146796 w 146795"/>
                  <a:gd name="connsiteY3" fmla="*/ 37166 h 37165"/>
                  <a:gd name="connsiteX4" fmla="*/ 109630 w 146795"/>
                  <a:gd name="connsiteY4" fmla="*/ 0 h 37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795" h="37165">
                    <a:moveTo>
                      <a:pt x="109630" y="0"/>
                    </a:moveTo>
                    <a:lnTo>
                      <a:pt x="37166" y="0"/>
                    </a:lnTo>
                    <a:cubicBezTo>
                      <a:pt x="16637" y="0"/>
                      <a:pt x="0" y="16636"/>
                      <a:pt x="0" y="37166"/>
                    </a:cubicBezTo>
                    <a:lnTo>
                      <a:pt x="146796" y="37166"/>
                    </a:lnTo>
                    <a:cubicBezTo>
                      <a:pt x="146796" y="16636"/>
                      <a:pt x="130160" y="0"/>
                      <a:pt x="109630" y="0"/>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20" name="Freeform: Shape 819">
                <a:extLst>
                  <a:ext uri="{FF2B5EF4-FFF2-40B4-BE49-F238E27FC236}">
                    <a16:creationId xmlns:a16="http://schemas.microsoft.com/office/drawing/2014/main" id="{7A31DAA7-E43C-4D15-B2FB-847B57087BA7}"/>
                  </a:ext>
                </a:extLst>
              </p:cNvPr>
              <p:cNvSpPr/>
              <p:nvPr/>
            </p:nvSpPr>
            <p:spPr>
              <a:xfrm rot="16200000">
                <a:off x="7085483" y="11007135"/>
                <a:ext cx="88748" cy="88748"/>
              </a:xfrm>
              <a:custGeom>
                <a:avLst/>
                <a:gdLst>
                  <a:gd name="connsiteX0" fmla="*/ 113976 w 113975"/>
                  <a:gd name="connsiteY0" fmla="*/ 56988 h 113975"/>
                  <a:gd name="connsiteX1" fmla="*/ 56988 w 113975"/>
                  <a:gd name="connsiteY1" fmla="*/ 113975 h 113975"/>
                  <a:gd name="connsiteX2" fmla="*/ 0 w 113975"/>
                  <a:gd name="connsiteY2" fmla="*/ 56988 h 113975"/>
                  <a:gd name="connsiteX3" fmla="*/ 56988 w 113975"/>
                  <a:gd name="connsiteY3" fmla="*/ 0 h 113975"/>
                  <a:gd name="connsiteX4" fmla="*/ 113976 w 113975"/>
                  <a:gd name="connsiteY4" fmla="*/ 56988 h 113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975" h="113975">
                    <a:moveTo>
                      <a:pt x="113976" y="56988"/>
                    </a:moveTo>
                    <a:cubicBezTo>
                      <a:pt x="113976" y="88461"/>
                      <a:pt x="88461" y="113975"/>
                      <a:pt x="56988" y="113975"/>
                    </a:cubicBezTo>
                    <a:cubicBezTo>
                      <a:pt x="25515" y="113975"/>
                      <a:pt x="0" y="88461"/>
                      <a:pt x="0" y="56988"/>
                    </a:cubicBezTo>
                    <a:cubicBezTo>
                      <a:pt x="0" y="25514"/>
                      <a:pt x="25515" y="0"/>
                      <a:pt x="56988" y="0"/>
                    </a:cubicBezTo>
                    <a:cubicBezTo>
                      <a:pt x="88461" y="0"/>
                      <a:pt x="113976" y="25514"/>
                      <a:pt x="113976" y="56988"/>
                    </a:cubicBezTo>
                    <a:close/>
                  </a:path>
                </a:pathLst>
              </a:custGeom>
              <a:solidFill>
                <a:schemeClr val="bg2"/>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21" name="Freeform: Shape 820">
                <a:extLst>
                  <a:ext uri="{FF2B5EF4-FFF2-40B4-BE49-F238E27FC236}">
                    <a16:creationId xmlns:a16="http://schemas.microsoft.com/office/drawing/2014/main" id="{9BE660E2-156C-4590-B0A0-C74A33543677}"/>
                  </a:ext>
                </a:extLst>
              </p:cNvPr>
              <p:cNvSpPr/>
              <p:nvPr/>
            </p:nvSpPr>
            <p:spPr>
              <a:xfrm>
                <a:off x="7506201" y="10529180"/>
                <a:ext cx="377873" cy="373232"/>
              </a:xfrm>
              <a:custGeom>
                <a:avLst/>
                <a:gdLst>
                  <a:gd name="connsiteX0" fmla="*/ 337935 w 377873"/>
                  <a:gd name="connsiteY0" fmla="*/ 154760 h 373232"/>
                  <a:gd name="connsiteX1" fmla="*/ 337935 w 377873"/>
                  <a:gd name="connsiteY1" fmla="*/ 218473 h 373232"/>
                  <a:gd name="connsiteX2" fmla="*/ 377874 w 377873"/>
                  <a:gd name="connsiteY2" fmla="*/ 218473 h 373232"/>
                  <a:gd name="connsiteX3" fmla="*/ 377874 w 377873"/>
                  <a:gd name="connsiteY3" fmla="*/ 154760 h 373232"/>
                  <a:gd name="connsiteX4" fmla="*/ 337935 w 377873"/>
                  <a:gd name="connsiteY4" fmla="*/ 154760 h 373232"/>
                  <a:gd name="connsiteX5" fmla="*/ 0 w 377873"/>
                  <a:gd name="connsiteY5" fmla="*/ 46487 h 373232"/>
                  <a:gd name="connsiteX6" fmla="*/ 46487 w 377873"/>
                  <a:gd name="connsiteY6" fmla="*/ 46487 h 373232"/>
                  <a:gd name="connsiteX7" fmla="*/ 46487 w 377873"/>
                  <a:gd name="connsiteY7" fmla="*/ 0 h 373232"/>
                  <a:gd name="connsiteX8" fmla="*/ 0 w 377873"/>
                  <a:gd name="connsiteY8" fmla="*/ 0 h 373232"/>
                  <a:gd name="connsiteX9" fmla="*/ 0 w 377873"/>
                  <a:gd name="connsiteY9" fmla="*/ 46487 h 373232"/>
                  <a:gd name="connsiteX10" fmla="*/ 0 w 377873"/>
                  <a:gd name="connsiteY10" fmla="*/ 373232 h 373232"/>
                  <a:gd name="connsiteX11" fmla="*/ 46487 w 377873"/>
                  <a:gd name="connsiteY11" fmla="*/ 373232 h 373232"/>
                  <a:gd name="connsiteX12" fmla="*/ 46487 w 377873"/>
                  <a:gd name="connsiteY12" fmla="*/ 326746 h 373232"/>
                  <a:gd name="connsiteX13" fmla="*/ 0 w 377873"/>
                  <a:gd name="connsiteY13" fmla="*/ 326746 h 373232"/>
                  <a:gd name="connsiteX14" fmla="*/ 0 w 377873"/>
                  <a:gd name="connsiteY14" fmla="*/ 373232 h 373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7873" h="373232">
                    <a:moveTo>
                      <a:pt x="337935" y="154760"/>
                    </a:moveTo>
                    <a:lnTo>
                      <a:pt x="337935" y="218473"/>
                    </a:lnTo>
                    <a:lnTo>
                      <a:pt x="377874" y="218473"/>
                    </a:lnTo>
                    <a:lnTo>
                      <a:pt x="377874" y="154760"/>
                    </a:lnTo>
                    <a:lnTo>
                      <a:pt x="337935" y="154760"/>
                    </a:lnTo>
                    <a:close/>
                    <a:moveTo>
                      <a:pt x="0" y="46487"/>
                    </a:moveTo>
                    <a:lnTo>
                      <a:pt x="46487" y="46487"/>
                    </a:lnTo>
                    <a:lnTo>
                      <a:pt x="46487" y="0"/>
                    </a:lnTo>
                    <a:lnTo>
                      <a:pt x="0" y="0"/>
                    </a:lnTo>
                    <a:lnTo>
                      <a:pt x="0" y="46487"/>
                    </a:lnTo>
                    <a:close/>
                    <a:moveTo>
                      <a:pt x="0" y="373232"/>
                    </a:moveTo>
                    <a:lnTo>
                      <a:pt x="46487" y="373232"/>
                    </a:lnTo>
                    <a:lnTo>
                      <a:pt x="46487" y="326746"/>
                    </a:lnTo>
                    <a:lnTo>
                      <a:pt x="0" y="326746"/>
                    </a:lnTo>
                    <a:lnTo>
                      <a:pt x="0" y="373232"/>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22" name="Freeform: Shape 821">
                <a:extLst>
                  <a:ext uri="{FF2B5EF4-FFF2-40B4-BE49-F238E27FC236}">
                    <a16:creationId xmlns:a16="http://schemas.microsoft.com/office/drawing/2014/main" id="{993C672C-FED2-4D79-979C-F2A459CC17F1}"/>
                  </a:ext>
                </a:extLst>
              </p:cNvPr>
              <p:cNvSpPr/>
              <p:nvPr/>
            </p:nvSpPr>
            <p:spPr>
              <a:xfrm>
                <a:off x="7008394" y="10555334"/>
                <a:ext cx="243505" cy="243485"/>
              </a:xfrm>
              <a:custGeom>
                <a:avLst/>
                <a:gdLst>
                  <a:gd name="connsiteX0" fmla="*/ 0 w 243505"/>
                  <a:gd name="connsiteY0" fmla="*/ 243486 h 243485"/>
                  <a:gd name="connsiteX1" fmla="*/ 48178 w 243505"/>
                  <a:gd name="connsiteY1" fmla="*/ 243486 h 243485"/>
                  <a:gd name="connsiteX2" fmla="*/ 48178 w 243505"/>
                  <a:gd name="connsiteY2" fmla="*/ 101744 h 243485"/>
                  <a:gd name="connsiteX3" fmla="*/ 0 w 243505"/>
                  <a:gd name="connsiteY3" fmla="*/ 101744 h 243485"/>
                  <a:gd name="connsiteX4" fmla="*/ 0 w 243505"/>
                  <a:gd name="connsiteY4" fmla="*/ 243486 h 243485"/>
                  <a:gd name="connsiteX5" fmla="*/ 65109 w 243505"/>
                  <a:gd name="connsiteY5" fmla="*/ 243486 h 243485"/>
                  <a:gd name="connsiteX6" fmla="*/ 113287 w 243505"/>
                  <a:gd name="connsiteY6" fmla="*/ 243486 h 243485"/>
                  <a:gd name="connsiteX7" fmla="*/ 113287 w 243505"/>
                  <a:gd name="connsiteY7" fmla="*/ 152616 h 243485"/>
                  <a:gd name="connsiteX8" fmla="*/ 65109 w 243505"/>
                  <a:gd name="connsiteY8" fmla="*/ 152616 h 243485"/>
                  <a:gd name="connsiteX9" fmla="*/ 65109 w 243505"/>
                  <a:gd name="connsiteY9" fmla="*/ 243486 h 243485"/>
                  <a:gd name="connsiteX10" fmla="*/ 130218 w 243505"/>
                  <a:gd name="connsiteY10" fmla="*/ 243486 h 243485"/>
                  <a:gd name="connsiteX11" fmla="*/ 178396 w 243505"/>
                  <a:gd name="connsiteY11" fmla="*/ 243486 h 243485"/>
                  <a:gd name="connsiteX12" fmla="*/ 178396 w 243505"/>
                  <a:gd name="connsiteY12" fmla="*/ 50872 h 243485"/>
                  <a:gd name="connsiteX13" fmla="*/ 130218 w 243505"/>
                  <a:gd name="connsiteY13" fmla="*/ 50872 h 243485"/>
                  <a:gd name="connsiteX14" fmla="*/ 130218 w 243505"/>
                  <a:gd name="connsiteY14" fmla="*/ 243486 h 243485"/>
                  <a:gd name="connsiteX15" fmla="*/ 195328 w 243505"/>
                  <a:gd name="connsiteY15" fmla="*/ 0 h 243485"/>
                  <a:gd name="connsiteX16" fmla="*/ 195328 w 243505"/>
                  <a:gd name="connsiteY16" fmla="*/ 243486 h 243485"/>
                  <a:gd name="connsiteX17" fmla="*/ 243506 w 243505"/>
                  <a:gd name="connsiteY17" fmla="*/ 243486 h 243485"/>
                  <a:gd name="connsiteX18" fmla="*/ 243506 w 243505"/>
                  <a:gd name="connsiteY18" fmla="*/ 0 h 243485"/>
                  <a:gd name="connsiteX19" fmla="*/ 195328 w 243505"/>
                  <a:gd name="connsiteY19" fmla="*/ 0 h 24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3505" h="243485">
                    <a:moveTo>
                      <a:pt x="0" y="243486"/>
                    </a:moveTo>
                    <a:lnTo>
                      <a:pt x="48178" y="243486"/>
                    </a:lnTo>
                    <a:lnTo>
                      <a:pt x="48178" y="101744"/>
                    </a:lnTo>
                    <a:lnTo>
                      <a:pt x="0" y="101744"/>
                    </a:lnTo>
                    <a:lnTo>
                      <a:pt x="0" y="243486"/>
                    </a:lnTo>
                    <a:close/>
                    <a:moveTo>
                      <a:pt x="65109" y="243486"/>
                    </a:moveTo>
                    <a:lnTo>
                      <a:pt x="113287" y="243486"/>
                    </a:lnTo>
                    <a:lnTo>
                      <a:pt x="113287" y="152616"/>
                    </a:lnTo>
                    <a:lnTo>
                      <a:pt x="65109" y="152616"/>
                    </a:lnTo>
                    <a:lnTo>
                      <a:pt x="65109" y="243486"/>
                    </a:lnTo>
                    <a:close/>
                    <a:moveTo>
                      <a:pt x="130218" y="243486"/>
                    </a:moveTo>
                    <a:lnTo>
                      <a:pt x="178396" y="243486"/>
                    </a:lnTo>
                    <a:lnTo>
                      <a:pt x="178396" y="50872"/>
                    </a:lnTo>
                    <a:lnTo>
                      <a:pt x="130218" y="50872"/>
                    </a:lnTo>
                    <a:lnTo>
                      <a:pt x="130218" y="243486"/>
                    </a:lnTo>
                    <a:close/>
                    <a:moveTo>
                      <a:pt x="195328" y="0"/>
                    </a:moveTo>
                    <a:lnTo>
                      <a:pt x="195328" y="243486"/>
                    </a:lnTo>
                    <a:lnTo>
                      <a:pt x="243506" y="243486"/>
                    </a:lnTo>
                    <a:lnTo>
                      <a:pt x="243506" y="0"/>
                    </a:lnTo>
                    <a:lnTo>
                      <a:pt x="195328" y="0"/>
                    </a:lnTo>
                    <a:close/>
                  </a:path>
                </a:pathLst>
              </a:custGeom>
              <a:solidFill>
                <a:srgbClr val="FFFF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823" name="Graphic 10">
                <a:extLst>
                  <a:ext uri="{FF2B5EF4-FFF2-40B4-BE49-F238E27FC236}">
                    <a16:creationId xmlns:a16="http://schemas.microsoft.com/office/drawing/2014/main" id="{3A7E1E73-957D-4780-A5FE-0B0F608E1DBC}"/>
                  </a:ext>
                </a:extLst>
              </p:cNvPr>
              <p:cNvGrpSpPr/>
              <p:nvPr/>
            </p:nvGrpSpPr>
            <p:grpSpPr>
              <a:xfrm>
                <a:off x="4808839" y="10202612"/>
                <a:ext cx="1473816" cy="1175623"/>
                <a:chOff x="4808839" y="10202612"/>
                <a:chExt cx="1473816" cy="1175623"/>
              </a:xfrm>
            </p:grpSpPr>
            <p:sp>
              <p:nvSpPr>
                <p:cNvPr id="1070" name="Freeform: Shape 1069">
                  <a:extLst>
                    <a:ext uri="{FF2B5EF4-FFF2-40B4-BE49-F238E27FC236}">
                      <a16:creationId xmlns:a16="http://schemas.microsoft.com/office/drawing/2014/main" id="{EFD01AAA-BCC7-4D61-8A32-FEB7E3E9DB04}"/>
                    </a:ext>
                  </a:extLst>
                </p:cNvPr>
                <p:cNvSpPr/>
                <p:nvPr/>
              </p:nvSpPr>
              <p:spPr>
                <a:xfrm>
                  <a:off x="5373840" y="10202612"/>
                  <a:ext cx="343814" cy="327551"/>
                </a:xfrm>
                <a:custGeom>
                  <a:avLst/>
                  <a:gdLst>
                    <a:gd name="connsiteX0" fmla="*/ 0 w 343814"/>
                    <a:gd name="connsiteY0" fmla="*/ 0 h 327551"/>
                    <a:gd name="connsiteX1" fmla="*/ 343815 w 343814"/>
                    <a:gd name="connsiteY1" fmla="*/ 0 h 327551"/>
                    <a:gd name="connsiteX2" fmla="*/ 343815 w 343814"/>
                    <a:gd name="connsiteY2" fmla="*/ 327552 h 327551"/>
                    <a:gd name="connsiteX3" fmla="*/ 0 w 343814"/>
                    <a:gd name="connsiteY3" fmla="*/ 327552 h 327551"/>
                  </a:gdLst>
                  <a:ahLst/>
                  <a:cxnLst>
                    <a:cxn ang="0">
                      <a:pos x="connsiteX0" y="connsiteY0"/>
                    </a:cxn>
                    <a:cxn ang="0">
                      <a:pos x="connsiteX1" y="connsiteY1"/>
                    </a:cxn>
                    <a:cxn ang="0">
                      <a:pos x="connsiteX2" y="connsiteY2"/>
                    </a:cxn>
                    <a:cxn ang="0">
                      <a:pos x="connsiteX3" y="connsiteY3"/>
                    </a:cxn>
                  </a:cxnLst>
                  <a:rect l="l" t="t" r="r" b="b"/>
                  <a:pathLst>
                    <a:path w="343814" h="327551">
                      <a:moveTo>
                        <a:pt x="0" y="0"/>
                      </a:moveTo>
                      <a:lnTo>
                        <a:pt x="343815" y="0"/>
                      </a:lnTo>
                      <a:lnTo>
                        <a:pt x="343815" y="327552"/>
                      </a:lnTo>
                      <a:lnTo>
                        <a:pt x="0" y="327552"/>
                      </a:lnTo>
                      <a:close/>
                    </a:path>
                  </a:pathLst>
                </a:custGeom>
                <a:solidFill>
                  <a:srgbClr val="C9C9DB"/>
                </a:solidFill>
                <a:ln w="770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71" name="Freeform: Shape 1070">
                  <a:extLst>
                    <a:ext uri="{FF2B5EF4-FFF2-40B4-BE49-F238E27FC236}">
                      <a16:creationId xmlns:a16="http://schemas.microsoft.com/office/drawing/2014/main" id="{F29914A4-BD83-4935-9262-DB0F58E0E261}"/>
                    </a:ext>
                  </a:extLst>
                </p:cNvPr>
                <p:cNvSpPr/>
                <p:nvPr/>
              </p:nvSpPr>
              <p:spPr>
                <a:xfrm rot="10800000">
                  <a:off x="5717674" y="10719847"/>
                  <a:ext cx="564981" cy="102294"/>
                </a:xfrm>
                <a:custGeom>
                  <a:avLst/>
                  <a:gdLst>
                    <a:gd name="connsiteX0" fmla="*/ 0 w 564981"/>
                    <a:gd name="connsiteY0" fmla="*/ 0 h 102294"/>
                    <a:gd name="connsiteX1" fmla="*/ 564982 w 564981"/>
                    <a:gd name="connsiteY1" fmla="*/ 0 h 102294"/>
                    <a:gd name="connsiteX2" fmla="*/ 564982 w 564981"/>
                    <a:gd name="connsiteY2" fmla="*/ 102295 h 102294"/>
                    <a:gd name="connsiteX3" fmla="*/ 0 w 564981"/>
                    <a:gd name="connsiteY3" fmla="*/ 102295 h 102294"/>
                  </a:gdLst>
                  <a:ahLst/>
                  <a:cxnLst>
                    <a:cxn ang="0">
                      <a:pos x="connsiteX0" y="connsiteY0"/>
                    </a:cxn>
                    <a:cxn ang="0">
                      <a:pos x="connsiteX1" y="connsiteY1"/>
                    </a:cxn>
                    <a:cxn ang="0">
                      <a:pos x="connsiteX2" y="connsiteY2"/>
                    </a:cxn>
                    <a:cxn ang="0">
                      <a:pos x="connsiteX3" y="connsiteY3"/>
                    </a:cxn>
                  </a:cxnLst>
                  <a:rect l="l" t="t" r="r" b="b"/>
                  <a:pathLst>
                    <a:path w="564981" h="102294">
                      <a:moveTo>
                        <a:pt x="0" y="0"/>
                      </a:moveTo>
                      <a:lnTo>
                        <a:pt x="564982" y="0"/>
                      </a:lnTo>
                      <a:lnTo>
                        <a:pt x="564982" y="102295"/>
                      </a:lnTo>
                      <a:lnTo>
                        <a:pt x="0" y="102295"/>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72" name="Freeform: Shape 1071">
                  <a:extLst>
                    <a:ext uri="{FF2B5EF4-FFF2-40B4-BE49-F238E27FC236}">
                      <a16:creationId xmlns:a16="http://schemas.microsoft.com/office/drawing/2014/main" id="{16A669F8-283B-4365-A239-7494D847B64A}"/>
                    </a:ext>
                  </a:extLst>
                </p:cNvPr>
                <p:cNvSpPr/>
                <p:nvPr/>
              </p:nvSpPr>
              <p:spPr>
                <a:xfrm rot="10800000">
                  <a:off x="4808839" y="10936098"/>
                  <a:ext cx="1473796" cy="442117"/>
                </a:xfrm>
                <a:custGeom>
                  <a:avLst/>
                  <a:gdLst>
                    <a:gd name="connsiteX0" fmla="*/ 0 w 1473796"/>
                    <a:gd name="connsiteY0" fmla="*/ 0 h 442117"/>
                    <a:gd name="connsiteX1" fmla="*/ 1473796 w 1473796"/>
                    <a:gd name="connsiteY1" fmla="*/ 0 h 442117"/>
                    <a:gd name="connsiteX2" fmla="*/ 1473796 w 1473796"/>
                    <a:gd name="connsiteY2" fmla="*/ 442117 h 442117"/>
                    <a:gd name="connsiteX3" fmla="*/ 0 w 1473796"/>
                    <a:gd name="connsiteY3" fmla="*/ 442117 h 442117"/>
                  </a:gdLst>
                  <a:ahLst/>
                  <a:cxnLst>
                    <a:cxn ang="0">
                      <a:pos x="connsiteX0" y="connsiteY0"/>
                    </a:cxn>
                    <a:cxn ang="0">
                      <a:pos x="connsiteX1" y="connsiteY1"/>
                    </a:cxn>
                    <a:cxn ang="0">
                      <a:pos x="connsiteX2" y="connsiteY2"/>
                    </a:cxn>
                    <a:cxn ang="0">
                      <a:pos x="connsiteX3" y="connsiteY3"/>
                    </a:cxn>
                  </a:cxnLst>
                  <a:rect l="l" t="t" r="r" b="b"/>
                  <a:pathLst>
                    <a:path w="1473796" h="442117">
                      <a:moveTo>
                        <a:pt x="0" y="0"/>
                      </a:moveTo>
                      <a:lnTo>
                        <a:pt x="1473796" y="0"/>
                      </a:lnTo>
                      <a:lnTo>
                        <a:pt x="1473796" y="442117"/>
                      </a:lnTo>
                      <a:lnTo>
                        <a:pt x="0" y="442117"/>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73" name="Freeform: Shape 1072">
                  <a:extLst>
                    <a:ext uri="{FF2B5EF4-FFF2-40B4-BE49-F238E27FC236}">
                      <a16:creationId xmlns:a16="http://schemas.microsoft.com/office/drawing/2014/main" id="{DC79F958-5046-483E-9D41-94E5602ED1DF}"/>
                    </a:ext>
                  </a:extLst>
                </p:cNvPr>
                <p:cNvSpPr/>
                <p:nvPr/>
              </p:nvSpPr>
              <p:spPr>
                <a:xfrm rot="10800000">
                  <a:off x="4869583" y="11108300"/>
                  <a:ext cx="205454" cy="121821"/>
                </a:xfrm>
                <a:custGeom>
                  <a:avLst/>
                  <a:gdLst>
                    <a:gd name="connsiteX0" fmla="*/ 46015 w 205454"/>
                    <a:gd name="connsiteY0" fmla="*/ 0 h 121821"/>
                    <a:gd name="connsiteX1" fmla="*/ 159440 w 205454"/>
                    <a:gd name="connsiteY1" fmla="*/ 0 h 121821"/>
                    <a:gd name="connsiteX2" fmla="*/ 205455 w 205454"/>
                    <a:gd name="connsiteY2" fmla="*/ 46015 h 121821"/>
                    <a:gd name="connsiteX3" fmla="*/ 205455 w 205454"/>
                    <a:gd name="connsiteY3" fmla="*/ 121822 h 121821"/>
                    <a:gd name="connsiteX4" fmla="*/ 0 w 205454"/>
                    <a:gd name="connsiteY4" fmla="*/ 121822 h 121821"/>
                    <a:gd name="connsiteX5" fmla="*/ 0 w 205454"/>
                    <a:gd name="connsiteY5" fmla="*/ 46015 h 121821"/>
                    <a:gd name="connsiteX6" fmla="*/ 46015 w 205454"/>
                    <a:gd name="connsiteY6" fmla="*/ 0 h 12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454" h="121821">
                      <a:moveTo>
                        <a:pt x="46015" y="0"/>
                      </a:moveTo>
                      <a:lnTo>
                        <a:pt x="159440" y="0"/>
                      </a:lnTo>
                      <a:cubicBezTo>
                        <a:pt x="184827" y="0"/>
                        <a:pt x="205455" y="20628"/>
                        <a:pt x="205455" y="46015"/>
                      </a:cubicBezTo>
                      <a:lnTo>
                        <a:pt x="205455" y="121822"/>
                      </a:lnTo>
                      <a:lnTo>
                        <a:pt x="0" y="121822"/>
                      </a:lnTo>
                      <a:lnTo>
                        <a:pt x="0" y="46015"/>
                      </a:lnTo>
                      <a:cubicBezTo>
                        <a:pt x="0" y="20628"/>
                        <a:pt x="20628" y="0"/>
                        <a:pt x="46015" y="0"/>
                      </a:cubicBez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74" name="Freeform: Shape 1073">
                  <a:extLst>
                    <a:ext uri="{FF2B5EF4-FFF2-40B4-BE49-F238E27FC236}">
                      <a16:creationId xmlns:a16="http://schemas.microsoft.com/office/drawing/2014/main" id="{A36948A3-2642-42E5-A3F6-EB0F9DF5C74C}"/>
                    </a:ext>
                  </a:extLst>
                </p:cNvPr>
                <p:cNvSpPr/>
                <p:nvPr/>
              </p:nvSpPr>
              <p:spPr>
                <a:xfrm>
                  <a:off x="4968377" y="11230102"/>
                  <a:ext cx="7865" cy="148113"/>
                </a:xfrm>
                <a:custGeom>
                  <a:avLst/>
                  <a:gdLst>
                    <a:gd name="connsiteX0" fmla="*/ 0 w 7865"/>
                    <a:gd name="connsiteY0" fmla="*/ 0 h 148113"/>
                    <a:gd name="connsiteX1" fmla="*/ 7866 w 7865"/>
                    <a:gd name="connsiteY1" fmla="*/ 0 h 148113"/>
                    <a:gd name="connsiteX2" fmla="*/ 7866 w 7865"/>
                    <a:gd name="connsiteY2" fmla="*/ 148113 h 148113"/>
                    <a:gd name="connsiteX3" fmla="*/ 0 w 7865"/>
                    <a:gd name="connsiteY3" fmla="*/ 148113 h 148113"/>
                  </a:gdLst>
                  <a:ahLst/>
                  <a:cxnLst>
                    <a:cxn ang="0">
                      <a:pos x="connsiteX0" y="connsiteY0"/>
                    </a:cxn>
                    <a:cxn ang="0">
                      <a:pos x="connsiteX1" y="connsiteY1"/>
                    </a:cxn>
                    <a:cxn ang="0">
                      <a:pos x="connsiteX2" y="connsiteY2"/>
                    </a:cxn>
                    <a:cxn ang="0">
                      <a:pos x="connsiteX3" y="connsiteY3"/>
                    </a:cxn>
                  </a:cxnLst>
                  <a:rect l="l" t="t" r="r" b="b"/>
                  <a:pathLst>
                    <a:path w="7865" h="148113">
                      <a:moveTo>
                        <a:pt x="0" y="0"/>
                      </a:moveTo>
                      <a:lnTo>
                        <a:pt x="7866" y="0"/>
                      </a:lnTo>
                      <a:lnTo>
                        <a:pt x="7866" y="148113"/>
                      </a:lnTo>
                      <a:lnTo>
                        <a:pt x="0" y="148113"/>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75" name="Freeform: Shape 1074">
                  <a:extLst>
                    <a:ext uri="{FF2B5EF4-FFF2-40B4-BE49-F238E27FC236}">
                      <a16:creationId xmlns:a16="http://schemas.microsoft.com/office/drawing/2014/main" id="{FE01189D-A64E-4B2C-9638-61EB6AF26F4B}"/>
                    </a:ext>
                  </a:extLst>
                </p:cNvPr>
                <p:cNvSpPr/>
                <p:nvPr/>
              </p:nvSpPr>
              <p:spPr>
                <a:xfrm rot="10800000">
                  <a:off x="6129370" y="10719847"/>
                  <a:ext cx="108843" cy="216250"/>
                </a:xfrm>
                <a:custGeom>
                  <a:avLst/>
                  <a:gdLst>
                    <a:gd name="connsiteX0" fmla="*/ 0 w 108843"/>
                    <a:gd name="connsiteY0" fmla="*/ 0 h 216250"/>
                    <a:gd name="connsiteX1" fmla="*/ 108843 w 108843"/>
                    <a:gd name="connsiteY1" fmla="*/ 0 h 216250"/>
                    <a:gd name="connsiteX2" fmla="*/ 108843 w 108843"/>
                    <a:gd name="connsiteY2" fmla="*/ 216251 h 216250"/>
                    <a:gd name="connsiteX3" fmla="*/ 0 w 108843"/>
                    <a:gd name="connsiteY3" fmla="*/ 216251 h 216250"/>
                  </a:gdLst>
                  <a:ahLst/>
                  <a:cxnLst>
                    <a:cxn ang="0">
                      <a:pos x="connsiteX0" y="connsiteY0"/>
                    </a:cxn>
                    <a:cxn ang="0">
                      <a:pos x="connsiteX1" y="connsiteY1"/>
                    </a:cxn>
                    <a:cxn ang="0">
                      <a:pos x="connsiteX2" y="connsiteY2"/>
                    </a:cxn>
                    <a:cxn ang="0">
                      <a:pos x="connsiteX3" y="connsiteY3"/>
                    </a:cxn>
                  </a:cxnLst>
                  <a:rect l="l" t="t" r="r" b="b"/>
                  <a:pathLst>
                    <a:path w="108843" h="216250">
                      <a:moveTo>
                        <a:pt x="0" y="0"/>
                      </a:moveTo>
                      <a:lnTo>
                        <a:pt x="108843" y="0"/>
                      </a:lnTo>
                      <a:lnTo>
                        <a:pt x="108843" y="216251"/>
                      </a:lnTo>
                      <a:lnTo>
                        <a:pt x="0" y="216251"/>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76" name="Freeform: Shape 1075">
                  <a:extLst>
                    <a:ext uri="{FF2B5EF4-FFF2-40B4-BE49-F238E27FC236}">
                      <a16:creationId xmlns:a16="http://schemas.microsoft.com/office/drawing/2014/main" id="{FAF2109B-C73E-42D0-ACA2-6AF69A67B98D}"/>
                    </a:ext>
                  </a:extLst>
                </p:cNvPr>
                <p:cNvSpPr/>
                <p:nvPr/>
              </p:nvSpPr>
              <p:spPr>
                <a:xfrm rot="10800000">
                  <a:off x="6238233" y="10202631"/>
                  <a:ext cx="44422" cy="1175603"/>
                </a:xfrm>
                <a:custGeom>
                  <a:avLst/>
                  <a:gdLst>
                    <a:gd name="connsiteX0" fmla="*/ 0 w 44422"/>
                    <a:gd name="connsiteY0" fmla="*/ 0 h 1175603"/>
                    <a:gd name="connsiteX1" fmla="*/ 44422 w 44422"/>
                    <a:gd name="connsiteY1" fmla="*/ 0 h 1175603"/>
                    <a:gd name="connsiteX2" fmla="*/ 44422 w 44422"/>
                    <a:gd name="connsiteY2" fmla="*/ 1175604 h 1175603"/>
                    <a:gd name="connsiteX3" fmla="*/ 0 w 44422"/>
                    <a:gd name="connsiteY3" fmla="*/ 1175604 h 1175603"/>
                  </a:gdLst>
                  <a:ahLst/>
                  <a:cxnLst>
                    <a:cxn ang="0">
                      <a:pos x="connsiteX0" y="connsiteY0"/>
                    </a:cxn>
                    <a:cxn ang="0">
                      <a:pos x="connsiteX1" y="connsiteY1"/>
                    </a:cxn>
                    <a:cxn ang="0">
                      <a:pos x="connsiteX2" y="connsiteY2"/>
                    </a:cxn>
                    <a:cxn ang="0">
                      <a:pos x="connsiteX3" y="connsiteY3"/>
                    </a:cxn>
                  </a:cxnLst>
                  <a:rect l="l" t="t" r="r" b="b"/>
                  <a:pathLst>
                    <a:path w="44422" h="1175603">
                      <a:moveTo>
                        <a:pt x="0" y="0"/>
                      </a:moveTo>
                      <a:lnTo>
                        <a:pt x="44422" y="0"/>
                      </a:lnTo>
                      <a:lnTo>
                        <a:pt x="44422" y="1175604"/>
                      </a:lnTo>
                      <a:lnTo>
                        <a:pt x="0" y="117560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77" name="Freeform: Shape 1076">
                  <a:extLst>
                    <a:ext uri="{FF2B5EF4-FFF2-40B4-BE49-F238E27FC236}">
                      <a16:creationId xmlns:a16="http://schemas.microsoft.com/office/drawing/2014/main" id="{65ED7942-E98F-4DF7-9086-6EDB7FCFA505}"/>
                    </a:ext>
                  </a:extLst>
                </p:cNvPr>
                <p:cNvSpPr/>
                <p:nvPr/>
              </p:nvSpPr>
              <p:spPr>
                <a:xfrm rot="10800000">
                  <a:off x="4808839" y="10202631"/>
                  <a:ext cx="44422" cy="1175603"/>
                </a:xfrm>
                <a:custGeom>
                  <a:avLst/>
                  <a:gdLst>
                    <a:gd name="connsiteX0" fmla="*/ 0 w 44422"/>
                    <a:gd name="connsiteY0" fmla="*/ 0 h 1175603"/>
                    <a:gd name="connsiteX1" fmla="*/ 44422 w 44422"/>
                    <a:gd name="connsiteY1" fmla="*/ 0 h 1175603"/>
                    <a:gd name="connsiteX2" fmla="*/ 44422 w 44422"/>
                    <a:gd name="connsiteY2" fmla="*/ 1175604 h 1175603"/>
                    <a:gd name="connsiteX3" fmla="*/ 0 w 44422"/>
                    <a:gd name="connsiteY3" fmla="*/ 1175604 h 1175603"/>
                  </a:gdLst>
                  <a:ahLst/>
                  <a:cxnLst>
                    <a:cxn ang="0">
                      <a:pos x="connsiteX0" y="connsiteY0"/>
                    </a:cxn>
                    <a:cxn ang="0">
                      <a:pos x="connsiteX1" y="connsiteY1"/>
                    </a:cxn>
                    <a:cxn ang="0">
                      <a:pos x="connsiteX2" y="connsiteY2"/>
                    </a:cxn>
                    <a:cxn ang="0">
                      <a:pos x="connsiteX3" y="connsiteY3"/>
                    </a:cxn>
                  </a:cxnLst>
                  <a:rect l="l" t="t" r="r" b="b"/>
                  <a:pathLst>
                    <a:path w="44422" h="1175603">
                      <a:moveTo>
                        <a:pt x="0" y="0"/>
                      </a:moveTo>
                      <a:lnTo>
                        <a:pt x="44422" y="0"/>
                      </a:lnTo>
                      <a:lnTo>
                        <a:pt x="44422" y="1175604"/>
                      </a:lnTo>
                      <a:lnTo>
                        <a:pt x="0" y="117560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078" name="Graphic 10">
                  <a:extLst>
                    <a:ext uri="{FF2B5EF4-FFF2-40B4-BE49-F238E27FC236}">
                      <a16:creationId xmlns:a16="http://schemas.microsoft.com/office/drawing/2014/main" id="{BEA94EA7-A42E-4A61-AA74-516F7D8E3547}"/>
                    </a:ext>
                  </a:extLst>
                </p:cNvPr>
                <p:cNvGrpSpPr/>
                <p:nvPr/>
              </p:nvGrpSpPr>
              <p:grpSpPr>
                <a:xfrm>
                  <a:off x="5717654" y="10202612"/>
                  <a:ext cx="565000" cy="517255"/>
                  <a:chOff x="5717654" y="10202612"/>
                  <a:chExt cx="565000" cy="517255"/>
                </a:xfrm>
              </p:grpSpPr>
              <p:sp>
                <p:nvSpPr>
                  <p:cNvPr id="1182" name="Freeform: Shape 1181">
                    <a:extLst>
                      <a:ext uri="{FF2B5EF4-FFF2-40B4-BE49-F238E27FC236}">
                        <a16:creationId xmlns:a16="http://schemas.microsoft.com/office/drawing/2014/main" id="{22EC5427-5CB1-4837-A591-6BE84F9FFD6F}"/>
                      </a:ext>
                    </a:extLst>
                  </p:cNvPr>
                  <p:cNvSpPr/>
                  <p:nvPr/>
                </p:nvSpPr>
                <p:spPr>
                  <a:xfrm rot="10800000">
                    <a:off x="6000155" y="10202631"/>
                    <a:ext cx="282500" cy="517235"/>
                  </a:xfrm>
                  <a:custGeom>
                    <a:avLst/>
                    <a:gdLst>
                      <a:gd name="connsiteX0" fmla="*/ 0 w 282500"/>
                      <a:gd name="connsiteY0" fmla="*/ 0 h 517235"/>
                      <a:gd name="connsiteX1" fmla="*/ 282500 w 282500"/>
                      <a:gd name="connsiteY1" fmla="*/ 0 h 517235"/>
                      <a:gd name="connsiteX2" fmla="*/ 282500 w 282500"/>
                      <a:gd name="connsiteY2" fmla="*/ 517236 h 517235"/>
                      <a:gd name="connsiteX3" fmla="*/ 0 w 282500"/>
                      <a:gd name="connsiteY3" fmla="*/ 517236 h 517235"/>
                    </a:gdLst>
                    <a:ahLst/>
                    <a:cxnLst>
                      <a:cxn ang="0">
                        <a:pos x="connsiteX0" y="connsiteY0"/>
                      </a:cxn>
                      <a:cxn ang="0">
                        <a:pos x="connsiteX1" y="connsiteY1"/>
                      </a:cxn>
                      <a:cxn ang="0">
                        <a:pos x="connsiteX2" y="connsiteY2"/>
                      </a:cxn>
                      <a:cxn ang="0">
                        <a:pos x="connsiteX3" y="connsiteY3"/>
                      </a:cxn>
                    </a:cxnLst>
                    <a:rect l="l" t="t" r="r" b="b"/>
                    <a:pathLst>
                      <a:path w="282500" h="517235">
                        <a:moveTo>
                          <a:pt x="0" y="0"/>
                        </a:moveTo>
                        <a:lnTo>
                          <a:pt x="282500" y="0"/>
                        </a:lnTo>
                        <a:lnTo>
                          <a:pt x="282500" y="517236"/>
                        </a:lnTo>
                        <a:lnTo>
                          <a:pt x="0" y="517236"/>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83" name="Freeform: Shape 1182">
                    <a:extLst>
                      <a:ext uri="{FF2B5EF4-FFF2-40B4-BE49-F238E27FC236}">
                        <a16:creationId xmlns:a16="http://schemas.microsoft.com/office/drawing/2014/main" id="{511CAF16-6B43-4BC6-93C8-D6172A183501}"/>
                      </a:ext>
                    </a:extLst>
                  </p:cNvPr>
                  <p:cNvSpPr/>
                  <p:nvPr/>
                </p:nvSpPr>
                <p:spPr>
                  <a:xfrm>
                    <a:off x="5717654" y="10202612"/>
                    <a:ext cx="282500" cy="517235"/>
                  </a:xfrm>
                  <a:custGeom>
                    <a:avLst/>
                    <a:gdLst>
                      <a:gd name="connsiteX0" fmla="*/ 0 w 282500"/>
                      <a:gd name="connsiteY0" fmla="*/ 0 h 517235"/>
                      <a:gd name="connsiteX1" fmla="*/ 282500 w 282500"/>
                      <a:gd name="connsiteY1" fmla="*/ 0 h 517235"/>
                      <a:gd name="connsiteX2" fmla="*/ 282500 w 282500"/>
                      <a:gd name="connsiteY2" fmla="*/ 517236 h 517235"/>
                      <a:gd name="connsiteX3" fmla="*/ 0 w 282500"/>
                      <a:gd name="connsiteY3" fmla="*/ 517236 h 517235"/>
                    </a:gdLst>
                    <a:ahLst/>
                    <a:cxnLst>
                      <a:cxn ang="0">
                        <a:pos x="connsiteX0" y="connsiteY0"/>
                      </a:cxn>
                      <a:cxn ang="0">
                        <a:pos x="connsiteX1" y="connsiteY1"/>
                      </a:cxn>
                      <a:cxn ang="0">
                        <a:pos x="connsiteX2" y="connsiteY2"/>
                      </a:cxn>
                      <a:cxn ang="0">
                        <a:pos x="connsiteX3" y="connsiteY3"/>
                      </a:cxn>
                    </a:cxnLst>
                    <a:rect l="l" t="t" r="r" b="b"/>
                    <a:pathLst>
                      <a:path w="282500" h="517235">
                        <a:moveTo>
                          <a:pt x="0" y="0"/>
                        </a:moveTo>
                        <a:lnTo>
                          <a:pt x="282500" y="0"/>
                        </a:lnTo>
                        <a:lnTo>
                          <a:pt x="282500" y="517236"/>
                        </a:lnTo>
                        <a:lnTo>
                          <a:pt x="0" y="517236"/>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84" name="Freeform: Shape 1183">
                    <a:extLst>
                      <a:ext uri="{FF2B5EF4-FFF2-40B4-BE49-F238E27FC236}">
                        <a16:creationId xmlns:a16="http://schemas.microsoft.com/office/drawing/2014/main" id="{BEE766DE-6EB6-4CC7-813B-3F1C0ECABBD2}"/>
                      </a:ext>
                    </a:extLst>
                  </p:cNvPr>
                  <p:cNvSpPr/>
                  <p:nvPr/>
                </p:nvSpPr>
                <p:spPr>
                  <a:xfrm>
                    <a:off x="5996222" y="10202612"/>
                    <a:ext cx="7865" cy="517235"/>
                  </a:xfrm>
                  <a:custGeom>
                    <a:avLst/>
                    <a:gdLst>
                      <a:gd name="connsiteX0" fmla="*/ 0 w 7865"/>
                      <a:gd name="connsiteY0" fmla="*/ 0 h 517235"/>
                      <a:gd name="connsiteX1" fmla="*/ 7866 w 7865"/>
                      <a:gd name="connsiteY1" fmla="*/ 0 h 517235"/>
                      <a:gd name="connsiteX2" fmla="*/ 7866 w 7865"/>
                      <a:gd name="connsiteY2" fmla="*/ 517236 h 517235"/>
                      <a:gd name="connsiteX3" fmla="*/ 0 w 7865"/>
                      <a:gd name="connsiteY3" fmla="*/ 517236 h 517235"/>
                    </a:gdLst>
                    <a:ahLst/>
                    <a:cxnLst>
                      <a:cxn ang="0">
                        <a:pos x="connsiteX0" y="connsiteY0"/>
                      </a:cxn>
                      <a:cxn ang="0">
                        <a:pos x="connsiteX1" y="connsiteY1"/>
                      </a:cxn>
                      <a:cxn ang="0">
                        <a:pos x="connsiteX2" y="connsiteY2"/>
                      </a:cxn>
                      <a:cxn ang="0">
                        <a:pos x="connsiteX3" y="connsiteY3"/>
                      </a:cxn>
                    </a:cxnLst>
                    <a:rect l="l" t="t" r="r" b="b"/>
                    <a:pathLst>
                      <a:path w="7865" h="517235">
                        <a:moveTo>
                          <a:pt x="0" y="0"/>
                        </a:moveTo>
                        <a:lnTo>
                          <a:pt x="7866" y="0"/>
                        </a:lnTo>
                        <a:lnTo>
                          <a:pt x="7866" y="517236"/>
                        </a:lnTo>
                        <a:lnTo>
                          <a:pt x="0" y="517236"/>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85" name="Freeform: Shape 1184">
                    <a:extLst>
                      <a:ext uri="{FF2B5EF4-FFF2-40B4-BE49-F238E27FC236}">
                        <a16:creationId xmlns:a16="http://schemas.microsoft.com/office/drawing/2014/main" id="{0FB85D94-A03C-406D-98AF-30C249D76E8F}"/>
                      </a:ext>
                    </a:extLst>
                  </p:cNvPr>
                  <p:cNvSpPr/>
                  <p:nvPr/>
                </p:nvSpPr>
                <p:spPr>
                  <a:xfrm rot="10800000">
                    <a:off x="6044577" y="10287995"/>
                    <a:ext cx="193636" cy="346488"/>
                  </a:xfrm>
                  <a:custGeom>
                    <a:avLst/>
                    <a:gdLst>
                      <a:gd name="connsiteX0" fmla="*/ 0 w 193636"/>
                      <a:gd name="connsiteY0" fmla="*/ 0 h 346488"/>
                      <a:gd name="connsiteX1" fmla="*/ 193637 w 193636"/>
                      <a:gd name="connsiteY1" fmla="*/ 0 h 346488"/>
                      <a:gd name="connsiteX2" fmla="*/ 193637 w 193636"/>
                      <a:gd name="connsiteY2" fmla="*/ 346489 h 346488"/>
                      <a:gd name="connsiteX3" fmla="*/ 0 w 193636"/>
                      <a:gd name="connsiteY3" fmla="*/ 346489 h 346488"/>
                    </a:gdLst>
                    <a:ahLst/>
                    <a:cxnLst>
                      <a:cxn ang="0">
                        <a:pos x="connsiteX0" y="connsiteY0"/>
                      </a:cxn>
                      <a:cxn ang="0">
                        <a:pos x="connsiteX1" y="connsiteY1"/>
                      </a:cxn>
                      <a:cxn ang="0">
                        <a:pos x="connsiteX2" y="connsiteY2"/>
                      </a:cxn>
                      <a:cxn ang="0">
                        <a:pos x="connsiteX3" y="connsiteY3"/>
                      </a:cxn>
                    </a:cxnLst>
                    <a:rect l="l" t="t" r="r" b="b"/>
                    <a:pathLst>
                      <a:path w="193636" h="346488">
                        <a:moveTo>
                          <a:pt x="0" y="0"/>
                        </a:moveTo>
                        <a:lnTo>
                          <a:pt x="193637" y="0"/>
                        </a:lnTo>
                        <a:lnTo>
                          <a:pt x="193637" y="346489"/>
                        </a:lnTo>
                        <a:lnTo>
                          <a:pt x="0" y="346489"/>
                        </a:lnTo>
                        <a:close/>
                      </a:path>
                    </a:pathLst>
                  </a:custGeom>
                  <a:solidFill>
                    <a:schemeClr val="bg2"/>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86" name="Freeform: Shape 1185">
                    <a:extLst>
                      <a:ext uri="{FF2B5EF4-FFF2-40B4-BE49-F238E27FC236}">
                        <a16:creationId xmlns:a16="http://schemas.microsoft.com/office/drawing/2014/main" id="{FAEC0D4B-F5EF-436D-97DD-742E71CC0E6C}"/>
                      </a:ext>
                    </a:extLst>
                  </p:cNvPr>
                  <p:cNvSpPr/>
                  <p:nvPr/>
                </p:nvSpPr>
                <p:spPr>
                  <a:xfrm>
                    <a:off x="6044597" y="10654502"/>
                    <a:ext cx="22496" cy="47588"/>
                  </a:xfrm>
                  <a:custGeom>
                    <a:avLst/>
                    <a:gdLst>
                      <a:gd name="connsiteX0" fmla="*/ 11248 w 22496"/>
                      <a:gd name="connsiteY0" fmla="*/ 47588 h 47588"/>
                      <a:gd name="connsiteX1" fmla="*/ 22496 w 22496"/>
                      <a:gd name="connsiteY1" fmla="*/ 36340 h 47588"/>
                      <a:gd name="connsiteX2" fmla="*/ 22496 w 22496"/>
                      <a:gd name="connsiteY2" fmla="*/ 11248 h 47588"/>
                      <a:gd name="connsiteX3" fmla="*/ 11248 w 22496"/>
                      <a:gd name="connsiteY3" fmla="*/ 0 h 47588"/>
                      <a:gd name="connsiteX4" fmla="*/ 0 w 22496"/>
                      <a:gd name="connsiteY4" fmla="*/ 11248 h 47588"/>
                      <a:gd name="connsiteX5" fmla="*/ 0 w 22496"/>
                      <a:gd name="connsiteY5" fmla="*/ 36340 h 47588"/>
                      <a:gd name="connsiteX6" fmla="*/ 11248 w 22496"/>
                      <a:gd name="connsiteY6" fmla="*/ 47588 h 4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6" h="47588">
                        <a:moveTo>
                          <a:pt x="11248" y="47588"/>
                        </a:moveTo>
                        <a:cubicBezTo>
                          <a:pt x="17462" y="47588"/>
                          <a:pt x="22496" y="42554"/>
                          <a:pt x="22496" y="36340"/>
                        </a:cubicBezTo>
                        <a:lnTo>
                          <a:pt x="22496" y="11248"/>
                        </a:lnTo>
                        <a:cubicBezTo>
                          <a:pt x="22496" y="5034"/>
                          <a:pt x="17462" y="0"/>
                          <a:pt x="11248" y="0"/>
                        </a:cubicBezTo>
                        <a:cubicBezTo>
                          <a:pt x="5034" y="0"/>
                          <a:pt x="0" y="5034"/>
                          <a:pt x="0" y="11248"/>
                        </a:cubicBezTo>
                        <a:lnTo>
                          <a:pt x="0" y="36340"/>
                        </a:lnTo>
                        <a:cubicBezTo>
                          <a:pt x="0" y="42554"/>
                          <a:pt x="5034" y="47588"/>
                          <a:pt x="11248" y="47588"/>
                        </a:cubicBez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87" name="Freeform: Shape 1186">
                    <a:extLst>
                      <a:ext uri="{FF2B5EF4-FFF2-40B4-BE49-F238E27FC236}">
                        <a16:creationId xmlns:a16="http://schemas.microsoft.com/office/drawing/2014/main" id="{4E4136F5-347B-481C-BE67-8DABF1576AA7}"/>
                      </a:ext>
                    </a:extLst>
                  </p:cNvPr>
                  <p:cNvSpPr/>
                  <p:nvPr/>
                </p:nvSpPr>
                <p:spPr>
                  <a:xfrm>
                    <a:off x="5762096" y="10287995"/>
                    <a:ext cx="193636" cy="346488"/>
                  </a:xfrm>
                  <a:custGeom>
                    <a:avLst/>
                    <a:gdLst>
                      <a:gd name="connsiteX0" fmla="*/ 0 w 193636"/>
                      <a:gd name="connsiteY0" fmla="*/ 0 h 346488"/>
                      <a:gd name="connsiteX1" fmla="*/ 193636 w 193636"/>
                      <a:gd name="connsiteY1" fmla="*/ 0 h 346488"/>
                      <a:gd name="connsiteX2" fmla="*/ 193636 w 193636"/>
                      <a:gd name="connsiteY2" fmla="*/ 346489 h 346488"/>
                      <a:gd name="connsiteX3" fmla="*/ 0 w 193636"/>
                      <a:gd name="connsiteY3" fmla="*/ 346489 h 346488"/>
                    </a:gdLst>
                    <a:ahLst/>
                    <a:cxnLst>
                      <a:cxn ang="0">
                        <a:pos x="connsiteX0" y="connsiteY0"/>
                      </a:cxn>
                      <a:cxn ang="0">
                        <a:pos x="connsiteX1" y="connsiteY1"/>
                      </a:cxn>
                      <a:cxn ang="0">
                        <a:pos x="connsiteX2" y="connsiteY2"/>
                      </a:cxn>
                      <a:cxn ang="0">
                        <a:pos x="connsiteX3" y="connsiteY3"/>
                      </a:cxn>
                    </a:cxnLst>
                    <a:rect l="l" t="t" r="r" b="b"/>
                    <a:pathLst>
                      <a:path w="193636" h="346488">
                        <a:moveTo>
                          <a:pt x="0" y="0"/>
                        </a:moveTo>
                        <a:lnTo>
                          <a:pt x="193636" y="0"/>
                        </a:lnTo>
                        <a:lnTo>
                          <a:pt x="193636" y="346489"/>
                        </a:lnTo>
                        <a:lnTo>
                          <a:pt x="0" y="346489"/>
                        </a:lnTo>
                        <a:close/>
                      </a:path>
                    </a:pathLst>
                  </a:custGeom>
                  <a:solidFill>
                    <a:schemeClr val="bg2"/>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88" name="Freeform: Shape 1187">
                    <a:extLst>
                      <a:ext uri="{FF2B5EF4-FFF2-40B4-BE49-F238E27FC236}">
                        <a16:creationId xmlns:a16="http://schemas.microsoft.com/office/drawing/2014/main" id="{B242E388-FF1B-4D0B-B893-3F59720C7A07}"/>
                      </a:ext>
                    </a:extLst>
                  </p:cNvPr>
                  <p:cNvSpPr/>
                  <p:nvPr/>
                </p:nvSpPr>
                <p:spPr>
                  <a:xfrm>
                    <a:off x="5933236" y="10654502"/>
                    <a:ext cx="22496" cy="47588"/>
                  </a:xfrm>
                  <a:custGeom>
                    <a:avLst/>
                    <a:gdLst>
                      <a:gd name="connsiteX0" fmla="*/ 11248 w 22496"/>
                      <a:gd name="connsiteY0" fmla="*/ 47588 h 47588"/>
                      <a:gd name="connsiteX1" fmla="*/ 0 w 22496"/>
                      <a:gd name="connsiteY1" fmla="*/ 36340 h 47588"/>
                      <a:gd name="connsiteX2" fmla="*/ 0 w 22496"/>
                      <a:gd name="connsiteY2" fmla="*/ 11248 h 47588"/>
                      <a:gd name="connsiteX3" fmla="*/ 11248 w 22496"/>
                      <a:gd name="connsiteY3" fmla="*/ 0 h 47588"/>
                      <a:gd name="connsiteX4" fmla="*/ 22496 w 22496"/>
                      <a:gd name="connsiteY4" fmla="*/ 11248 h 47588"/>
                      <a:gd name="connsiteX5" fmla="*/ 22496 w 22496"/>
                      <a:gd name="connsiteY5" fmla="*/ 36340 h 47588"/>
                      <a:gd name="connsiteX6" fmla="*/ 11248 w 22496"/>
                      <a:gd name="connsiteY6" fmla="*/ 47588 h 4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6" h="47588">
                        <a:moveTo>
                          <a:pt x="11248" y="47588"/>
                        </a:moveTo>
                        <a:cubicBezTo>
                          <a:pt x="5034" y="47588"/>
                          <a:pt x="0" y="42554"/>
                          <a:pt x="0" y="36340"/>
                        </a:cubicBezTo>
                        <a:lnTo>
                          <a:pt x="0" y="11248"/>
                        </a:lnTo>
                        <a:cubicBezTo>
                          <a:pt x="0" y="5034"/>
                          <a:pt x="5034" y="0"/>
                          <a:pt x="11248" y="0"/>
                        </a:cubicBezTo>
                        <a:cubicBezTo>
                          <a:pt x="17462" y="0"/>
                          <a:pt x="22496" y="5034"/>
                          <a:pt x="22496" y="11248"/>
                        </a:cubicBezTo>
                        <a:lnTo>
                          <a:pt x="22496" y="36340"/>
                        </a:lnTo>
                        <a:cubicBezTo>
                          <a:pt x="22496" y="42554"/>
                          <a:pt x="17462" y="47588"/>
                          <a:pt x="11248" y="47588"/>
                        </a:cubicBez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079" name="Freeform: Shape 1078">
                  <a:extLst>
                    <a:ext uri="{FF2B5EF4-FFF2-40B4-BE49-F238E27FC236}">
                      <a16:creationId xmlns:a16="http://schemas.microsoft.com/office/drawing/2014/main" id="{E5FBE2F5-85A4-4372-8A6B-E3E361E1E9DF}"/>
                    </a:ext>
                  </a:extLst>
                </p:cNvPr>
                <p:cNvSpPr/>
                <p:nvPr/>
              </p:nvSpPr>
              <p:spPr>
                <a:xfrm>
                  <a:off x="4808859" y="10202612"/>
                  <a:ext cx="564981" cy="517235"/>
                </a:xfrm>
                <a:custGeom>
                  <a:avLst/>
                  <a:gdLst>
                    <a:gd name="connsiteX0" fmla="*/ 0 w 564981"/>
                    <a:gd name="connsiteY0" fmla="*/ 0 h 517235"/>
                    <a:gd name="connsiteX1" fmla="*/ 564981 w 564981"/>
                    <a:gd name="connsiteY1" fmla="*/ 0 h 517235"/>
                    <a:gd name="connsiteX2" fmla="*/ 564981 w 564981"/>
                    <a:gd name="connsiteY2" fmla="*/ 517236 h 517235"/>
                    <a:gd name="connsiteX3" fmla="*/ 0 w 564981"/>
                    <a:gd name="connsiteY3" fmla="*/ 517236 h 517235"/>
                  </a:gdLst>
                  <a:ahLst/>
                  <a:cxnLst>
                    <a:cxn ang="0">
                      <a:pos x="connsiteX0" y="connsiteY0"/>
                    </a:cxn>
                    <a:cxn ang="0">
                      <a:pos x="connsiteX1" y="connsiteY1"/>
                    </a:cxn>
                    <a:cxn ang="0">
                      <a:pos x="connsiteX2" y="connsiteY2"/>
                    </a:cxn>
                    <a:cxn ang="0">
                      <a:pos x="connsiteX3" y="connsiteY3"/>
                    </a:cxn>
                  </a:cxnLst>
                  <a:rect l="l" t="t" r="r" b="b"/>
                  <a:pathLst>
                    <a:path w="564981" h="517235">
                      <a:moveTo>
                        <a:pt x="0" y="0"/>
                      </a:moveTo>
                      <a:lnTo>
                        <a:pt x="564981" y="0"/>
                      </a:lnTo>
                      <a:lnTo>
                        <a:pt x="564981" y="517236"/>
                      </a:lnTo>
                      <a:lnTo>
                        <a:pt x="0" y="517236"/>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80" name="Freeform: Shape 1079">
                  <a:extLst>
                    <a:ext uri="{FF2B5EF4-FFF2-40B4-BE49-F238E27FC236}">
                      <a16:creationId xmlns:a16="http://schemas.microsoft.com/office/drawing/2014/main" id="{895FA9C8-7494-4B95-B3D3-ADAE803AFB67}"/>
                    </a:ext>
                  </a:extLst>
                </p:cNvPr>
                <p:cNvSpPr/>
                <p:nvPr/>
              </p:nvSpPr>
              <p:spPr>
                <a:xfrm>
                  <a:off x="4951544" y="10263060"/>
                  <a:ext cx="377873" cy="65974"/>
                </a:xfrm>
                <a:custGeom>
                  <a:avLst/>
                  <a:gdLst>
                    <a:gd name="connsiteX0" fmla="*/ 0 w 377873"/>
                    <a:gd name="connsiteY0" fmla="*/ 0 h 65974"/>
                    <a:gd name="connsiteX1" fmla="*/ 0 w 377873"/>
                    <a:gd name="connsiteY1" fmla="*/ 23617 h 65974"/>
                    <a:gd name="connsiteX2" fmla="*/ 377873 w 377873"/>
                    <a:gd name="connsiteY2" fmla="*/ 23617 h 65974"/>
                    <a:gd name="connsiteX3" fmla="*/ 377873 w 377873"/>
                    <a:gd name="connsiteY3" fmla="*/ 0 h 65974"/>
                    <a:gd name="connsiteX4" fmla="*/ 0 w 377873"/>
                    <a:gd name="connsiteY4" fmla="*/ 0 h 65974"/>
                    <a:gd name="connsiteX5" fmla="*/ 377873 w 377873"/>
                    <a:gd name="connsiteY5" fmla="*/ 42357 h 65974"/>
                    <a:gd name="connsiteX6" fmla="*/ 150335 w 377873"/>
                    <a:gd name="connsiteY6" fmla="*/ 42357 h 65974"/>
                    <a:gd name="connsiteX7" fmla="*/ 150335 w 377873"/>
                    <a:gd name="connsiteY7" fmla="*/ 65974 h 65974"/>
                    <a:gd name="connsiteX8" fmla="*/ 377873 w 377873"/>
                    <a:gd name="connsiteY8" fmla="*/ 65974 h 65974"/>
                    <a:gd name="connsiteX9" fmla="*/ 377873 w 377873"/>
                    <a:gd name="connsiteY9" fmla="*/ 42357 h 65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73" h="65974">
                      <a:moveTo>
                        <a:pt x="0" y="0"/>
                      </a:moveTo>
                      <a:lnTo>
                        <a:pt x="0" y="23617"/>
                      </a:lnTo>
                      <a:lnTo>
                        <a:pt x="377873" y="23617"/>
                      </a:lnTo>
                      <a:lnTo>
                        <a:pt x="377873" y="0"/>
                      </a:lnTo>
                      <a:lnTo>
                        <a:pt x="0" y="0"/>
                      </a:lnTo>
                      <a:close/>
                      <a:moveTo>
                        <a:pt x="377873" y="42357"/>
                      </a:moveTo>
                      <a:lnTo>
                        <a:pt x="150335" y="42357"/>
                      </a:lnTo>
                      <a:lnTo>
                        <a:pt x="150335" y="65974"/>
                      </a:lnTo>
                      <a:lnTo>
                        <a:pt x="377873" y="65974"/>
                      </a:lnTo>
                      <a:lnTo>
                        <a:pt x="377873" y="42357"/>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81" name="Freeform: Shape 1080">
                  <a:extLst>
                    <a:ext uri="{FF2B5EF4-FFF2-40B4-BE49-F238E27FC236}">
                      <a16:creationId xmlns:a16="http://schemas.microsoft.com/office/drawing/2014/main" id="{DB924557-29C6-4C4D-855E-4820B1AD7356}"/>
                    </a:ext>
                  </a:extLst>
                </p:cNvPr>
                <p:cNvSpPr/>
                <p:nvPr/>
              </p:nvSpPr>
              <p:spPr>
                <a:xfrm rot="10800000">
                  <a:off x="6020566" y="10981779"/>
                  <a:ext cx="217666" cy="217666"/>
                </a:xfrm>
                <a:custGeom>
                  <a:avLst/>
                  <a:gdLst>
                    <a:gd name="connsiteX0" fmla="*/ 0 w 217666"/>
                    <a:gd name="connsiteY0" fmla="*/ 0 h 217666"/>
                    <a:gd name="connsiteX1" fmla="*/ 217666 w 217666"/>
                    <a:gd name="connsiteY1" fmla="*/ 0 h 217666"/>
                    <a:gd name="connsiteX2" fmla="*/ 217666 w 217666"/>
                    <a:gd name="connsiteY2" fmla="*/ 217666 h 217666"/>
                    <a:gd name="connsiteX3" fmla="*/ 0 w 217666"/>
                    <a:gd name="connsiteY3" fmla="*/ 217666 h 217666"/>
                  </a:gdLst>
                  <a:ahLst/>
                  <a:cxnLst>
                    <a:cxn ang="0">
                      <a:pos x="connsiteX0" y="connsiteY0"/>
                    </a:cxn>
                    <a:cxn ang="0">
                      <a:pos x="connsiteX1" y="connsiteY1"/>
                    </a:cxn>
                    <a:cxn ang="0">
                      <a:pos x="connsiteX2" y="connsiteY2"/>
                    </a:cxn>
                    <a:cxn ang="0">
                      <a:pos x="connsiteX3" y="connsiteY3"/>
                    </a:cxn>
                  </a:cxnLst>
                  <a:rect l="l" t="t" r="r" b="b"/>
                  <a:pathLst>
                    <a:path w="217666" h="217666">
                      <a:moveTo>
                        <a:pt x="0" y="0"/>
                      </a:moveTo>
                      <a:lnTo>
                        <a:pt x="217666" y="0"/>
                      </a:lnTo>
                      <a:lnTo>
                        <a:pt x="217666" y="217666"/>
                      </a:lnTo>
                      <a:lnTo>
                        <a:pt x="0" y="217666"/>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82" name="Freeform: Shape 1081">
                  <a:extLst>
                    <a:ext uri="{FF2B5EF4-FFF2-40B4-BE49-F238E27FC236}">
                      <a16:creationId xmlns:a16="http://schemas.microsoft.com/office/drawing/2014/main" id="{11D42634-E3D4-45C0-A968-6438798EE96B}"/>
                    </a:ext>
                  </a:extLst>
                </p:cNvPr>
                <p:cNvSpPr/>
                <p:nvPr/>
              </p:nvSpPr>
              <p:spPr>
                <a:xfrm rot="10800000">
                  <a:off x="5844451" y="11245971"/>
                  <a:ext cx="393762" cy="132243"/>
                </a:xfrm>
                <a:custGeom>
                  <a:avLst/>
                  <a:gdLst>
                    <a:gd name="connsiteX0" fmla="*/ 0 w 393762"/>
                    <a:gd name="connsiteY0" fmla="*/ 0 h 132243"/>
                    <a:gd name="connsiteX1" fmla="*/ 393762 w 393762"/>
                    <a:gd name="connsiteY1" fmla="*/ 0 h 132243"/>
                    <a:gd name="connsiteX2" fmla="*/ 393762 w 393762"/>
                    <a:gd name="connsiteY2" fmla="*/ 132244 h 132243"/>
                    <a:gd name="connsiteX3" fmla="*/ 0 w 393762"/>
                    <a:gd name="connsiteY3" fmla="*/ 132244 h 132243"/>
                  </a:gdLst>
                  <a:ahLst/>
                  <a:cxnLst>
                    <a:cxn ang="0">
                      <a:pos x="connsiteX0" y="connsiteY0"/>
                    </a:cxn>
                    <a:cxn ang="0">
                      <a:pos x="connsiteX1" y="connsiteY1"/>
                    </a:cxn>
                    <a:cxn ang="0">
                      <a:pos x="connsiteX2" y="connsiteY2"/>
                    </a:cxn>
                    <a:cxn ang="0">
                      <a:pos x="connsiteX3" y="connsiteY3"/>
                    </a:cxn>
                  </a:cxnLst>
                  <a:rect l="l" t="t" r="r" b="b"/>
                  <a:pathLst>
                    <a:path w="393762" h="132243">
                      <a:moveTo>
                        <a:pt x="0" y="0"/>
                      </a:moveTo>
                      <a:lnTo>
                        <a:pt x="393762" y="0"/>
                      </a:lnTo>
                      <a:lnTo>
                        <a:pt x="393762" y="132244"/>
                      </a:lnTo>
                      <a:lnTo>
                        <a:pt x="0" y="132244"/>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83" name="Freeform: Shape 1082">
                  <a:extLst>
                    <a:ext uri="{FF2B5EF4-FFF2-40B4-BE49-F238E27FC236}">
                      <a16:creationId xmlns:a16="http://schemas.microsoft.com/office/drawing/2014/main" id="{8BA7EA2D-FA37-4204-A67F-DF2D2B735039}"/>
                    </a:ext>
                  </a:extLst>
                </p:cNvPr>
                <p:cNvSpPr/>
                <p:nvPr/>
              </p:nvSpPr>
              <p:spPr>
                <a:xfrm rot="10800000">
                  <a:off x="5204587" y="10981779"/>
                  <a:ext cx="682319" cy="126521"/>
                </a:xfrm>
                <a:custGeom>
                  <a:avLst/>
                  <a:gdLst>
                    <a:gd name="connsiteX0" fmla="*/ 0 w 682319"/>
                    <a:gd name="connsiteY0" fmla="*/ 0 h 126521"/>
                    <a:gd name="connsiteX1" fmla="*/ 682319 w 682319"/>
                    <a:gd name="connsiteY1" fmla="*/ 0 h 126521"/>
                    <a:gd name="connsiteX2" fmla="*/ 682319 w 682319"/>
                    <a:gd name="connsiteY2" fmla="*/ 126521 h 126521"/>
                    <a:gd name="connsiteX3" fmla="*/ 0 w 682319"/>
                    <a:gd name="connsiteY3" fmla="*/ 126521 h 126521"/>
                  </a:gdLst>
                  <a:ahLst/>
                  <a:cxnLst>
                    <a:cxn ang="0">
                      <a:pos x="connsiteX0" y="connsiteY0"/>
                    </a:cxn>
                    <a:cxn ang="0">
                      <a:pos x="connsiteX1" y="connsiteY1"/>
                    </a:cxn>
                    <a:cxn ang="0">
                      <a:pos x="connsiteX2" y="connsiteY2"/>
                    </a:cxn>
                    <a:cxn ang="0">
                      <a:pos x="connsiteX3" y="connsiteY3"/>
                    </a:cxn>
                  </a:cxnLst>
                  <a:rect l="l" t="t" r="r" b="b"/>
                  <a:pathLst>
                    <a:path w="682319" h="126521">
                      <a:moveTo>
                        <a:pt x="0" y="0"/>
                      </a:moveTo>
                      <a:lnTo>
                        <a:pt x="682319" y="0"/>
                      </a:lnTo>
                      <a:lnTo>
                        <a:pt x="682319" y="126521"/>
                      </a:lnTo>
                      <a:lnTo>
                        <a:pt x="0" y="126521"/>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084" name="Graphic 10">
                  <a:extLst>
                    <a:ext uri="{FF2B5EF4-FFF2-40B4-BE49-F238E27FC236}">
                      <a16:creationId xmlns:a16="http://schemas.microsoft.com/office/drawing/2014/main" id="{60B7A515-59C2-48EC-8A7F-F8AE499AEAC5}"/>
                    </a:ext>
                  </a:extLst>
                </p:cNvPr>
                <p:cNvGrpSpPr/>
                <p:nvPr/>
              </p:nvGrpSpPr>
              <p:grpSpPr>
                <a:xfrm>
                  <a:off x="6042610" y="11009112"/>
                  <a:ext cx="173559" cy="65836"/>
                  <a:chOff x="6042610" y="11009112"/>
                  <a:chExt cx="173559" cy="65836"/>
                </a:xfrm>
              </p:grpSpPr>
              <p:sp>
                <p:nvSpPr>
                  <p:cNvPr id="1158" name="Freeform: Shape 1157">
                    <a:extLst>
                      <a:ext uri="{FF2B5EF4-FFF2-40B4-BE49-F238E27FC236}">
                        <a16:creationId xmlns:a16="http://schemas.microsoft.com/office/drawing/2014/main" id="{B136978F-A64F-4D49-A7A4-C48D40C14D8A}"/>
                      </a:ext>
                    </a:extLst>
                  </p:cNvPr>
                  <p:cNvSpPr/>
                  <p:nvPr/>
                </p:nvSpPr>
                <p:spPr>
                  <a:xfrm rot="10800000">
                    <a:off x="6042610" y="11009112"/>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59" name="Freeform: Shape 1158">
                    <a:extLst>
                      <a:ext uri="{FF2B5EF4-FFF2-40B4-BE49-F238E27FC236}">
                        <a16:creationId xmlns:a16="http://schemas.microsoft.com/office/drawing/2014/main" id="{E793FE49-6F27-46E8-B5D5-1B1B0FE4B5C0}"/>
                      </a:ext>
                    </a:extLst>
                  </p:cNvPr>
                  <p:cNvSpPr/>
                  <p:nvPr/>
                </p:nvSpPr>
                <p:spPr>
                  <a:xfrm rot="10800000">
                    <a:off x="6065205" y="11009112"/>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60" name="Freeform: Shape 1159">
                    <a:extLst>
                      <a:ext uri="{FF2B5EF4-FFF2-40B4-BE49-F238E27FC236}">
                        <a16:creationId xmlns:a16="http://schemas.microsoft.com/office/drawing/2014/main" id="{EBD85890-AA11-419B-93B1-6CC8303DBD9D}"/>
                      </a:ext>
                    </a:extLst>
                  </p:cNvPr>
                  <p:cNvSpPr/>
                  <p:nvPr/>
                </p:nvSpPr>
                <p:spPr>
                  <a:xfrm rot="10800000">
                    <a:off x="6087819" y="11009112"/>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61" name="Freeform: Shape 1160">
                    <a:extLst>
                      <a:ext uri="{FF2B5EF4-FFF2-40B4-BE49-F238E27FC236}">
                        <a16:creationId xmlns:a16="http://schemas.microsoft.com/office/drawing/2014/main" id="{35E9D48E-DE09-4BDA-AB5C-E5709B7C3730}"/>
                      </a:ext>
                    </a:extLst>
                  </p:cNvPr>
                  <p:cNvSpPr/>
                  <p:nvPr/>
                </p:nvSpPr>
                <p:spPr>
                  <a:xfrm rot="10800000">
                    <a:off x="6110433" y="11009112"/>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62" name="Freeform: Shape 1161">
                    <a:extLst>
                      <a:ext uri="{FF2B5EF4-FFF2-40B4-BE49-F238E27FC236}">
                        <a16:creationId xmlns:a16="http://schemas.microsoft.com/office/drawing/2014/main" id="{AA542EA3-077E-44BB-B033-EC085D222F67}"/>
                      </a:ext>
                    </a:extLst>
                  </p:cNvPr>
                  <p:cNvSpPr/>
                  <p:nvPr/>
                </p:nvSpPr>
                <p:spPr>
                  <a:xfrm rot="10800000">
                    <a:off x="6133028" y="11009112"/>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63" name="Freeform: Shape 1162">
                    <a:extLst>
                      <a:ext uri="{FF2B5EF4-FFF2-40B4-BE49-F238E27FC236}">
                        <a16:creationId xmlns:a16="http://schemas.microsoft.com/office/drawing/2014/main" id="{E6261390-FD0B-41F8-A3B6-08C286A28A0A}"/>
                      </a:ext>
                    </a:extLst>
                  </p:cNvPr>
                  <p:cNvSpPr/>
                  <p:nvPr/>
                </p:nvSpPr>
                <p:spPr>
                  <a:xfrm rot="10800000">
                    <a:off x="6155642" y="11009112"/>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64" name="Freeform: Shape 1163">
                    <a:extLst>
                      <a:ext uri="{FF2B5EF4-FFF2-40B4-BE49-F238E27FC236}">
                        <a16:creationId xmlns:a16="http://schemas.microsoft.com/office/drawing/2014/main" id="{3F1B9244-2913-438F-841B-3A9DB7BFDC8A}"/>
                      </a:ext>
                    </a:extLst>
                  </p:cNvPr>
                  <p:cNvSpPr/>
                  <p:nvPr/>
                </p:nvSpPr>
                <p:spPr>
                  <a:xfrm rot="10800000">
                    <a:off x="6178276" y="11009112"/>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65" name="Freeform: Shape 1164">
                    <a:extLst>
                      <a:ext uri="{FF2B5EF4-FFF2-40B4-BE49-F238E27FC236}">
                        <a16:creationId xmlns:a16="http://schemas.microsoft.com/office/drawing/2014/main" id="{45D23F4D-7EA7-44A9-BFBC-9052CC981E40}"/>
                      </a:ext>
                    </a:extLst>
                  </p:cNvPr>
                  <p:cNvSpPr/>
                  <p:nvPr/>
                </p:nvSpPr>
                <p:spPr>
                  <a:xfrm rot="10800000">
                    <a:off x="6200870" y="11009112"/>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66" name="Freeform: Shape 1165">
                    <a:extLst>
                      <a:ext uri="{FF2B5EF4-FFF2-40B4-BE49-F238E27FC236}">
                        <a16:creationId xmlns:a16="http://schemas.microsoft.com/office/drawing/2014/main" id="{6FB14768-A6F2-44E5-A345-B45C42898C78}"/>
                      </a:ext>
                    </a:extLst>
                  </p:cNvPr>
                  <p:cNvSpPr/>
                  <p:nvPr/>
                </p:nvSpPr>
                <p:spPr>
                  <a:xfrm rot="10800000">
                    <a:off x="6042610" y="1103438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67" name="Freeform: Shape 1166">
                    <a:extLst>
                      <a:ext uri="{FF2B5EF4-FFF2-40B4-BE49-F238E27FC236}">
                        <a16:creationId xmlns:a16="http://schemas.microsoft.com/office/drawing/2014/main" id="{174544C2-2D3E-48C1-9372-345DCFD6DED1}"/>
                      </a:ext>
                    </a:extLst>
                  </p:cNvPr>
                  <p:cNvSpPr/>
                  <p:nvPr/>
                </p:nvSpPr>
                <p:spPr>
                  <a:xfrm rot="10800000">
                    <a:off x="6065205" y="1103438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68" name="Freeform: Shape 1167">
                    <a:extLst>
                      <a:ext uri="{FF2B5EF4-FFF2-40B4-BE49-F238E27FC236}">
                        <a16:creationId xmlns:a16="http://schemas.microsoft.com/office/drawing/2014/main" id="{2C489195-C8C7-418E-B198-6B3373F45B96}"/>
                      </a:ext>
                    </a:extLst>
                  </p:cNvPr>
                  <p:cNvSpPr/>
                  <p:nvPr/>
                </p:nvSpPr>
                <p:spPr>
                  <a:xfrm rot="10800000">
                    <a:off x="6087819" y="1103438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69" name="Freeform: Shape 1168">
                    <a:extLst>
                      <a:ext uri="{FF2B5EF4-FFF2-40B4-BE49-F238E27FC236}">
                        <a16:creationId xmlns:a16="http://schemas.microsoft.com/office/drawing/2014/main" id="{8EFDEAF8-79D0-40CE-8458-231EC5F198C4}"/>
                      </a:ext>
                    </a:extLst>
                  </p:cNvPr>
                  <p:cNvSpPr/>
                  <p:nvPr/>
                </p:nvSpPr>
                <p:spPr>
                  <a:xfrm rot="10800000">
                    <a:off x="6110433" y="1103438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70" name="Freeform: Shape 1169">
                    <a:extLst>
                      <a:ext uri="{FF2B5EF4-FFF2-40B4-BE49-F238E27FC236}">
                        <a16:creationId xmlns:a16="http://schemas.microsoft.com/office/drawing/2014/main" id="{714B267E-6AA1-4A6E-BA3C-182B1F411027}"/>
                      </a:ext>
                    </a:extLst>
                  </p:cNvPr>
                  <p:cNvSpPr/>
                  <p:nvPr/>
                </p:nvSpPr>
                <p:spPr>
                  <a:xfrm rot="10800000">
                    <a:off x="6133028" y="1103438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71" name="Freeform: Shape 1170">
                    <a:extLst>
                      <a:ext uri="{FF2B5EF4-FFF2-40B4-BE49-F238E27FC236}">
                        <a16:creationId xmlns:a16="http://schemas.microsoft.com/office/drawing/2014/main" id="{43FCDEE6-84B0-4CF0-A94A-A3A8F651EC50}"/>
                      </a:ext>
                    </a:extLst>
                  </p:cNvPr>
                  <p:cNvSpPr/>
                  <p:nvPr/>
                </p:nvSpPr>
                <p:spPr>
                  <a:xfrm rot="10800000">
                    <a:off x="6155642" y="1103438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72" name="Freeform: Shape 1171">
                    <a:extLst>
                      <a:ext uri="{FF2B5EF4-FFF2-40B4-BE49-F238E27FC236}">
                        <a16:creationId xmlns:a16="http://schemas.microsoft.com/office/drawing/2014/main" id="{DD9A1D53-7963-4EC8-AA7A-BD9F6E8FE40C}"/>
                      </a:ext>
                    </a:extLst>
                  </p:cNvPr>
                  <p:cNvSpPr/>
                  <p:nvPr/>
                </p:nvSpPr>
                <p:spPr>
                  <a:xfrm rot="10800000">
                    <a:off x="6178276" y="1103438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73" name="Freeform: Shape 1172">
                    <a:extLst>
                      <a:ext uri="{FF2B5EF4-FFF2-40B4-BE49-F238E27FC236}">
                        <a16:creationId xmlns:a16="http://schemas.microsoft.com/office/drawing/2014/main" id="{996B3339-F9C7-457C-BC48-3245C54051C3}"/>
                      </a:ext>
                    </a:extLst>
                  </p:cNvPr>
                  <p:cNvSpPr/>
                  <p:nvPr/>
                </p:nvSpPr>
                <p:spPr>
                  <a:xfrm rot="10800000">
                    <a:off x="6200870" y="1103438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74" name="Freeform: Shape 1173">
                    <a:extLst>
                      <a:ext uri="{FF2B5EF4-FFF2-40B4-BE49-F238E27FC236}">
                        <a16:creationId xmlns:a16="http://schemas.microsoft.com/office/drawing/2014/main" id="{80E96B52-8B0F-48DD-93AC-1886CE12D219}"/>
                      </a:ext>
                    </a:extLst>
                  </p:cNvPr>
                  <p:cNvSpPr/>
                  <p:nvPr/>
                </p:nvSpPr>
                <p:spPr>
                  <a:xfrm rot="10800000">
                    <a:off x="6042610" y="1105965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75" name="Freeform: Shape 1174">
                    <a:extLst>
                      <a:ext uri="{FF2B5EF4-FFF2-40B4-BE49-F238E27FC236}">
                        <a16:creationId xmlns:a16="http://schemas.microsoft.com/office/drawing/2014/main" id="{EDDACA4A-866A-4230-ABBE-5B9D1517706D}"/>
                      </a:ext>
                    </a:extLst>
                  </p:cNvPr>
                  <p:cNvSpPr/>
                  <p:nvPr/>
                </p:nvSpPr>
                <p:spPr>
                  <a:xfrm rot="10800000">
                    <a:off x="6065205" y="1105965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76" name="Freeform: Shape 1175">
                    <a:extLst>
                      <a:ext uri="{FF2B5EF4-FFF2-40B4-BE49-F238E27FC236}">
                        <a16:creationId xmlns:a16="http://schemas.microsoft.com/office/drawing/2014/main" id="{FD14A631-314D-4CD3-9EEA-6473657DE689}"/>
                      </a:ext>
                    </a:extLst>
                  </p:cNvPr>
                  <p:cNvSpPr/>
                  <p:nvPr/>
                </p:nvSpPr>
                <p:spPr>
                  <a:xfrm rot="10800000">
                    <a:off x="6087819" y="1105965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77" name="Freeform: Shape 1176">
                    <a:extLst>
                      <a:ext uri="{FF2B5EF4-FFF2-40B4-BE49-F238E27FC236}">
                        <a16:creationId xmlns:a16="http://schemas.microsoft.com/office/drawing/2014/main" id="{38912632-5617-48D5-B69E-0FD89B9D6F24}"/>
                      </a:ext>
                    </a:extLst>
                  </p:cNvPr>
                  <p:cNvSpPr/>
                  <p:nvPr/>
                </p:nvSpPr>
                <p:spPr>
                  <a:xfrm rot="10800000">
                    <a:off x="6110433" y="1105965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78" name="Freeform: Shape 1177">
                    <a:extLst>
                      <a:ext uri="{FF2B5EF4-FFF2-40B4-BE49-F238E27FC236}">
                        <a16:creationId xmlns:a16="http://schemas.microsoft.com/office/drawing/2014/main" id="{4F6F8A2E-10EC-489E-9AC0-521702943AD0}"/>
                      </a:ext>
                    </a:extLst>
                  </p:cNvPr>
                  <p:cNvSpPr/>
                  <p:nvPr/>
                </p:nvSpPr>
                <p:spPr>
                  <a:xfrm rot="10800000">
                    <a:off x="6133028" y="1105965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79" name="Freeform: Shape 1178">
                    <a:extLst>
                      <a:ext uri="{FF2B5EF4-FFF2-40B4-BE49-F238E27FC236}">
                        <a16:creationId xmlns:a16="http://schemas.microsoft.com/office/drawing/2014/main" id="{74E18830-D023-48D7-9E5A-7F1DF3BB7033}"/>
                      </a:ext>
                    </a:extLst>
                  </p:cNvPr>
                  <p:cNvSpPr/>
                  <p:nvPr/>
                </p:nvSpPr>
                <p:spPr>
                  <a:xfrm rot="10800000">
                    <a:off x="6155642" y="1105965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80" name="Freeform: Shape 1179">
                    <a:extLst>
                      <a:ext uri="{FF2B5EF4-FFF2-40B4-BE49-F238E27FC236}">
                        <a16:creationId xmlns:a16="http://schemas.microsoft.com/office/drawing/2014/main" id="{D9F2613A-3851-4D7D-9ADA-63F6F71AA9A9}"/>
                      </a:ext>
                    </a:extLst>
                  </p:cNvPr>
                  <p:cNvSpPr/>
                  <p:nvPr/>
                </p:nvSpPr>
                <p:spPr>
                  <a:xfrm rot="10800000">
                    <a:off x="6178276" y="1105965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81" name="Freeform: Shape 1180">
                    <a:extLst>
                      <a:ext uri="{FF2B5EF4-FFF2-40B4-BE49-F238E27FC236}">
                        <a16:creationId xmlns:a16="http://schemas.microsoft.com/office/drawing/2014/main" id="{8E1F492B-A532-4BE5-8E62-407D23763285}"/>
                      </a:ext>
                    </a:extLst>
                  </p:cNvPr>
                  <p:cNvSpPr/>
                  <p:nvPr/>
                </p:nvSpPr>
                <p:spPr>
                  <a:xfrm rot="10800000">
                    <a:off x="6200870" y="1105965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085" name="Freeform: Shape 1084">
                  <a:extLst>
                    <a:ext uri="{FF2B5EF4-FFF2-40B4-BE49-F238E27FC236}">
                      <a16:creationId xmlns:a16="http://schemas.microsoft.com/office/drawing/2014/main" id="{81DACE76-3C6B-428F-8380-E8E49DC26728}"/>
                    </a:ext>
                  </a:extLst>
                </p:cNvPr>
                <p:cNvSpPr/>
                <p:nvPr/>
              </p:nvSpPr>
              <p:spPr>
                <a:xfrm rot="10800000">
                  <a:off x="5754034" y="11245971"/>
                  <a:ext cx="90417" cy="132243"/>
                </a:xfrm>
                <a:custGeom>
                  <a:avLst/>
                  <a:gdLst>
                    <a:gd name="connsiteX0" fmla="*/ 0 w 90417"/>
                    <a:gd name="connsiteY0" fmla="*/ 0 h 132243"/>
                    <a:gd name="connsiteX1" fmla="*/ 90418 w 90417"/>
                    <a:gd name="connsiteY1" fmla="*/ 0 h 132243"/>
                    <a:gd name="connsiteX2" fmla="*/ 90418 w 90417"/>
                    <a:gd name="connsiteY2" fmla="*/ 132244 h 132243"/>
                    <a:gd name="connsiteX3" fmla="*/ 0 w 90417"/>
                    <a:gd name="connsiteY3" fmla="*/ 132244 h 132243"/>
                  </a:gdLst>
                  <a:ahLst/>
                  <a:cxnLst>
                    <a:cxn ang="0">
                      <a:pos x="connsiteX0" y="connsiteY0"/>
                    </a:cxn>
                    <a:cxn ang="0">
                      <a:pos x="connsiteX1" y="connsiteY1"/>
                    </a:cxn>
                    <a:cxn ang="0">
                      <a:pos x="connsiteX2" y="connsiteY2"/>
                    </a:cxn>
                    <a:cxn ang="0">
                      <a:pos x="connsiteX3" y="connsiteY3"/>
                    </a:cxn>
                  </a:cxnLst>
                  <a:rect l="l" t="t" r="r" b="b"/>
                  <a:pathLst>
                    <a:path w="90417" h="132243">
                      <a:moveTo>
                        <a:pt x="0" y="0"/>
                      </a:moveTo>
                      <a:lnTo>
                        <a:pt x="90418" y="0"/>
                      </a:lnTo>
                      <a:lnTo>
                        <a:pt x="90418" y="132244"/>
                      </a:lnTo>
                      <a:lnTo>
                        <a:pt x="0" y="13224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86" name="Freeform: Shape 1085">
                  <a:extLst>
                    <a:ext uri="{FF2B5EF4-FFF2-40B4-BE49-F238E27FC236}">
                      <a16:creationId xmlns:a16="http://schemas.microsoft.com/office/drawing/2014/main" id="{06E29CA3-1DEE-449F-A0A7-A147A9617FE4}"/>
                    </a:ext>
                  </a:extLst>
                </p:cNvPr>
                <p:cNvSpPr/>
                <p:nvPr/>
              </p:nvSpPr>
              <p:spPr>
                <a:xfrm>
                  <a:off x="5038599" y="10981779"/>
                  <a:ext cx="128291" cy="119855"/>
                </a:xfrm>
                <a:custGeom>
                  <a:avLst/>
                  <a:gdLst>
                    <a:gd name="connsiteX0" fmla="*/ 64145 w 128291"/>
                    <a:gd name="connsiteY0" fmla="*/ 119855 h 119855"/>
                    <a:gd name="connsiteX1" fmla="*/ 128291 w 128291"/>
                    <a:gd name="connsiteY1" fmla="*/ 55709 h 119855"/>
                    <a:gd name="connsiteX2" fmla="*/ 128291 w 128291"/>
                    <a:gd name="connsiteY2" fmla="*/ 0 h 119855"/>
                    <a:gd name="connsiteX3" fmla="*/ 120425 w 128291"/>
                    <a:gd name="connsiteY3" fmla="*/ 0 h 119855"/>
                    <a:gd name="connsiteX4" fmla="*/ 120425 w 128291"/>
                    <a:gd name="connsiteY4" fmla="*/ 55709 h 119855"/>
                    <a:gd name="connsiteX5" fmla="*/ 64145 w 128291"/>
                    <a:gd name="connsiteY5" fmla="*/ 111989 h 119855"/>
                    <a:gd name="connsiteX6" fmla="*/ 7866 w 128291"/>
                    <a:gd name="connsiteY6" fmla="*/ 55709 h 119855"/>
                    <a:gd name="connsiteX7" fmla="*/ 7866 w 128291"/>
                    <a:gd name="connsiteY7" fmla="*/ 0 h 119855"/>
                    <a:gd name="connsiteX8" fmla="*/ 0 w 128291"/>
                    <a:gd name="connsiteY8" fmla="*/ 0 h 119855"/>
                    <a:gd name="connsiteX9" fmla="*/ 0 w 128291"/>
                    <a:gd name="connsiteY9" fmla="*/ 55709 h 119855"/>
                    <a:gd name="connsiteX10" fmla="*/ 64145 w 128291"/>
                    <a:gd name="connsiteY10" fmla="*/ 119855 h 11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291" h="119855">
                      <a:moveTo>
                        <a:pt x="64145" y="119855"/>
                      </a:moveTo>
                      <a:cubicBezTo>
                        <a:pt x="99522" y="119855"/>
                        <a:pt x="128291" y="91086"/>
                        <a:pt x="128291" y="55709"/>
                      </a:cubicBezTo>
                      <a:lnTo>
                        <a:pt x="128291" y="0"/>
                      </a:lnTo>
                      <a:lnTo>
                        <a:pt x="120425" y="0"/>
                      </a:lnTo>
                      <a:lnTo>
                        <a:pt x="120425" y="55709"/>
                      </a:lnTo>
                      <a:cubicBezTo>
                        <a:pt x="120425" y="86740"/>
                        <a:pt x="95176" y="111989"/>
                        <a:pt x="64145" y="111989"/>
                      </a:cubicBezTo>
                      <a:cubicBezTo>
                        <a:pt x="33115" y="111989"/>
                        <a:pt x="7866" y="86740"/>
                        <a:pt x="7866" y="55709"/>
                      </a:cubicBezTo>
                      <a:lnTo>
                        <a:pt x="7866" y="0"/>
                      </a:lnTo>
                      <a:lnTo>
                        <a:pt x="0" y="0"/>
                      </a:lnTo>
                      <a:lnTo>
                        <a:pt x="0" y="55709"/>
                      </a:lnTo>
                      <a:cubicBezTo>
                        <a:pt x="0" y="91086"/>
                        <a:pt x="28769" y="119855"/>
                        <a:pt x="64145" y="119855"/>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87" name="Freeform: Shape 1086">
                  <a:extLst>
                    <a:ext uri="{FF2B5EF4-FFF2-40B4-BE49-F238E27FC236}">
                      <a16:creationId xmlns:a16="http://schemas.microsoft.com/office/drawing/2014/main" id="{0A1A8312-49EE-4756-A114-8F856CD17120}"/>
                    </a:ext>
                  </a:extLst>
                </p:cNvPr>
                <p:cNvSpPr/>
                <p:nvPr/>
              </p:nvSpPr>
              <p:spPr>
                <a:xfrm>
                  <a:off x="5916993" y="10721637"/>
                  <a:ext cx="128291" cy="178750"/>
                </a:xfrm>
                <a:custGeom>
                  <a:avLst/>
                  <a:gdLst>
                    <a:gd name="connsiteX0" fmla="*/ 64146 w 128291"/>
                    <a:gd name="connsiteY0" fmla="*/ 178750 h 178750"/>
                    <a:gd name="connsiteX1" fmla="*/ 128291 w 128291"/>
                    <a:gd name="connsiteY1" fmla="*/ 114664 h 178750"/>
                    <a:gd name="connsiteX2" fmla="*/ 128291 w 128291"/>
                    <a:gd name="connsiteY2" fmla="*/ 0 h 178750"/>
                    <a:gd name="connsiteX3" fmla="*/ 120425 w 128291"/>
                    <a:gd name="connsiteY3" fmla="*/ 0 h 178750"/>
                    <a:gd name="connsiteX4" fmla="*/ 120425 w 128291"/>
                    <a:gd name="connsiteY4" fmla="*/ 114664 h 178750"/>
                    <a:gd name="connsiteX5" fmla="*/ 64146 w 128291"/>
                    <a:gd name="connsiteY5" fmla="*/ 170885 h 178750"/>
                    <a:gd name="connsiteX6" fmla="*/ 7866 w 128291"/>
                    <a:gd name="connsiteY6" fmla="*/ 114664 h 178750"/>
                    <a:gd name="connsiteX7" fmla="*/ 7866 w 128291"/>
                    <a:gd name="connsiteY7" fmla="*/ 0 h 178750"/>
                    <a:gd name="connsiteX8" fmla="*/ 0 w 128291"/>
                    <a:gd name="connsiteY8" fmla="*/ 0 h 178750"/>
                    <a:gd name="connsiteX9" fmla="*/ 0 w 128291"/>
                    <a:gd name="connsiteY9" fmla="*/ 114664 h 178750"/>
                    <a:gd name="connsiteX10" fmla="*/ 64146 w 128291"/>
                    <a:gd name="connsiteY10" fmla="*/ 178750 h 17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291" h="178750">
                      <a:moveTo>
                        <a:pt x="64146" y="178750"/>
                      </a:moveTo>
                      <a:cubicBezTo>
                        <a:pt x="99522" y="178750"/>
                        <a:pt x="128291" y="150001"/>
                        <a:pt x="128291" y="114664"/>
                      </a:cubicBezTo>
                      <a:lnTo>
                        <a:pt x="128291" y="0"/>
                      </a:lnTo>
                      <a:lnTo>
                        <a:pt x="120425" y="0"/>
                      </a:lnTo>
                      <a:lnTo>
                        <a:pt x="120425" y="114664"/>
                      </a:lnTo>
                      <a:cubicBezTo>
                        <a:pt x="120425" y="145655"/>
                        <a:pt x="95177" y="170885"/>
                        <a:pt x="64146" y="170885"/>
                      </a:cubicBezTo>
                      <a:cubicBezTo>
                        <a:pt x="33115" y="170885"/>
                        <a:pt x="7866" y="145655"/>
                        <a:pt x="7866" y="114664"/>
                      </a:cubicBezTo>
                      <a:lnTo>
                        <a:pt x="7866" y="0"/>
                      </a:lnTo>
                      <a:lnTo>
                        <a:pt x="0" y="0"/>
                      </a:lnTo>
                      <a:lnTo>
                        <a:pt x="0" y="114664"/>
                      </a:lnTo>
                      <a:cubicBezTo>
                        <a:pt x="0" y="150001"/>
                        <a:pt x="28769" y="178750"/>
                        <a:pt x="64146" y="178750"/>
                      </a:cubicBez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88" name="Freeform: Shape 1087">
                  <a:extLst>
                    <a:ext uri="{FF2B5EF4-FFF2-40B4-BE49-F238E27FC236}">
                      <a16:creationId xmlns:a16="http://schemas.microsoft.com/office/drawing/2014/main" id="{8E338A1A-53ED-4A96-9C48-2745CD5883F6}"/>
                    </a:ext>
                  </a:extLst>
                </p:cNvPr>
                <p:cNvSpPr/>
                <p:nvPr/>
              </p:nvSpPr>
              <p:spPr>
                <a:xfrm>
                  <a:off x="4991424" y="10981759"/>
                  <a:ext cx="128291" cy="198591"/>
                </a:xfrm>
                <a:custGeom>
                  <a:avLst/>
                  <a:gdLst>
                    <a:gd name="connsiteX0" fmla="*/ 64145 w 128291"/>
                    <a:gd name="connsiteY0" fmla="*/ 198592 h 198591"/>
                    <a:gd name="connsiteX1" fmla="*/ 128291 w 128291"/>
                    <a:gd name="connsiteY1" fmla="*/ 134446 h 198591"/>
                    <a:gd name="connsiteX2" fmla="*/ 128291 w 128291"/>
                    <a:gd name="connsiteY2" fmla="*/ 0 h 198591"/>
                    <a:gd name="connsiteX3" fmla="*/ 120425 w 128291"/>
                    <a:gd name="connsiteY3" fmla="*/ 0 h 198591"/>
                    <a:gd name="connsiteX4" fmla="*/ 120425 w 128291"/>
                    <a:gd name="connsiteY4" fmla="*/ 134446 h 198591"/>
                    <a:gd name="connsiteX5" fmla="*/ 64145 w 128291"/>
                    <a:gd name="connsiteY5" fmla="*/ 190726 h 198591"/>
                    <a:gd name="connsiteX6" fmla="*/ 7866 w 128291"/>
                    <a:gd name="connsiteY6" fmla="*/ 134446 h 198591"/>
                    <a:gd name="connsiteX7" fmla="*/ 7866 w 128291"/>
                    <a:gd name="connsiteY7" fmla="*/ 0 h 198591"/>
                    <a:gd name="connsiteX8" fmla="*/ 0 w 128291"/>
                    <a:gd name="connsiteY8" fmla="*/ 0 h 198591"/>
                    <a:gd name="connsiteX9" fmla="*/ 0 w 128291"/>
                    <a:gd name="connsiteY9" fmla="*/ 134446 h 198591"/>
                    <a:gd name="connsiteX10" fmla="*/ 64145 w 128291"/>
                    <a:gd name="connsiteY10" fmla="*/ 198592 h 198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291" h="198591">
                      <a:moveTo>
                        <a:pt x="64145" y="198592"/>
                      </a:moveTo>
                      <a:cubicBezTo>
                        <a:pt x="99522" y="198592"/>
                        <a:pt x="128291" y="169823"/>
                        <a:pt x="128291" y="134446"/>
                      </a:cubicBezTo>
                      <a:lnTo>
                        <a:pt x="128291" y="0"/>
                      </a:lnTo>
                      <a:lnTo>
                        <a:pt x="120425" y="0"/>
                      </a:lnTo>
                      <a:lnTo>
                        <a:pt x="120425" y="134446"/>
                      </a:lnTo>
                      <a:cubicBezTo>
                        <a:pt x="120425" y="165477"/>
                        <a:pt x="95176" y="190726"/>
                        <a:pt x="64145" y="190726"/>
                      </a:cubicBezTo>
                      <a:cubicBezTo>
                        <a:pt x="33115" y="190726"/>
                        <a:pt x="7866" y="165477"/>
                        <a:pt x="7866" y="134446"/>
                      </a:cubicBezTo>
                      <a:lnTo>
                        <a:pt x="7866" y="0"/>
                      </a:lnTo>
                      <a:lnTo>
                        <a:pt x="0" y="0"/>
                      </a:lnTo>
                      <a:lnTo>
                        <a:pt x="0" y="134446"/>
                      </a:lnTo>
                      <a:cubicBezTo>
                        <a:pt x="0" y="169823"/>
                        <a:pt x="28769" y="198592"/>
                        <a:pt x="64145" y="198592"/>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89" name="Freeform: Shape 1088">
                  <a:extLst>
                    <a:ext uri="{FF2B5EF4-FFF2-40B4-BE49-F238E27FC236}">
                      <a16:creationId xmlns:a16="http://schemas.microsoft.com/office/drawing/2014/main" id="{593CF5ED-0948-45DA-81EC-A7CF4D066EEB}"/>
                    </a:ext>
                  </a:extLst>
                </p:cNvPr>
                <p:cNvSpPr/>
                <p:nvPr/>
              </p:nvSpPr>
              <p:spPr>
                <a:xfrm>
                  <a:off x="5596835" y="10981759"/>
                  <a:ext cx="362830" cy="215070"/>
                </a:xfrm>
                <a:custGeom>
                  <a:avLst/>
                  <a:gdLst>
                    <a:gd name="connsiteX0" fmla="*/ 64342 w 362830"/>
                    <a:gd name="connsiteY0" fmla="*/ 215071 h 215070"/>
                    <a:gd name="connsiteX1" fmla="*/ 298488 w 362830"/>
                    <a:gd name="connsiteY1" fmla="*/ 215071 h 215070"/>
                    <a:gd name="connsiteX2" fmla="*/ 362830 w 362830"/>
                    <a:gd name="connsiteY2" fmla="*/ 150729 h 215070"/>
                    <a:gd name="connsiteX3" fmla="*/ 362830 w 362830"/>
                    <a:gd name="connsiteY3" fmla="*/ 0 h 215070"/>
                    <a:gd name="connsiteX4" fmla="*/ 354964 w 362830"/>
                    <a:gd name="connsiteY4" fmla="*/ 0 h 215070"/>
                    <a:gd name="connsiteX5" fmla="*/ 354964 w 362830"/>
                    <a:gd name="connsiteY5" fmla="*/ 150729 h 215070"/>
                    <a:gd name="connsiteX6" fmla="*/ 298488 w 362830"/>
                    <a:gd name="connsiteY6" fmla="*/ 207205 h 215070"/>
                    <a:gd name="connsiteX7" fmla="*/ 64342 w 362830"/>
                    <a:gd name="connsiteY7" fmla="*/ 207205 h 215070"/>
                    <a:gd name="connsiteX8" fmla="*/ 7866 w 362830"/>
                    <a:gd name="connsiteY8" fmla="*/ 150729 h 215070"/>
                    <a:gd name="connsiteX9" fmla="*/ 7866 w 362830"/>
                    <a:gd name="connsiteY9" fmla="*/ 0 h 215070"/>
                    <a:gd name="connsiteX10" fmla="*/ 0 w 362830"/>
                    <a:gd name="connsiteY10" fmla="*/ 0 h 215070"/>
                    <a:gd name="connsiteX11" fmla="*/ 0 w 362830"/>
                    <a:gd name="connsiteY11" fmla="*/ 150729 h 215070"/>
                    <a:gd name="connsiteX12" fmla="*/ 64342 w 362830"/>
                    <a:gd name="connsiteY12" fmla="*/ 215071 h 215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830" h="215070">
                      <a:moveTo>
                        <a:pt x="64342" y="215071"/>
                      </a:moveTo>
                      <a:lnTo>
                        <a:pt x="298488" y="215071"/>
                      </a:lnTo>
                      <a:cubicBezTo>
                        <a:pt x="333963" y="215071"/>
                        <a:pt x="362830" y="186203"/>
                        <a:pt x="362830" y="150729"/>
                      </a:cubicBezTo>
                      <a:lnTo>
                        <a:pt x="362830" y="0"/>
                      </a:lnTo>
                      <a:lnTo>
                        <a:pt x="354964" y="0"/>
                      </a:lnTo>
                      <a:lnTo>
                        <a:pt x="354964" y="150729"/>
                      </a:lnTo>
                      <a:cubicBezTo>
                        <a:pt x="354964" y="181877"/>
                        <a:pt x="329637" y="207205"/>
                        <a:pt x="298488" y="207205"/>
                      </a:cubicBezTo>
                      <a:lnTo>
                        <a:pt x="64342" y="207205"/>
                      </a:lnTo>
                      <a:cubicBezTo>
                        <a:pt x="33194" y="207205"/>
                        <a:pt x="7866" y="181877"/>
                        <a:pt x="7866" y="150729"/>
                      </a:cubicBezTo>
                      <a:lnTo>
                        <a:pt x="7866" y="0"/>
                      </a:lnTo>
                      <a:lnTo>
                        <a:pt x="0" y="0"/>
                      </a:lnTo>
                      <a:lnTo>
                        <a:pt x="0" y="150729"/>
                      </a:lnTo>
                      <a:cubicBezTo>
                        <a:pt x="0" y="186203"/>
                        <a:pt x="28868" y="215071"/>
                        <a:pt x="64342" y="215071"/>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90" name="Freeform: Shape 1089">
                  <a:extLst>
                    <a:ext uri="{FF2B5EF4-FFF2-40B4-BE49-F238E27FC236}">
                      <a16:creationId xmlns:a16="http://schemas.microsoft.com/office/drawing/2014/main" id="{8295B300-A03F-4BC8-A71C-DAC4285C4828}"/>
                    </a:ext>
                  </a:extLst>
                </p:cNvPr>
                <p:cNvSpPr/>
                <p:nvPr/>
              </p:nvSpPr>
              <p:spPr>
                <a:xfrm>
                  <a:off x="5556582" y="10981759"/>
                  <a:ext cx="175663" cy="334277"/>
                </a:xfrm>
                <a:custGeom>
                  <a:avLst/>
                  <a:gdLst>
                    <a:gd name="connsiteX0" fmla="*/ 87822 w 175663"/>
                    <a:gd name="connsiteY0" fmla="*/ 334277 h 334277"/>
                    <a:gd name="connsiteX1" fmla="*/ 175663 w 175663"/>
                    <a:gd name="connsiteY1" fmla="*/ 246436 h 334277"/>
                    <a:gd name="connsiteX2" fmla="*/ 175663 w 175663"/>
                    <a:gd name="connsiteY2" fmla="*/ 0 h 334277"/>
                    <a:gd name="connsiteX3" fmla="*/ 167797 w 175663"/>
                    <a:gd name="connsiteY3" fmla="*/ 0 h 334277"/>
                    <a:gd name="connsiteX4" fmla="*/ 167797 w 175663"/>
                    <a:gd name="connsiteY4" fmla="*/ 246436 h 334277"/>
                    <a:gd name="connsiteX5" fmla="*/ 87822 w 175663"/>
                    <a:gd name="connsiteY5" fmla="*/ 326411 h 334277"/>
                    <a:gd name="connsiteX6" fmla="*/ 7866 w 175663"/>
                    <a:gd name="connsiteY6" fmla="*/ 246436 h 334277"/>
                    <a:gd name="connsiteX7" fmla="*/ 7866 w 175663"/>
                    <a:gd name="connsiteY7" fmla="*/ 0 h 334277"/>
                    <a:gd name="connsiteX8" fmla="*/ 0 w 175663"/>
                    <a:gd name="connsiteY8" fmla="*/ 0 h 334277"/>
                    <a:gd name="connsiteX9" fmla="*/ 0 w 175663"/>
                    <a:gd name="connsiteY9" fmla="*/ 246436 h 334277"/>
                    <a:gd name="connsiteX10" fmla="*/ 87822 w 175663"/>
                    <a:gd name="connsiteY10" fmla="*/ 334277 h 33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5663" h="334277">
                      <a:moveTo>
                        <a:pt x="87822" y="334277"/>
                      </a:moveTo>
                      <a:cubicBezTo>
                        <a:pt x="136256" y="334277"/>
                        <a:pt x="175663" y="294870"/>
                        <a:pt x="175663" y="246436"/>
                      </a:cubicBezTo>
                      <a:lnTo>
                        <a:pt x="175663" y="0"/>
                      </a:lnTo>
                      <a:lnTo>
                        <a:pt x="167797" y="0"/>
                      </a:lnTo>
                      <a:lnTo>
                        <a:pt x="167797" y="246436"/>
                      </a:lnTo>
                      <a:cubicBezTo>
                        <a:pt x="167797" y="290524"/>
                        <a:pt x="131929" y="326411"/>
                        <a:pt x="87822" y="326411"/>
                      </a:cubicBezTo>
                      <a:cubicBezTo>
                        <a:pt x="43714" y="326411"/>
                        <a:pt x="7866" y="290543"/>
                        <a:pt x="7866" y="246436"/>
                      </a:cubicBezTo>
                      <a:lnTo>
                        <a:pt x="7866" y="0"/>
                      </a:lnTo>
                      <a:lnTo>
                        <a:pt x="0" y="0"/>
                      </a:lnTo>
                      <a:lnTo>
                        <a:pt x="0" y="246436"/>
                      </a:lnTo>
                      <a:cubicBezTo>
                        <a:pt x="0" y="294870"/>
                        <a:pt x="39408" y="334277"/>
                        <a:pt x="87822" y="334277"/>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91" name="Freeform: Shape 1090">
                  <a:extLst>
                    <a:ext uri="{FF2B5EF4-FFF2-40B4-BE49-F238E27FC236}">
                      <a16:creationId xmlns:a16="http://schemas.microsoft.com/office/drawing/2014/main" id="{1AF40B8D-7367-4588-9100-EE356BCD66F9}"/>
                    </a:ext>
                  </a:extLst>
                </p:cNvPr>
                <p:cNvSpPr/>
                <p:nvPr/>
              </p:nvSpPr>
              <p:spPr>
                <a:xfrm rot="10800000">
                  <a:off x="4808839" y="10936098"/>
                  <a:ext cx="1473796" cy="45660"/>
                </a:xfrm>
                <a:custGeom>
                  <a:avLst/>
                  <a:gdLst>
                    <a:gd name="connsiteX0" fmla="*/ 0 w 1473796"/>
                    <a:gd name="connsiteY0" fmla="*/ 0 h 45660"/>
                    <a:gd name="connsiteX1" fmla="*/ 1473796 w 1473796"/>
                    <a:gd name="connsiteY1" fmla="*/ 0 h 45660"/>
                    <a:gd name="connsiteX2" fmla="*/ 1473796 w 1473796"/>
                    <a:gd name="connsiteY2" fmla="*/ 45661 h 45660"/>
                    <a:gd name="connsiteX3" fmla="*/ 0 w 1473796"/>
                    <a:gd name="connsiteY3" fmla="*/ 45661 h 45660"/>
                  </a:gdLst>
                  <a:ahLst/>
                  <a:cxnLst>
                    <a:cxn ang="0">
                      <a:pos x="connsiteX0" y="connsiteY0"/>
                    </a:cxn>
                    <a:cxn ang="0">
                      <a:pos x="connsiteX1" y="connsiteY1"/>
                    </a:cxn>
                    <a:cxn ang="0">
                      <a:pos x="connsiteX2" y="connsiteY2"/>
                    </a:cxn>
                    <a:cxn ang="0">
                      <a:pos x="connsiteX3" y="connsiteY3"/>
                    </a:cxn>
                  </a:cxnLst>
                  <a:rect l="l" t="t" r="r" b="b"/>
                  <a:pathLst>
                    <a:path w="1473796" h="45660">
                      <a:moveTo>
                        <a:pt x="0" y="0"/>
                      </a:moveTo>
                      <a:lnTo>
                        <a:pt x="1473796" y="0"/>
                      </a:lnTo>
                      <a:lnTo>
                        <a:pt x="1473796" y="45661"/>
                      </a:lnTo>
                      <a:lnTo>
                        <a:pt x="0" y="45661"/>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92" name="Freeform: Shape 1091">
                  <a:extLst>
                    <a:ext uri="{FF2B5EF4-FFF2-40B4-BE49-F238E27FC236}">
                      <a16:creationId xmlns:a16="http://schemas.microsoft.com/office/drawing/2014/main" id="{9B4C6401-6A7A-4BC5-B57A-66939F8FA1B5}"/>
                    </a:ext>
                  </a:extLst>
                </p:cNvPr>
                <p:cNvSpPr/>
                <p:nvPr/>
              </p:nvSpPr>
              <p:spPr>
                <a:xfrm>
                  <a:off x="5762096" y="10287995"/>
                  <a:ext cx="193636" cy="346488"/>
                </a:xfrm>
                <a:custGeom>
                  <a:avLst/>
                  <a:gdLst>
                    <a:gd name="connsiteX0" fmla="*/ 82571 w 193636"/>
                    <a:gd name="connsiteY0" fmla="*/ 0 h 346488"/>
                    <a:gd name="connsiteX1" fmla="*/ 193636 w 193636"/>
                    <a:gd name="connsiteY1" fmla="*/ 121409 h 346488"/>
                    <a:gd name="connsiteX2" fmla="*/ 193636 w 193636"/>
                    <a:gd name="connsiteY2" fmla="*/ 0 h 346488"/>
                    <a:gd name="connsiteX3" fmla="*/ 82571 w 193636"/>
                    <a:gd name="connsiteY3" fmla="*/ 0 h 346488"/>
                    <a:gd name="connsiteX4" fmla="*/ 193636 w 193636"/>
                    <a:gd name="connsiteY4" fmla="*/ 319588 h 346488"/>
                    <a:gd name="connsiteX5" fmla="*/ 0 w 193636"/>
                    <a:gd name="connsiteY5" fmla="*/ 107919 h 346488"/>
                    <a:gd name="connsiteX6" fmla="*/ 0 w 193636"/>
                    <a:gd name="connsiteY6" fmla="*/ 251804 h 346488"/>
                    <a:gd name="connsiteX7" fmla="*/ 86622 w 193636"/>
                    <a:gd name="connsiteY7" fmla="*/ 346489 h 346488"/>
                    <a:gd name="connsiteX8" fmla="*/ 193636 w 193636"/>
                    <a:gd name="connsiteY8" fmla="*/ 346489 h 346488"/>
                    <a:gd name="connsiteX9" fmla="*/ 193636 w 193636"/>
                    <a:gd name="connsiteY9" fmla="*/ 319588 h 346488"/>
                    <a:gd name="connsiteX10" fmla="*/ 610 w 193636"/>
                    <a:gd name="connsiteY10" fmla="*/ 0 h 346488"/>
                    <a:gd name="connsiteX11" fmla="*/ 193636 w 193636"/>
                    <a:gd name="connsiteY11" fmla="*/ 211000 h 346488"/>
                    <a:gd name="connsiteX12" fmla="*/ 193636 w 193636"/>
                    <a:gd name="connsiteY12" fmla="*/ 156707 h 346488"/>
                    <a:gd name="connsiteX13" fmla="*/ 50282 w 193636"/>
                    <a:gd name="connsiteY13" fmla="*/ 0 h 346488"/>
                    <a:gd name="connsiteX14" fmla="*/ 610 w 193636"/>
                    <a:gd name="connsiteY14" fmla="*/ 0 h 346488"/>
                    <a:gd name="connsiteX15" fmla="*/ 0 w 193636"/>
                    <a:gd name="connsiteY15" fmla="*/ 26468 h 346488"/>
                    <a:gd name="connsiteX16" fmla="*/ 0 w 193636"/>
                    <a:gd name="connsiteY16" fmla="*/ 80762 h 346488"/>
                    <a:gd name="connsiteX17" fmla="*/ 193636 w 193636"/>
                    <a:gd name="connsiteY17" fmla="*/ 292431 h 346488"/>
                    <a:gd name="connsiteX18" fmla="*/ 193636 w 193636"/>
                    <a:gd name="connsiteY18" fmla="*/ 238137 h 346488"/>
                    <a:gd name="connsiteX19" fmla="*/ 0 w 193636"/>
                    <a:gd name="connsiteY19" fmla="*/ 26468 h 34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3636" h="346488">
                      <a:moveTo>
                        <a:pt x="82571" y="0"/>
                      </a:moveTo>
                      <a:lnTo>
                        <a:pt x="193636" y="121409"/>
                      </a:lnTo>
                      <a:lnTo>
                        <a:pt x="193636" y="0"/>
                      </a:lnTo>
                      <a:lnTo>
                        <a:pt x="82571" y="0"/>
                      </a:lnTo>
                      <a:close/>
                      <a:moveTo>
                        <a:pt x="193636" y="319588"/>
                      </a:moveTo>
                      <a:lnTo>
                        <a:pt x="0" y="107919"/>
                      </a:lnTo>
                      <a:lnTo>
                        <a:pt x="0" y="251804"/>
                      </a:lnTo>
                      <a:lnTo>
                        <a:pt x="86622" y="346489"/>
                      </a:lnTo>
                      <a:lnTo>
                        <a:pt x="193636" y="346489"/>
                      </a:lnTo>
                      <a:lnTo>
                        <a:pt x="193636" y="319588"/>
                      </a:lnTo>
                      <a:close/>
                      <a:moveTo>
                        <a:pt x="610" y="0"/>
                      </a:moveTo>
                      <a:lnTo>
                        <a:pt x="193636" y="211000"/>
                      </a:lnTo>
                      <a:lnTo>
                        <a:pt x="193636" y="156707"/>
                      </a:lnTo>
                      <a:lnTo>
                        <a:pt x="50282" y="0"/>
                      </a:lnTo>
                      <a:lnTo>
                        <a:pt x="610" y="0"/>
                      </a:lnTo>
                      <a:close/>
                      <a:moveTo>
                        <a:pt x="0" y="26468"/>
                      </a:moveTo>
                      <a:lnTo>
                        <a:pt x="0" y="80762"/>
                      </a:lnTo>
                      <a:lnTo>
                        <a:pt x="193636" y="292431"/>
                      </a:lnTo>
                      <a:lnTo>
                        <a:pt x="193636" y="238137"/>
                      </a:lnTo>
                      <a:lnTo>
                        <a:pt x="0" y="26468"/>
                      </a:lnTo>
                      <a:close/>
                    </a:path>
                  </a:pathLst>
                </a:custGeom>
                <a:solidFill>
                  <a:srgbClr val="B4BECC"/>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93" name="Freeform: Shape 1092">
                  <a:extLst>
                    <a:ext uri="{FF2B5EF4-FFF2-40B4-BE49-F238E27FC236}">
                      <a16:creationId xmlns:a16="http://schemas.microsoft.com/office/drawing/2014/main" id="{7C30E680-C162-405B-A970-6454CE9158E2}"/>
                    </a:ext>
                  </a:extLst>
                </p:cNvPr>
                <p:cNvSpPr/>
                <p:nvPr/>
              </p:nvSpPr>
              <p:spPr>
                <a:xfrm>
                  <a:off x="6044577" y="10287995"/>
                  <a:ext cx="193636" cy="346488"/>
                </a:xfrm>
                <a:custGeom>
                  <a:avLst/>
                  <a:gdLst>
                    <a:gd name="connsiteX0" fmla="*/ 54864 w 193636"/>
                    <a:gd name="connsiteY0" fmla="*/ 0 h 346488"/>
                    <a:gd name="connsiteX1" fmla="*/ 193636 w 193636"/>
                    <a:gd name="connsiteY1" fmla="*/ 151692 h 346488"/>
                    <a:gd name="connsiteX2" fmla="*/ 193636 w 193636"/>
                    <a:gd name="connsiteY2" fmla="*/ 94685 h 346488"/>
                    <a:gd name="connsiteX3" fmla="*/ 107014 w 193636"/>
                    <a:gd name="connsiteY3" fmla="*/ 0 h 346488"/>
                    <a:gd name="connsiteX4" fmla="*/ 54864 w 193636"/>
                    <a:gd name="connsiteY4" fmla="*/ 0 h 346488"/>
                    <a:gd name="connsiteX5" fmla="*/ 0 w 193636"/>
                    <a:gd name="connsiteY5" fmla="*/ 0 h 346488"/>
                    <a:gd name="connsiteX6" fmla="*/ 0 w 193636"/>
                    <a:gd name="connsiteY6" fmla="*/ 218532 h 346488"/>
                    <a:gd name="connsiteX7" fmla="*/ 117043 w 193636"/>
                    <a:gd name="connsiteY7" fmla="*/ 346489 h 346488"/>
                    <a:gd name="connsiteX8" fmla="*/ 193636 w 193636"/>
                    <a:gd name="connsiteY8" fmla="*/ 346489 h 346488"/>
                    <a:gd name="connsiteX9" fmla="*/ 193636 w 193636"/>
                    <a:gd name="connsiteY9" fmla="*/ 178849 h 346488"/>
                    <a:gd name="connsiteX10" fmla="*/ 30028 w 193636"/>
                    <a:gd name="connsiteY10" fmla="*/ 0 h 346488"/>
                    <a:gd name="connsiteX11" fmla="*/ 0 w 193636"/>
                    <a:gd name="connsiteY11" fmla="*/ 0 h 346488"/>
                    <a:gd name="connsiteX12" fmla="*/ 84773 w 193636"/>
                    <a:gd name="connsiteY12" fmla="*/ 346489 h 346488"/>
                    <a:gd name="connsiteX13" fmla="*/ 0 w 193636"/>
                    <a:gd name="connsiteY13" fmla="*/ 253830 h 346488"/>
                    <a:gd name="connsiteX14" fmla="*/ 0 w 193636"/>
                    <a:gd name="connsiteY14" fmla="*/ 308123 h 346488"/>
                    <a:gd name="connsiteX15" fmla="*/ 35101 w 193636"/>
                    <a:gd name="connsiteY15" fmla="*/ 346489 h 346488"/>
                    <a:gd name="connsiteX16" fmla="*/ 84773 w 193636"/>
                    <a:gd name="connsiteY16" fmla="*/ 346489 h 346488"/>
                    <a:gd name="connsiteX17" fmla="*/ 10265 w 193636"/>
                    <a:gd name="connsiteY17" fmla="*/ 346489 h 346488"/>
                    <a:gd name="connsiteX18" fmla="*/ 0 w 193636"/>
                    <a:gd name="connsiteY18" fmla="*/ 335280 h 346488"/>
                    <a:gd name="connsiteX19" fmla="*/ 0 w 193636"/>
                    <a:gd name="connsiteY19" fmla="*/ 346489 h 346488"/>
                    <a:gd name="connsiteX20" fmla="*/ 10265 w 193636"/>
                    <a:gd name="connsiteY20" fmla="*/ 346489 h 34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636" h="346488">
                      <a:moveTo>
                        <a:pt x="54864" y="0"/>
                      </a:moveTo>
                      <a:lnTo>
                        <a:pt x="193636" y="151692"/>
                      </a:lnTo>
                      <a:lnTo>
                        <a:pt x="193636" y="94685"/>
                      </a:lnTo>
                      <a:lnTo>
                        <a:pt x="107014" y="0"/>
                      </a:lnTo>
                      <a:lnTo>
                        <a:pt x="54864" y="0"/>
                      </a:lnTo>
                      <a:close/>
                      <a:moveTo>
                        <a:pt x="0" y="0"/>
                      </a:moveTo>
                      <a:lnTo>
                        <a:pt x="0" y="218532"/>
                      </a:lnTo>
                      <a:lnTo>
                        <a:pt x="117043" y="346489"/>
                      </a:lnTo>
                      <a:lnTo>
                        <a:pt x="193636" y="346489"/>
                      </a:lnTo>
                      <a:lnTo>
                        <a:pt x="193636" y="178849"/>
                      </a:lnTo>
                      <a:lnTo>
                        <a:pt x="30028" y="0"/>
                      </a:lnTo>
                      <a:lnTo>
                        <a:pt x="0" y="0"/>
                      </a:lnTo>
                      <a:close/>
                      <a:moveTo>
                        <a:pt x="84773" y="346489"/>
                      </a:moveTo>
                      <a:lnTo>
                        <a:pt x="0" y="253830"/>
                      </a:lnTo>
                      <a:lnTo>
                        <a:pt x="0" y="308123"/>
                      </a:lnTo>
                      <a:lnTo>
                        <a:pt x="35101" y="346489"/>
                      </a:lnTo>
                      <a:lnTo>
                        <a:pt x="84773" y="346489"/>
                      </a:lnTo>
                      <a:close/>
                      <a:moveTo>
                        <a:pt x="10265" y="346489"/>
                      </a:moveTo>
                      <a:lnTo>
                        <a:pt x="0" y="335280"/>
                      </a:lnTo>
                      <a:lnTo>
                        <a:pt x="0" y="346489"/>
                      </a:lnTo>
                      <a:lnTo>
                        <a:pt x="10265" y="346489"/>
                      </a:lnTo>
                      <a:close/>
                    </a:path>
                  </a:pathLst>
                </a:custGeom>
                <a:solidFill>
                  <a:srgbClr val="B4BECC"/>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94" name="Freeform: Shape 1093">
                  <a:extLst>
                    <a:ext uri="{FF2B5EF4-FFF2-40B4-BE49-F238E27FC236}">
                      <a16:creationId xmlns:a16="http://schemas.microsoft.com/office/drawing/2014/main" id="{2C27C842-00EA-426A-894F-8178D70DF235}"/>
                    </a:ext>
                  </a:extLst>
                </p:cNvPr>
                <p:cNvSpPr/>
                <p:nvPr/>
              </p:nvSpPr>
              <p:spPr>
                <a:xfrm rot="10800000">
                  <a:off x="5275557" y="10439687"/>
                  <a:ext cx="53841" cy="246553"/>
                </a:xfrm>
                <a:custGeom>
                  <a:avLst/>
                  <a:gdLst>
                    <a:gd name="connsiteX0" fmla="*/ 0 w 53841"/>
                    <a:gd name="connsiteY0" fmla="*/ 0 h 246553"/>
                    <a:gd name="connsiteX1" fmla="*/ 53841 w 53841"/>
                    <a:gd name="connsiteY1" fmla="*/ 0 h 246553"/>
                    <a:gd name="connsiteX2" fmla="*/ 53841 w 53841"/>
                    <a:gd name="connsiteY2" fmla="*/ 246554 h 246553"/>
                    <a:gd name="connsiteX3" fmla="*/ 0 w 53841"/>
                    <a:gd name="connsiteY3" fmla="*/ 246554 h 246553"/>
                  </a:gdLst>
                  <a:ahLst/>
                  <a:cxnLst>
                    <a:cxn ang="0">
                      <a:pos x="connsiteX0" y="connsiteY0"/>
                    </a:cxn>
                    <a:cxn ang="0">
                      <a:pos x="connsiteX1" y="connsiteY1"/>
                    </a:cxn>
                    <a:cxn ang="0">
                      <a:pos x="connsiteX2" y="connsiteY2"/>
                    </a:cxn>
                    <a:cxn ang="0">
                      <a:pos x="connsiteX3" y="connsiteY3"/>
                    </a:cxn>
                  </a:cxnLst>
                  <a:rect l="l" t="t" r="r" b="b"/>
                  <a:pathLst>
                    <a:path w="53841" h="246553">
                      <a:moveTo>
                        <a:pt x="0" y="0"/>
                      </a:moveTo>
                      <a:lnTo>
                        <a:pt x="53841" y="0"/>
                      </a:lnTo>
                      <a:lnTo>
                        <a:pt x="53841" y="246554"/>
                      </a:lnTo>
                      <a:lnTo>
                        <a:pt x="0" y="246554"/>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095" name="Graphic 10">
                  <a:extLst>
                    <a:ext uri="{FF2B5EF4-FFF2-40B4-BE49-F238E27FC236}">
                      <a16:creationId xmlns:a16="http://schemas.microsoft.com/office/drawing/2014/main" id="{43B1B19A-5BE3-4F6A-96D9-DAD57CF9E0A7}"/>
                    </a:ext>
                  </a:extLst>
                </p:cNvPr>
                <p:cNvGrpSpPr/>
                <p:nvPr/>
              </p:nvGrpSpPr>
              <p:grpSpPr>
                <a:xfrm>
                  <a:off x="5294828" y="10476165"/>
                  <a:ext cx="15318" cy="173578"/>
                  <a:chOff x="5294828" y="10476165"/>
                  <a:chExt cx="15318" cy="173578"/>
                </a:xfrm>
              </p:grpSpPr>
              <p:sp>
                <p:nvSpPr>
                  <p:cNvPr id="1150" name="Freeform: Shape 1149">
                    <a:extLst>
                      <a:ext uri="{FF2B5EF4-FFF2-40B4-BE49-F238E27FC236}">
                        <a16:creationId xmlns:a16="http://schemas.microsoft.com/office/drawing/2014/main" id="{2034ABCE-7628-418E-B990-9CE70DB67C5C}"/>
                      </a:ext>
                    </a:extLst>
                  </p:cNvPr>
                  <p:cNvSpPr/>
                  <p:nvPr/>
                </p:nvSpPr>
                <p:spPr>
                  <a:xfrm rot="-5400000">
                    <a:off x="5294847" y="10476165"/>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51" name="Freeform: Shape 1150">
                    <a:extLst>
                      <a:ext uri="{FF2B5EF4-FFF2-40B4-BE49-F238E27FC236}">
                        <a16:creationId xmlns:a16="http://schemas.microsoft.com/office/drawing/2014/main" id="{89F70AE9-F240-4807-ABD0-860F5669D7C6}"/>
                      </a:ext>
                    </a:extLst>
                  </p:cNvPr>
                  <p:cNvSpPr/>
                  <p:nvPr/>
                </p:nvSpPr>
                <p:spPr>
                  <a:xfrm rot="-5400000">
                    <a:off x="5294847" y="10498779"/>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52" name="Freeform: Shape 1151">
                    <a:extLst>
                      <a:ext uri="{FF2B5EF4-FFF2-40B4-BE49-F238E27FC236}">
                        <a16:creationId xmlns:a16="http://schemas.microsoft.com/office/drawing/2014/main" id="{5C322D8B-FB32-43A5-9FFB-77CDD2E4A875}"/>
                      </a:ext>
                    </a:extLst>
                  </p:cNvPr>
                  <p:cNvSpPr/>
                  <p:nvPr/>
                </p:nvSpPr>
                <p:spPr>
                  <a:xfrm rot="-5400000">
                    <a:off x="5294847" y="10521393"/>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53" name="Freeform: Shape 1152">
                    <a:extLst>
                      <a:ext uri="{FF2B5EF4-FFF2-40B4-BE49-F238E27FC236}">
                        <a16:creationId xmlns:a16="http://schemas.microsoft.com/office/drawing/2014/main" id="{E361274D-9439-4082-87F8-DE0D5336D4E4}"/>
                      </a:ext>
                    </a:extLst>
                  </p:cNvPr>
                  <p:cNvSpPr/>
                  <p:nvPr/>
                </p:nvSpPr>
                <p:spPr>
                  <a:xfrm rot="-5400000">
                    <a:off x="5294828" y="10544007"/>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54" name="Freeform: Shape 1153">
                    <a:extLst>
                      <a:ext uri="{FF2B5EF4-FFF2-40B4-BE49-F238E27FC236}">
                        <a16:creationId xmlns:a16="http://schemas.microsoft.com/office/drawing/2014/main" id="{CED338D5-180B-472A-9E67-A7BA4DB88677}"/>
                      </a:ext>
                    </a:extLst>
                  </p:cNvPr>
                  <p:cNvSpPr/>
                  <p:nvPr/>
                </p:nvSpPr>
                <p:spPr>
                  <a:xfrm rot="-5400000">
                    <a:off x="5294847" y="1056662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55" name="Freeform: Shape 1154">
                    <a:extLst>
                      <a:ext uri="{FF2B5EF4-FFF2-40B4-BE49-F238E27FC236}">
                        <a16:creationId xmlns:a16="http://schemas.microsoft.com/office/drawing/2014/main" id="{8C3F22B9-93D7-460A-94B3-322E08F38210}"/>
                      </a:ext>
                    </a:extLst>
                  </p:cNvPr>
                  <p:cNvSpPr/>
                  <p:nvPr/>
                </p:nvSpPr>
                <p:spPr>
                  <a:xfrm rot="-5400000">
                    <a:off x="5294847" y="10589236"/>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56" name="Freeform: Shape 1155">
                    <a:extLst>
                      <a:ext uri="{FF2B5EF4-FFF2-40B4-BE49-F238E27FC236}">
                        <a16:creationId xmlns:a16="http://schemas.microsoft.com/office/drawing/2014/main" id="{C38473DC-2DF4-4640-BE19-22FF0A88FF04}"/>
                      </a:ext>
                    </a:extLst>
                  </p:cNvPr>
                  <p:cNvSpPr/>
                  <p:nvPr/>
                </p:nvSpPr>
                <p:spPr>
                  <a:xfrm rot="-5400000">
                    <a:off x="5294847" y="1061183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57" name="Freeform: Shape 1156">
                    <a:extLst>
                      <a:ext uri="{FF2B5EF4-FFF2-40B4-BE49-F238E27FC236}">
                        <a16:creationId xmlns:a16="http://schemas.microsoft.com/office/drawing/2014/main" id="{682355DB-0CD5-4FBF-A8EE-074D11CE936D}"/>
                      </a:ext>
                    </a:extLst>
                  </p:cNvPr>
                  <p:cNvSpPr/>
                  <p:nvPr/>
                </p:nvSpPr>
                <p:spPr>
                  <a:xfrm rot="-5400000">
                    <a:off x="5294847" y="10634444"/>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096" name="Freeform: Shape 1095">
                  <a:extLst>
                    <a:ext uri="{FF2B5EF4-FFF2-40B4-BE49-F238E27FC236}">
                      <a16:creationId xmlns:a16="http://schemas.microsoft.com/office/drawing/2014/main" id="{FE3E6AA0-73F0-41A3-BDFA-806BA2CAD9CD}"/>
                    </a:ext>
                  </a:extLst>
                </p:cNvPr>
                <p:cNvSpPr/>
                <p:nvPr/>
              </p:nvSpPr>
              <p:spPr>
                <a:xfrm rot="10800000">
                  <a:off x="5191097" y="10439687"/>
                  <a:ext cx="53841" cy="246553"/>
                </a:xfrm>
                <a:custGeom>
                  <a:avLst/>
                  <a:gdLst>
                    <a:gd name="connsiteX0" fmla="*/ 0 w 53841"/>
                    <a:gd name="connsiteY0" fmla="*/ 0 h 246553"/>
                    <a:gd name="connsiteX1" fmla="*/ 53841 w 53841"/>
                    <a:gd name="connsiteY1" fmla="*/ 0 h 246553"/>
                    <a:gd name="connsiteX2" fmla="*/ 53841 w 53841"/>
                    <a:gd name="connsiteY2" fmla="*/ 246554 h 246553"/>
                    <a:gd name="connsiteX3" fmla="*/ 0 w 53841"/>
                    <a:gd name="connsiteY3" fmla="*/ 246554 h 246553"/>
                  </a:gdLst>
                  <a:ahLst/>
                  <a:cxnLst>
                    <a:cxn ang="0">
                      <a:pos x="connsiteX0" y="connsiteY0"/>
                    </a:cxn>
                    <a:cxn ang="0">
                      <a:pos x="connsiteX1" y="connsiteY1"/>
                    </a:cxn>
                    <a:cxn ang="0">
                      <a:pos x="connsiteX2" y="connsiteY2"/>
                    </a:cxn>
                    <a:cxn ang="0">
                      <a:pos x="connsiteX3" y="connsiteY3"/>
                    </a:cxn>
                  </a:cxnLst>
                  <a:rect l="l" t="t" r="r" b="b"/>
                  <a:pathLst>
                    <a:path w="53841" h="246553">
                      <a:moveTo>
                        <a:pt x="0" y="0"/>
                      </a:moveTo>
                      <a:lnTo>
                        <a:pt x="53841" y="0"/>
                      </a:lnTo>
                      <a:lnTo>
                        <a:pt x="53841" y="246554"/>
                      </a:lnTo>
                      <a:lnTo>
                        <a:pt x="0" y="246554"/>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97" name="Freeform: Shape 1096">
                  <a:extLst>
                    <a:ext uri="{FF2B5EF4-FFF2-40B4-BE49-F238E27FC236}">
                      <a16:creationId xmlns:a16="http://schemas.microsoft.com/office/drawing/2014/main" id="{D6C9EE04-2DD0-41AD-95D4-40AE8F437EBE}"/>
                    </a:ext>
                  </a:extLst>
                </p:cNvPr>
                <p:cNvSpPr/>
                <p:nvPr/>
              </p:nvSpPr>
              <p:spPr>
                <a:xfrm rot="10800000">
                  <a:off x="5106658" y="10439687"/>
                  <a:ext cx="53841" cy="246553"/>
                </a:xfrm>
                <a:custGeom>
                  <a:avLst/>
                  <a:gdLst>
                    <a:gd name="connsiteX0" fmla="*/ 0 w 53841"/>
                    <a:gd name="connsiteY0" fmla="*/ 0 h 246553"/>
                    <a:gd name="connsiteX1" fmla="*/ 53841 w 53841"/>
                    <a:gd name="connsiteY1" fmla="*/ 0 h 246553"/>
                    <a:gd name="connsiteX2" fmla="*/ 53841 w 53841"/>
                    <a:gd name="connsiteY2" fmla="*/ 246554 h 246553"/>
                    <a:gd name="connsiteX3" fmla="*/ 0 w 53841"/>
                    <a:gd name="connsiteY3" fmla="*/ 246554 h 246553"/>
                  </a:gdLst>
                  <a:ahLst/>
                  <a:cxnLst>
                    <a:cxn ang="0">
                      <a:pos x="connsiteX0" y="connsiteY0"/>
                    </a:cxn>
                    <a:cxn ang="0">
                      <a:pos x="connsiteX1" y="connsiteY1"/>
                    </a:cxn>
                    <a:cxn ang="0">
                      <a:pos x="connsiteX2" y="connsiteY2"/>
                    </a:cxn>
                    <a:cxn ang="0">
                      <a:pos x="connsiteX3" y="connsiteY3"/>
                    </a:cxn>
                  </a:cxnLst>
                  <a:rect l="l" t="t" r="r" b="b"/>
                  <a:pathLst>
                    <a:path w="53841" h="246553">
                      <a:moveTo>
                        <a:pt x="0" y="0"/>
                      </a:moveTo>
                      <a:lnTo>
                        <a:pt x="53841" y="0"/>
                      </a:lnTo>
                      <a:lnTo>
                        <a:pt x="53841" y="246554"/>
                      </a:lnTo>
                      <a:lnTo>
                        <a:pt x="0" y="246554"/>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98" name="Freeform: Shape 1097">
                  <a:extLst>
                    <a:ext uri="{FF2B5EF4-FFF2-40B4-BE49-F238E27FC236}">
                      <a16:creationId xmlns:a16="http://schemas.microsoft.com/office/drawing/2014/main" id="{0B022CF2-6DF4-40CC-BAA2-7E1E241D4376}"/>
                    </a:ext>
                  </a:extLst>
                </p:cNvPr>
                <p:cNvSpPr/>
                <p:nvPr/>
              </p:nvSpPr>
              <p:spPr>
                <a:xfrm rot="10800000">
                  <a:off x="5022199" y="10439687"/>
                  <a:ext cx="53841" cy="246553"/>
                </a:xfrm>
                <a:custGeom>
                  <a:avLst/>
                  <a:gdLst>
                    <a:gd name="connsiteX0" fmla="*/ 0 w 53841"/>
                    <a:gd name="connsiteY0" fmla="*/ 0 h 246553"/>
                    <a:gd name="connsiteX1" fmla="*/ 53841 w 53841"/>
                    <a:gd name="connsiteY1" fmla="*/ 0 h 246553"/>
                    <a:gd name="connsiteX2" fmla="*/ 53841 w 53841"/>
                    <a:gd name="connsiteY2" fmla="*/ 246554 h 246553"/>
                    <a:gd name="connsiteX3" fmla="*/ 0 w 53841"/>
                    <a:gd name="connsiteY3" fmla="*/ 246554 h 246553"/>
                  </a:gdLst>
                  <a:ahLst/>
                  <a:cxnLst>
                    <a:cxn ang="0">
                      <a:pos x="connsiteX0" y="connsiteY0"/>
                    </a:cxn>
                    <a:cxn ang="0">
                      <a:pos x="connsiteX1" y="connsiteY1"/>
                    </a:cxn>
                    <a:cxn ang="0">
                      <a:pos x="connsiteX2" y="connsiteY2"/>
                    </a:cxn>
                    <a:cxn ang="0">
                      <a:pos x="connsiteX3" y="connsiteY3"/>
                    </a:cxn>
                  </a:cxnLst>
                  <a:rect l="l" t="t" r="r" b="b"/>
                  <a:pathLst>
                    <a:path w="53841" h="246553">
                      <a:moveTo>
                        <a:pt x="0" y="0"/>
                      </a:moveTo>
                      <a:lnTo>
                        <a:pt x="53841" y="0"/>
                      </a:lnTo>
                      <a:lnTo>
                        <a:pt x="53841" y="246554"/>
                      </a:lnTo>
                      <a:lnTo>
                        <a:pt x="0" y="246554"/>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99" name="Freeform: Shape 1098">
                  <a:extLst>
                    <a:ext uri="{FF2B5EF4-FFF2-40B4-BE49-F238E27FC236}">
                      <a16:creationId xmlns:a16="http://schemas.microsoft.com/office/drawing/2014/main" id="{3846F153-C755-4753-BAEB-D0567960153B}"/>
                    </a:ext>
                  </a:extLst>
                </p:cNvPr>
                <p:cNvSpPr/>
                <p:nvPr/>
              </p:nvSpPr>
              <p:spPr>
                <a:xfrm rot="10800000">
                  <a:off x="4937740" y="10439687"/>
                  <a:ext cx="53841" cy="246553"/>
                </a:xfrm>
                <a:custGeom>
                  <a:avLst/>
                  <a:gdLst>
                    <a:gd name="connsiteX0" fmla="*/ 0 w 53841"/>
                    <a:gd name="connsiteY0" fmla="*/ 0 h 246553"/>
                    <a:gd name="connsiteX1" fmla="*/ 53841 w 53841"/>
                    <a:gd name="connsiteY1" fmla="*/ 0 h 246553"/>
                    <a:gd name="connsiteX2" fmla="*/ 53841 w 53841"/>
                    <a:gd name="connsiteY2" fmla="*/ 246554 h 246553"/>
                    <a:gd name="connsiteX3" fmla="*/ 0 w 53841"/>
                    <a:gd name="connsiteY3" fmla="*/ 246554 h 246553"/>
                  </a:gdLst>
                  <a:ahLst/>
                  <a:cxnLst>
                    <a:cxn ang="0">
                      <a:pos x="connsiteX0" y="connsiteY0"/>
                    </a:cxn>
                    <a:cxn ang="0">
                      <a:pos x="connsiteX1" y="connsiteY1"/>
                    </a:cxn>
                    <a:cxn ang="0">
                      <a:pos x="connsiteX2" y="connsiteY2"/>
                    </a:cxn>
                    <a:cxn ang="0">
                      <a:pos x="connsiteX3" y="connsiteY3"/>
                    </a:cxn>
                  </a:cxnLst>
                  <a:rect l="l" t="t" r="r" b="b"/>
                  <a:pathLst>
                    <a:path w="53841" h="246553">
                      <a:moveTo>
                        <a:pt x="0" y="0"/>
                      </a:moveTo>
                      <a:lnTo>
                        <a:pt x="53841" y="0"/>
                      </a:lnTo>
                      <a:lnTo>
                        <a:pt x="53841" y="246554"/>
                      </a:lnTo>
                      <a:lnTo>
                        <a:pt x="0" y="246554"/>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00" name="Freeform: Shape 1099">
                  <a:extLst>
                    <a:ext uri="{FF2B5EF4-FFF2-40B4-BE49-F238E27FC236}">
                      <a16:creationId xmlns:a16="http://schemas.microsoft.com/office/drawing/2014/main" id="{42DBB867-62F9-44A0-BBFC-D3681E9B6F8B}"/>
                    </a:ext>
                  </a:extLst>
                </p:cNvPr>
                <p:cNvSpPr/>
                <p:nvPr/>
              </p:nvSpPr>
              <p:spPr>
                <a:xfrm rot="10800000">
                  <a:off x="4853281" y="10439687"/>
                  <a:ext cx="53841" cy="246553"/>
                </a:xfrm>
                <a:custGeom>
                  <a:avLst/>
                  <a:gdLst>
                    <a:gd name="connsiteX0" fmla="*/ 0 w 53841"/>
                    <a:gd name="connsiteY0" fmla="*/ 0 h 246553"/>
                    <a:gd name="connsiteX1" fmla="*/ 53841 w 53841"/>
                    <a:gd name="connsiteY1" fmla="*/ 0 h 246553"/>
                    <a:gd name="connsiteX2" fmla="*/ 53841 w 53841"/>
                    <a:gd name="connsiteY2" fmla="*/ 246554 h 246553"/>
                    <a:gd name="connsiteX3" fmla="*/ 0 w 53841"/>
                    <a:gd name="connsiteY3" fmla="*/ 246554 h 246553"/>
                  </a:gdLst>
                  <a:ahLst/>
                  <a:cxnLst>
                    <a:cxn ang="0">
                      <a:pos x="connsiteX0" y="connsiteY0"/>
                    </a:cxn>
                    <a:cxn ang="0">
                      <a:pos x="connsiteX1" y="connsiteY1"/>
                    </a:cxn>
                    <a:cxn ang="0">
                      <a:pos x="connsiteX2" y="connsiteY2"/>
                    </a:cxn>
                    <a:cxn ang="0">
                      <a:pos x="connsiteX3" y="connsiteY3"/>
                    </a:cxn>
                  </a:cxnLst>
                  <a:rect l="l" t="t" r="r" b="b"/>
                  <a:pathLst>
                    <a:path w="53841" h="246553">
                      <a:moveTo>
                        <a:pt x="0" y="0"/>
                      </a:moveTo>
                      <a:lnTo>
                        <a:pt x="53841" y="0"/>
                      </a:lnTo>
                      <a:lnTo>
                        <a:pt x="53841" y="246554"/>
                      </a:lnTo>
                      <a:lnTo>
                        <a:pt x="0" y="246554"/>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101" name="Graphic 10">
                  <a:extLst>
                    <a:ext uri="{FF2B5EF4-FFF2-40B4-BE49-F238E27FC236}">
                      <a16:creationId xmlns:a16="http://schemas.microsoft.com/office/drawing/2014/main" id="{E3A6FF4A-79F8-4473-9B93-5B7B9C91D3AB}"/>
                    </a:ext>
                  </a:extLst>
                </p:cNvPr>
                <p:cNvGrpSpPr/>
                <p:nvPr/>
              </p:nvGrpSpPr>
              <p:grpSpPr>
                <a:xfrm>
                  <a:off x="5210369" y="10476165"/>
                  <a:ext cx="15318" cy="173578"/>
                  <a:chOff x="5210369" y="10476165"/>
                  <a:chExt cx="15318" cy="173578"/>
                </a:xfrm>
              </p:grpSpPr>
              <p:sp>
                <p:nvSpPr>
                  <p:cNvPr id="1142" name="Freeform: Shape 1141">
                    <a:extLst>
                      <a:ext uri="{FF2B5EF4-FFF2-40B4-BE49-F238E27FC236}">
                        <a16:creationId xmlns:a16="http://schemas.microsoft.com/office/drawing/2014/main" id="{B27466D0-586A-4392-9CE9-216B159BC330}"/>
                      </a:ext>
                    </a:extLst>
                  </p:cNvPr>
                  <p:cNvSpPr/>
                  <p:nvPr/>
                </p:nvSpPr>
                <p:spPr>
                  <a:xfrm rot="-5400000">
                    <a:off x="5210388" y="10476165"/>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43" name="Freeform: Shape 1142">
                    <a:extLst>
                      <a:ext uri="{FF2B5EF4-FFF2-40B4-BE49-F238E27FC236}">
                        <a16:creationId xmlns:a16="http://schemas.microsoft.com/office/drawing/2014/main" id="{D612E105-D959-4861-A77A-FB9B1F1092E2}"/>
                      </a:ext>
                    </a:extLst>
                  </p:cNvPr>
                  <p:cNvSpPr/>
                  <p:nvPr/>
                </p:nvSpPr>
                <p:spPr>
                  <a:xfrm rot="-5400000">
                    <a:off x="5210388" y="10498779"/>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44" name="Freeform: Shape 1143">
                    <a:extLst>
                      <a:ext uri="{FF2B5EF4-FFF2-40B4-BE49-F238E27FC236}">
                        <a16:creationId xmlns:a16="http://schemas.microsoft.com/office/drawing/2014/main" id="{3F5BADE5-23C6-4DD9-8417-C4B345A1E329}"/>
                      </a:ext>
                    </a:extLst>
                  </p:cNvPr>
                  <p:cNvSpPr/>
                  <p:nvPr/>
                </p:nvSpPr>
                <p:spPr>
                  <a:xfrm rot="-5400000">
                    <a:off x="5210388" y="10521393"/>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45" name="Freeform: Shape 1144">
                    <a:extLst>
                      <a:ext uri="{FF2B5EF4-FFF2-40B4-BE49-F238E27FC236}">
                        <a16:creationId xmlns:a16="http://schemas.microsoft.com/office/drawing/2014/main" id="{077E9068-6CB1-4357-8EDC-41E976CDFAF3}"/>
                      </a:ext>
                    </a:extLst>
                  </p:cNvPr>
                  <p:cNvSpPr/>
                  <p:nvPr/>
                </p:nvSpPr>
                <p:spPr>
                  <a:xfrm rot="-5400000">
                    <a:off x="5210369" y="10544007"/>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46" name="Freeform: Shape 1145">
                    <a:extLst>
                      <a:ext uri="{FF2B5EF4-FFF2-40B4-BE49-F238E27FC236}">
                        <a16:creationId xmlns:a16="http://schemas.microsoft.com/office/drawing/2014/main" id="{36A8D3D5-808E-4058-838B-621FD1EF0182}"/>
                      </a:ext>
                    </a:extLst>
                  </p:cNvPr>
                  <p:cNvSpPr/>
                  <p:nvPr/>
                </p:nvSpPr>
                <p:spPr>
                  <a:xfrm rot="-5400000">
                    <a:off x="5210388" y="1056662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47" name="Freeform: Shape 1146">
                    <a:extLst>
                      <a:ext uri="{FF2B5EF4-FFF2-40B4-BE49-F238E27FC236}">
                        <a16:creationId xmlns:a16="http://schemas.microsoft.com/office/drawing/2014/main" id="{3520CC7B-8CB4-4B49-8C40-BF0063896410}"/>
                      </a:ext>
                    </a:extLst>
                  </p:cNvPr>
                  <p:cNvSpPr/>
                  <p:nvPr/>
                </p:nvSpPr>
                <p:spPr>
                  <a:xfrm rot="-5400000">
                    <a:off x="5210388" y="10589236"/>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48" name="Freeform: Shape 1147">
                    <a:extLst>
                      <a:ext uri="{FF2B5EF4-FFF2-40B4-BE49-F238E27FC236}">
                        <a16:creationId xmlns:a16="http://schemas.microsoft.com/office/drawing/2014/main" id="{3EA2EC5B-D397-4F47-AEA2-363466A47C80}"/>
                      </a:ext>
                    </a:extLst>
                  </p:cNvPr>
                  <p:cNvSpPr/>
                  <p:nvPr/>
                </p:nvSpPr>
                <p:spPr>
                  <a:xfrm rot="-5400000">
                    <a:off x="5210388" y="1061183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49" name="Freeform: Shape 1148">
                    <a:extLst>
                      <a:ext uri="{FF2B5EF4-FFF2-40B4-BE49-F238E27FC236}">
                        <a16:creationId xmlns:a16="http://schemas.microsoft.com/office/drawing/2014/main" id="{87ED8CC0-5C95-454F-88FF-D907B2335BD2}"/>
                      </a:ext>
                    </a:extLst>
                  </p:cNvPr>
                  <p:cNvSpPr/>
                  <p:nvPr/>
                </p:nvSpPr>
                <p:spPr>
                  <a:xfrm rot="-5400000">
                    <a:off x="5210388" y="10634444"/>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102" name="Graphic 10">
                  <a:extLst>
                    <a:ext uri="{FF2B5EF4-FFF2-40B4-BE49-F238E27FC236}">
                      <a16:creationId xmlns:a16="http://schemas.microsoft.com/office/drawing/2014/main" id="{D216B844-68B7-40E9-8A7D-64A47C7D7A00}"/>
                    </a:ext>
                  </a:extLst>
                </p:cNvPr>
                <p:cNvGrpSpPr/>
                <p:nvPr/>
              </p:nvGrpSpPr>
              <p:grpSpPr>
                <a:xfrm>
                  <a:off x="5125910" y="10476184"/>
                  <a:ext cx="15318" cy="173558"/>
                  <a:chOff x="5125910" y="10476184"/>
                  <a:chExt cx="15318" cy="173558"/>
                </a:xfrm>
              </p:grpSpPr>
              <p:sp>
                <p:nvSpPr>
                  <p:cNvPr id="1134" name="Freeform: Shape 1133">
                    <a:extLst>
                      <a:ext uri="{FF2B5EF4-FFF2-40B4-BE49-F238E27FC236}">
                        <a16:creationId xmlns:a16="http://schemas.microsoft.com/office/drawing/2014/main" id="{D370598F-4F7A-421C-BFA1-5AF015479C2D}"/>
                      </a:ext>
                    </a:extLst>
                  </p:cNvPr>
                  <p:cNvSpPr/>
                  <p:nvPr/>
                </p:nvSpPr>
                <p:spPr>
                  <a:xfrm rot="-5400000">
                    <a:off x="5125929" y="10476184"/>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35" name="Freeform: Shape 1134">
                    <a:extLst>
                      <a:ext uri="{FF2B5EF4-FFF2-40B4-BE49-F238E27FC236}">
                        <a16:creationId xmlns:a16="http://schemas.microsoft.com/office/drawing/2014/main" id="{98E0DD88-C130-4793-8223-21B2D851BF8B}"/>
                      </a:ext>
                    </a:extLst>
                  </p:cNvPr>
                  <p:cNvSpPr/>
                  <p:nvPr/>
                </p:nvSpPr>
                <p:spPr>
                  <a:xfrm rot="-5400000">
                    <a:off x="5125929" y="10498779"/>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36" name="Freeform: Shape 1135">
                    <a:extLst>
                      <a:ext uri="{FF2B5EF4-FFF2-40B4-BE49-F238E27FC236}">
                        <a16:creationId xmlns:a16="http://schemas.microsoft.com/office/drawing/2014/main" id="{FAA03A0A-DB21-4BFC-8058-BB25F8600B15}"/>
                      </a:ext>
                    </a:extLst>
                  </p:cNvPr>
                  <p:cNvSpPr/>
                  <p:nvPr/>
                </p:nvSpPr>
                <p:spPr>
                  <a:xfrm rot="-5400000">
                    <a:off x="5125929" y="10521393"/>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37" name="Freeform: Shape 1136">
                    <a:extLst>
                      <a:ext uri="{FF2B5EF4-FFF2-40B4-BE49-F238E27FC236}">
                        <a16:creationId xmlns:a16="http://schemas.microsoft.com/office/drawing/2014/main" id="{5D7C2411-807A-498F-8A8B-A711415EBAE0}"/>
                      </a:ext>
                    </a:extLst>
                  </p:cNvPr>
                  <p:cNvSpPr/>
                  <p:nvPr/>
                </p:nvSpPr>
                <p:spPr>
                  <a:xfrm rot="-5400000">
                    <a:off x="5125910" y="10544007"/>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38" name="Freeform: Shape 1137">
                    <a:extLst>
                      <a:ext uri="{FF2B5EF4-FFF2-40B4-BE49-F238E27FC236}">
                        <a16:creationId xmlns:a16="http://schemas.microsoft.com/office/drawing/2014/main" id="{8A32AFB8-22A8-4FB4-9AE7-116E1B3C87FD}"/>
                      </a:ext>
                    </a:extLst>
                  </p:cNvPr>
                  <p:cNvSpPr/>
                  <p:nvPr/>
                </p:nvSpPr>
                <p:spPr>
                  <a:xfrm rot="-5400000">
                    <a:off x="5125929" y="1056662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39" name="Freeform: Shape 1138">
                    <a:extLst>
                      <a:ext uri="{FF2B5EF4-FFF2-40B4-BE49-F238E27FC236}">
                        <a16:creationId xmlns:a16="http://schemas.microsoft.com/office/drawing/2014/main" id="{365EB0D2-03D2-433E-8BA8-4A8BC6275C7E}"/>
                      </a:ext>
                    </a:extLst>
                  </p:cNvPr>
                  <p:cNvSpPr/>
                  <p:nvPr/>
                </p:nvSpPr>
                <p:spPr>
                  <a:xfrm rot="-5400000">
                    <a:off x="5125929" y="10589236"/>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40" name="Freeform: Shape 1139">
                    <a:extLst>
                      <a:ext uri="{FF2B5EF4-FFF2-40B4-BE49-F238E27FC236}">
                        <a16:creationId xmlns:a16="http://schemas.microsoft.com/office/drawing/2014/main" id="{81F1FC95-3C39-4C93-862F-A00241DC65EE}"/>
                      </a:ext>
                    </a:extLst>
                  </p:cNvPr>
                  <p:cNvSpPr/>
                  <p:nvPr/>
                </p:nvSpPr>
                <p:spPr>
                  <a:xfrm rot="-5400000">
                    <a:off x="5125929" y="1061185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41" name="Freeform: Shape 1140">
                    <a:extLst>
                      <a:ext uri="{FF2B5EF4-FFF2-40B4-BE49-F238E27FC236}">
                        <a16:creationId xmlns:a16="http://schemas.microsoft.com/office/drawing/2014/main" id="{87EF7579-B572-481C-A5D3-42DE0B841D34}"/>
                      </a:ext>
                    </a:extLst>
                  </p:cNvPr>
                  <p:cNvSpPr/>
                  <p:nvPr/>
                </p:nvSpPr>
                <p:spPr>
                  <a:xfrm rot="-5400000">
                    <a:off x="5125929" y="10634444"/>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103" name="Graphic 10">
                  <a:extLst>
                    <a:ext uri="{FF2B5EF4-FFF2-40B4-BE49-F238E27FC236}">
                      <a16:creationId xmlns:a16="http://schemas.microsoft.com/office/drawing/2014/main" id="{EEB65A6D-9B16-4D22-B4A7-42B8E9E0EE10}"/>
                    </a:ext>
                  </a:extLst>
                </p:cNvPr>
                <p:cNvGrpSpPr/>
                <p:nvPr/>
              </p:nvGrpSpPr>
              <p:grpSpPr>
                <a:xfrm>
                  <a:off x="4872532" y="10476184"/>
                  <a:ext cx="15318" cy="173578"/>
                  <a:chOff x="4872532" y="10476184"/>
                  <a:chExt cx="15318" cy="173578"/>
                </a:xfrm>
              </p:grpSpPr>
              <p:sp>
                <p:nvSpPr>
                  <p:cNvPr id="1126" name="Freeform: Shape 1125">
                    <a:extLst>
                      <a:ext uri="{FF2B5EF4-FFF2-40B4-BE49-F238E27FC236}">
                        <a16:creationId xmlns:a16="http://schemas.microsoft.com/office/drawing/2014/main" id="{1B28F717-9ED5-41F5-B424-7BA10CFD52D2}"/>
                      </a:ext>
                    </a:extLst>
                  </p:cNvPr>
                  <p:cNvSpPr/>
                  <p:nvPr/>
                </p:nvSpPr>
                <p:spPr>
                  <a:xfrm rot="5400000">
                    <a:off x="4872552" y="10634464"/>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27" name="Freeform: Shape 1126">
                    <a:extLst>
                      <a:ext uri="{FF2B5EF4-FFF2-40B4-BE49-F238E27FC236}">
                        <a16:creationId xmlns:a16="http://schemas.microsoft.com/office/drawing/2014/main" id="{13D8C2AE-45DA-41B0-AE7A-78F9B1454B99}"/>
                      </a:ext>
                    </a:extLst>
                  </p:cNvPr>
                  <p:cNvSpPr/>
                  <p:nvPr/>
                </p:nvSpPr>
                <p:spPr>
                  <a:xfrm rot="5400000">
                    <a:off x="4872552" y="1061185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28" name="Freeform: Shape 1127">
                    <a:extLst>
                      <a:ext uri="{FF2B5EF4-FFF2-40B4-BE49-F238E27FC236}">
                        <a16:creationId xmlns:a16="http://schemas.microsoft.com/office/drawing/2014/main" id="{50F28743-9DF1-451F-83FB-2999B5C85E76}"/>
                      </a:ext>
                    </a:extLst>
                  </p:cNvPr>
                  <p:cNvSpPr/>
                  <p:nvPr/>
                </p:nvSpPr>
                <p:spPr>
                  <a:xfrm rot="5400000">
                    <a:off x="4872552" y="10589236"/>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29" name="Freeform: Shape 1128">
                    <a:extLst>
                      <a:ext uri="{FF2B5EF4-FFF2-40B4-BE49-F238E27FC236}">
                        <a16:creationId xmlns:a16="http://schemas.microsoft.com/office/drawing/2014/main" id="{AD35FED9-6CA0-4D1C-AAF7-5D8225A93397}"/>
                      </a:ext>
                    </a:extLst>
                  </p:cNvPr>
                  <p:cNvSpPr/>
                  <p:nvPr/>
                </p:nvSpPr>
                <p:spPr>
                  <a:xfrm rot="5400000">
                    <a:off x="4872552" y="1056662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30" name="Freeform: Shape 1129">
                    <a:extLst>
                      <a:ext uri="{FF2B5EF4-FFF2-40B4-BE49-F238E27FC236}">
                        <a16:creationId xmlns:a16="http://schemas.microsoft.com/office/drawing/2014/main" id="{993812B7-DE63-470D-BACC-2B6F322EE978}"/>
                      </a:ext>
                    </a:extLst>
                  </p:cNvPr>
                  <p:cNvSpPr/>
                  <p:nvPr/>
                </p:nvSpPr>
                <p:spPr>
                  <a:xfrm rot="5400000">
                    <a:off x="4872552" y="10544007"/>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31" name="Freeform: Shape 1130">
                    <a:extLst>
                      <a:ext uri="{FF2B5EF4-FFF2-40B4-BE49-F238E27FC236}">
                        <a16:creationId xmlns:a16="http://schemas.microsoft.com/office/drawing/2014/main" id="{A5B8B58A-9EFE-4809-B287-16F77633AE9B}"/>
                      </a:ext>
                    </a:extLst>
                  </p:cNvPr>
                  <p:cNvSpPr/>
                  <p:nvPr/>
                </p:nvSpPr>
                <p:spPr>
                  <a:xfrm rot="5400000">
                    <a:off x="4872532" y="10521413"/>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32" name="Freeform: Shape 1131">
                    <a:extLst>
                      <a:ext uri="{FF2B5EF4-FFF2-40B4-BE49-F238E27FC236}">
                        <a16:creationId xmlns:a16="http://schemas.microsoft.com/office/drawing/2014/main" id="{51FD0153-A4A4-4916-AF12-CA8E496B6C0F}"/>
                      </a:ext>
                    </a:extLst>
                  </p:cNvPr>
                  <p:cNvSpPr/>
                  <p:nvPr/>
                </p:nvSpPr>
                <p:spPr>
                  <a:xfrm rot="5400000">
                    <a:off x="4872552" y="10498799"/>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33" name="Freeform: Shape 1132">
                    <a:extLst>
                      <a:ext uri="{FF2B5EF4-FFF2-40B4-BE49-F238E27FC236}">
                        <a16:creationId xmlns:a16="http://schemas.microsoft.com/office/drawing/2014/main" id="{7CA89FB3-3268-4329-A742-D3276369EA84}"/>
                      </a:ext>
                    </a:extLst>
                  </p:cNvPr>
                  <p:cNvSpPr/>
                  <p:nvPr/>
                </p:nvSpPr>
                <p:spPr>
                  <a:xfrm rot="5400000">
                    <a:off x="4872552" y="10476184"/>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104" name="Graphic 10">
                  <a:extLst>
                    <a:ext uri="{FF2B5EF4-FFF2-40B4-BE49-F238E27FC236}">
                      <a16:creationId xmlns:a16="http://schemas.microsoft.com/office/drawing/2014/main" id="{98FB641E-43D4-40F7-975E-6E82A0CF4539}"/>
                    </a:ext>
                  </a:extLst>
                </p:cNvPr>
                <p:cNvGrpSpPr/>
                <p:nvPr/>
              </p:nvGrpSpPr>
              <p:grpSpPr>
                <a:xfrm>
                  <a:off x="4956991" y="10476184"/>
                  <a:ext cx="15318" cy="173578"/>
                  <a:chOff x="4956991" y="10476184"/>
                  <a:chExt cx="15318" cy="173578"/>
                </a:xfrm>
              </p:grpSpPr>
              <p:sp>
                <p:nvSpPr>
                  <p:cNvPr id="1118" name="Freeform: Shape 1117">
                    <a:extLst>
                      <a:ext uri="{FF2B5EF4-FFF2-40B4-BE49-F238E27FC236}">
                        <a16:creationId xmlns:a16="http://schemas.microsoft.com/office/drawing/2014/main" id="{D98FDEB6-0F86-4C97-88B4-227C69CE2C6F}"/>
                      </a:ext>
                    </a:extLst>
                  </p:cNvPr>
                  <p:cNvSpPr/>
                  <p:nvPr/>
                </p:nvSpPr>
                <p:spPr>
                  <a:xfrm rot="5400000">
                    <a:off x="4956991" y="10634464"/>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19" name="Freeform: Shape 1118">
                    <a:extLst>
                      <a:ext uri="{FF2B5EF4-FFF2-40B4-BE49-F238E27FC236}">
                        <a16:creationId xmlns:a16="http://schemas.microsoft.com/office/drawing/2014/main" id="{0557AD25-90E0-4680-A3D0-CA3FC006DBA4}"/>
                      </a:ext>
                    </a:extLst>
                  </p:cNvPr>
                  <p:cNvSpPr/>
                  <p:nvPr/>
                </p:nvSpPr>
                <p:spPr>
                  <a:xfrm rot="5400000">
                    <a:off x="4957011" y="1061185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20" name="Freeform: Shape 1119">
                    <a:extLst>
                      <a:ext uri="{FF2B5EF4-FFF2-40B4-BE49-F238E27FC236}">
                        <a16:creationId xmlns:a16="http://schemas.microsoft.com/office/drawing/2014/main" id="{D29625BC-BFD2-48A8-A224-FFE017C5DBD0}"/>
                      </a:ext>
                    </a:extLst>
                  </p:cNvPr>
                  <p:cNvSpPr/>
                  <p:nvPr/>
                </p:nvSpPr>
                <p:spPr>
                  <a:xfrm rot="5400000">
                    <a:off x="4957011" y="10589236"/>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21" name="Freeform: Shape 1120">
                    <a:extLst>
                      <a:ext uri="{FF2B5EF4-FFF2-40B4-BE49-F238E27FC236}">
                        <a16:creationId xmlns:a16="http://schemas.microsoft.com/office/drawing/2014/main" id="{87E42A48-7880-48C3-B538-6DA5F4A5748E}"/>
                      </a:ext>
                    </a:extLst>
                  </p:cNvPr>
                  <p:cNvSpPr/>
                  <p:nvPr/>
                </p:nvSpPr>
                <p:spPr>
                  <a:xfrm rot="5400000">
                    <a:off x="4957011" y="1056662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22" name="Freeform: Shape 1121">
                    <a:extLst>
                      <a:ext uri="{FF2B5EF4-FFF2-40B4-BE49-F238E27FC236}">
                        <a16:creationId xmlns:a16="http://schemas.microsoft.com/office/drawing/2014/main" id="{311E140A-481C-4B7D-866A-856415E5B952}"/>
                      </a:ext>
                    </a:extLst>
                  </p:cNvPr>
                  <p:cNvSpPr/>
                  <p:nvPr/>
                </p:nvSpPr>
                <p:spPr>
                  <a:xfrm rot="5400000">
                    <a:off x="4957011" y="10544007"/>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23" name="Freeform: Shape 1122">
                    <a:extLst>
                      <a:ext uri="{FF2B5EF4-FFF2-40B4-BE49-F238E27FC236}">
                        <a16:creationId xmlns:a16="http://schemas.microsoft.com/office/drawing/2014/main" id="{B340C49F-FE20-4FA9-A88F-A040AFA22E69}"/>
                      </a:ext>
                    </a:extLst>
                  </p:cNvPr>
                  <p:cNvSpPr/>
                  <p:nvPr/>
                </p:nvSpPr>
                <p:spPr>
                  <a:xfrm rot="5400000">
                    <a:off x="4956991" y="10521413"/>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24" name="Freeform: Shape 1123">
                    <a:extLst>
                      <a:ext uri="{FF2B5EF4-FFF2-40B4-BE49-F238E27FC236}">
                        <a16:creationId xmlns:a16="http://schemas.microsoft.com/office/drawing/2014/main" id="{0C20E251-B6D3-41E9-9B80-9275E54FBD33}"/>
                      </a:ext>
                    </a:extLst>
                  </p:cNvPr>
                  <p:cNvSpPr/>
                  <p:nvPr/>
                </p:nvSpPr>
                <p:spPr>
                  <a:xfrm rot="5400000">
                    <a:off x="4956991" y="10498799"/>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25" name="Freeform: Shape 1124">
                    <a:extLst>
                      <a:ext uri="{FF2B5EF4-FFF2-40B4-BE49-F238E27FC236}">
                        <a16:creationId xmlns:a16="http://schemas.microsoft.com/office/drawing/2014/main" id="{44E4C7E5-1D8F-4E90-9949-F2F59244DE5E}"/>
                      </a:ext>
                    </a:extLst>
                  </p:cNvPr>
                  <p:cNvSpPr/>
                  <p:nvPr/>
                </p:nvSpPr>
                <p:spPr>
                  <a:xfrm rot="5400000">
                    <a:off x="4957011" y="10476184"/>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105" name="Graphic 10">
                  <a:extLst>
                    <a:ext uri="{FF2B5EF4-FFF2-40B4-BE49-F238E27FC236}">
                      <a16:creationId xmlns:a16="http://schemas.microsoft.com/office/drawing/2014/main" id="{AA3307BB-B66C-4852-A9E6-B79E3A426C73}"/>
                    </a:ext>
                  </a:extLst>
                </p:cNvPr>
                <p:cNvGrpSpPr/>
                <p:nvPr/>
              </p:nvGrpSpPr>
              <p:grpSpPr>
                <a:xfrm>
                  <a:off x="5041450" y="10476184"/>
                  <a:ext cx="15318" cy="173578"/>
                  <a:chOff x="5041450" y="10476184"/>
                  <a:chExt cx="15318" cy="173578"/>
                </a:xfrm>
              </p:grpSpPr>
              <p:sp>
                <p:nvSpPr>
                  <p:cNvPr id="1110" name="Freeform: Shape 1109">
                    <a:extLst>
                      <a:ext uri="{FF2B5EF4-FFF2-40B4-BE49-F238E27FC236}">
                        <a16:creationId xmlns:a16="http://schemas.microsoft.com/office/drawing/2014/main" id="{D0F2B008-142E-488F-B4A9-CC3D5019B2F0}"/>
                      </a:ext>
                    </a:extLst>
                  </p:cNvPr>
                  <p:cNvSpPr/>
                  <p:nvPr/>
                </p:nvSpPr>
                <p:spPr>
                  <a:xfrm rot="5400000">
                    <a:off x="5041450" y="10634464"/>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11" name="Freeform: Shape 1110">
                    <a:extLst>
                      <a:ext uri="{FF2B5EF4-FFF2-40B4-BE49-F238E27FC236}">
                        <a16:creationId xmlns:a16="http://schemas.microsoft.com/office/drawing/2014/main" id="{2DCCCF66-3F40-4F90-911A-4F15EBD410CE}"/>
                      </a:ext>
                    </a:extLst>
                  </p:cNvPr>
                  <p:cNvSpPr/>
                  <p:nvPr/>
                </p:nvSpPr>
                <p:spPr>
                  <a:xfrm rot="5400000">
                    <a:off x="5041470" y="10611850"/>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12" name="Freeform: Shape 1111">
                    <a:extLst>
                      <a:ext uri="{FF2B5EF4-FFF2-40B4-BE49-F238E27FC236}">
                        <a16:creationId xmlns:a16="http://schemas.microsoft.com/office/drawing/2014/main" id="{74454F87-EE36-4C46-AF18-6230235409DA}"/>
                      </a:ext>
                    </a:extLst>
                  </p:cNvPr>
                  <p:cNvSpPr/>
                  <p:nvPr/>
                </p:nvSpPr>
                <p:spPr>
                  <a:xfrm rot="5400000">
                    <a:off x="5041470" y="10589236"/>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13" name="Freeform: Shape 1112">
                    <a:extLst>
                      <a:ext uri="{FF2B5EF4-FFF2-40B4-BE49-F238E27FC236}">
                        <a16:creationId xmlns:a16="http://schemas.microsoft.com/office/drawing/2014/main" id="{7A6862B9-8EC0-4028-9428-F66AB06F1210}"/>
                      </a:ext>
                    </a:extLst>
                  </p:cNvPr>
                  <p:cNvSpPr/>
                  <p:nvPr/>
                </p:nvSpPr>
                <p:spPr>
                  <a:xfrm rot="5400000">
                    <a:off x="5041470" y="10566621"/>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4291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14" name="Freeform: Shape 1113">
                    <a:extLst>
                      <a:ext uri="{FF2B5EF4-FFF2-40B4-BE49-F238E27FC236}">
                        <a16:creationId xmlns:a16="http://schemas.microsoft.com/office/drawing/2014/main" id="{83DCE28E-12DB-4A4D-A9B8-4F58BE3C8DFE}"/>
                      </a:ext>
                    </a:extLst>
                  </p:cNvPr>
                  <p:cNvSpPr/>
                  <p:nvPr/>
                </p:nvSpPr>
                <p:spPr>
                  <a:xfrm rot="5400000">
                    <a:off x="5041470" y="10544007"/>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15" name="Freeform: Shape 1114">
                    <a:extLst>
                      <a:ext uri="{FF2B5EF4-FFF2-40B4-BE49-F238E27FC236}">
                        <a16:creationId xmlns:a16="http://schemas.microsoft.com/office/drawing/2014/main" id="{CBF5B0A2-36A1-4B90-9CF5-1564C7FE0B5C}"/>
                      </a:ext>
                    </a:extLst>
                  </p:cNvPr>
                  <p:cNvSpPr/>
                  <p:nvPr/>
                </p:nvSpPr>
                <p:spPr>
                  <a:xfrm rot="5400000">
                    <a:off x="5041450" y="10521413"/>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FF91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16" name="Freeform: Shape 1115">
                    <a:extLst>
                      <a:ext uri="{FF2B5EF4-FFF2-40B4-BE49-F238E27FC236}">
                        <a16:creationId xmlns:a16="http://schemas.microsoft.com/office/drawing/2014/main" id="{D3D3751B-2293-4102-AA7E-3BEE9DAE252A}"/>
                      </a:ext>
                    </a:extLst>
                  </p:cNvPr>
                  <p:cNvSpPr/>
                  <p:nvPr/>
                </p:nvSpPr>
                <p:spPr>
                  <a:xfrm rot="5400000">
                    <a:off x="5041450" y="10498799"/>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17" name="Freeform: Shape 1116">
                    <a:extLst>
                      <a:ext uri="{FF2B5EF4-FFF2-40B4-BE49-F238E27FC236}">
                        <a16:creationId xmlns:a16="http://schemas.microsoft.com/office/drawing/2014/main" id="{0027AF21-0A4E-4E7D-AD97-16968E3DD6C0}"/>
                      </a:ext>
                    </a:extLst>
                  </p:cNvPr>
                  <p:cNvSpPr/>
                  <p:nvPr/>
                </p:nvSpPr>
                <p:spPr>
                  <a:xfrm rot="5400000">
                    <a:off x="5041470" y="10476184"/>
                    <a:ext cx="15298" cy="15298"/>
                  </a:xfrm>
                  <a:custGeom>
                    <a:avLst/>
                    <a:gdLst>
                      <a:gd name="connsiteX0" fmla="*/ 0 w 15298"/>
                      <a:gd name="connsiteY0" fmla="*/ 0 h 15298"/>
                      <a:gd name="connsiteX1" fmla="*/ 15299 w 15298"/>
                      <a:gd name="connsiteY1" fmla="*/ 0 h 15298"/>
                      <a:gd name="connsiteX2" fmla="*/ 15299 w 15298"/>
                      <a:gd name="connsiteY2" fmla="*/ 15299 h 15298"/>
                      <a:gd name="connsiteX3" fmla="*/ 0 w 15298"/>
                      <a:gd name="connsiteY3" fmla="*/ 15299 h 15298"/>
                    </a:gdLst>
                    <a:ahLst/>
                    <a:cxnLst>
                      <a:cxn ang="0">
                        <a:pos x="connsiteX0" y="connsiteY0"/>
                      </a:cxn>
                      <a:cxn ang="0">
                        <a:pos x="connsiteX1" y="connsiteY1"/>
                      </a:cxn>
                      <a:cxn ang="0">
                        <a:pos x="connsiteX2" y="connsiteY2"/>
                      </a:cxn>
                      <a:cxn ang="0">
                        <a:pos x="connsiteX3" y="connsiteY3"/>
                      </a:cxn>
                    </a:cxnLst>
                    <a:rect l="l" t="t" r="r" b="b"/>
                    <a:pathLst>
                      <a:path w="15298" h="15298">
                        <a:moveTo>
                          <a:pt x="0" y="0"/>
                        </a:moveTo>
                        <a:lnTo>
                          <a:pt x="15299" y="0"/>
                        </a:lnTo>
                        <a:lnTo>
                          <a:pt x="15299" y="15299"/>
                        </a:lnTo>
                        <a:lnTo>
                          <a:pt x="0" y="15299"/>
                        </a:lnTo>
                        <a:close/>
                      </a:path>
                    </a:pathLst>
                  </a:custGeom>
                  <a:solidFill>
                    <a:srgbClr val="A2C8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106" name="Freeform: Shape 1105">
                  <a:extLst>
                    <a:ext uri="{FF2B5EF4-FFF2-40B4-BE49-F238E27FC236}">
                      <a16:creationId xmlns:a16="http://schemas.microsoft.com/office/drawing/2014/main" id="{83691895-E339-4236-B4BE-CFFCF30F0911}"/>
                    </a:ext>
                  </a:extLst>
                </p:cNvPr>
                <p:cNvSpPr/>
                <p:nvPr/>
              </p:nvSpPr>
              <p:spPr>
                <a:xfrm>
                  <a:off x="6149880" y="10747633"/>
                  <a:ext cx="67822" cy="25976"/>
                </a:xfrm>
                <a:custGeom>
                  <a:avLst/>
                  <a:gdLst>
                    <a:gd name="connsiteX0" fmla="*/ 0 w 67822"/>
                    <a:gd name="connsiteY0" fmla="*/ 0 h 25976"/>
                    <a:gd name="connsiteX1" fmla="*/ 67823 w 67822"/>
                    <a:gd name="connsiteY1" fmla="*/ 0 h 25976"/>
                    <a:gd name="connsiteX2" fmla="*/ 67823 w 67822"/>
                    <a:gd name="connsiteY2" fmla="*/ 25977 h 25976"/>
                    <a:gd name="connsiteX3" fmla="*/ 0 w 67822"/>
                    <a:gd name="connsiteY3" fmla="*/ 25977 h 25976"/>
                  </a:gdLst>
                  <a:ahLst/>
                  <a:cxnLst>
                    <a:cxn ang="0">
                      <a:pos x="connsiteX0" y="connsiteY0"/>
                    </a:cxn>
                    <a:cxn ang="0">
                      <a:pos x="connsiteX1" y="connsiteY1"/>
                    </a:cxn>
                    <a:cxn ang="0">
                      <a:pos x="connsiteX2" y="connsiteY2"/>
                    </a:cxn>
                    <a:cxn ang="0">
                      <a:pos x="connsiteX3" y="connsiteY3"/>
                    </a:cxn>
                  </a:cxnLst>
                  <a:rect l="l" t="t" r="r" b="b"/>
                  <a:pathLst>
                    <a:path w="67822" h="25976">
                      <a:moveTo>
                        <a:pt x="0" y="0"/>
                      </a:moveTo>
                      <a:lnTo>
                        <a:pt x="67823" y="0"/>
                      </a:lnTo>
                      <a:lnTo>
                        <a:pt x="67823" y="25977"/>
                      </a:lnTo>
                      <a:lnTo>
                        <a:pt x="0" y="25977"/>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07" name="Freeform: Shape 1106">
                  <a:extLst>
                    <a:ext uri="{FF2B5EF4-FFF2-40B4-BE49-F238E27FC236}">
                      <a16:creationId xmlns:a16="http://schemas.microsoft.com/office/drawing/2014/main" id="{B9049C87-73D3-49C7-BFBF-D3C71885883C}"/>
                    </a:ext>
                  </a:extLst>
                </p:cNvPr>
                <p:cNvSpPr/>
                <p:nvPr/>
              </p:nvSpPr>
              <p:spPr>
                <a:xfrm>
                  <a:off x="6149880" y="10792547"/>
                  <a:ext cx="67822" cy="25976"/>
                </a:xfrm>
                <a:custGeom>
                  <a:avLst/>
                  <a:gdLst>
                    <a:gd name="connsiteX0" fmla="*/ 0 w 67822"/>
                    <a:gd name="connsiteY0" fmla="*/ 0 h 25976"/>
                    <a:gd name="connsiteX1" fmla="*/ 67823 w 67822"/>
                    <a:gd name="connsiteY1" fmla="*/ 0 h 25976"/>
                    <a:gd name="connsiteX2" fmla="*/ 67823 w 67822"/>
                    <a:gd name="connsiteY2" fmla="*/ 25977 h 25976"/>
                    <a:gd name="connsiteX3" fmla="*/ 0 w 67822"/>
                    <a:gd name="connsiteY3" fmla="*/ 25977 h 25976"/>
                  </a:gdLst>
                  <a:ahLst/>
                  <a:cxnLst>
                    <a:cxn ang="0">
                      <a:pos x="connsiteX0" y="connsiteY0"/>
                    </a:cxn>
                    <a:cxn ang="0">
                      <a:pos x="connsiteX1" y="connsiteY1"/>
                    </a:cxn>
                    <a:cxn ang="0">
                      <a:pos x="connsiteX2" y="connsiteY2"/>
                    </a:cxn>
                    <a:cxn ang="0">
                      <a:pos x="connsiteX3" y="connsiteY3"/>
                    </a:cxn>
                  </a:cxnLst>
                  <a:rect l="l" t="t" r="r" b="b"/>
                  <a:pathLst>
                    <a:path w="67822" h="25976">
                      <a:moveTo>
                        <a:pt x="0" y="0"/>
                      </a:moveTo>
                      <a:lnTo>
                        <a:pt x="67823" y="0"/>
                      </a:lnTo>
                      <a:lnTo>
                        <a:pt x="67823" y="25977"/>
                      </a:lnTo>
                      <a:lnTo>
                        <a:pt x="0" y="25977"/>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08" name="Freeform: Shape 1107">
                  <a:extLst>
                    <a:ext uri="{FF2B5EF4-FFF2-40B4-BE49-F238E27FC236}">
                      <a16:creationId xmlns:a16="http://schemas.microsoft.com/office/drawing/2014/main" id="{DD300CE6-1487-467C-A61E-673AB71D0732}"/>
                    </a:ext>
                  </a:extLst>
                </p:cNvPr>
                <p:cNvSpPr/>
                <p:nvPr/>
              </p:nvSpPr>
              <p:spPr>
                <a:xfrm>
                  <a:off x="6149880" y="10837461"/>
                  <a:ext cx="67822" cy="25976"/>
                </a:xfrm>
                <a:custGeom>
                  <a:avLst/>
                  <a:gdLst>
                    <a:gd name="connsiteX0" fmla="*/ 0 w 67822"/>
                    <a:gd name="connsiteY0" fmla="*/ 0 h 25976"/>
                    <a:gd name="connsiteX1" fmla="*/ 67823 w 67822"/>
                    <a:gd name="connsiteY1" fmla="*/ 0 h 25976"/>
                    <a:gd name="connsiteX2" fmla="*/ 67823 w 67822"/>
                    <a:gd name="connsiteY2" fmla="*/ 25977 h 25976"/>
                    <a:gd name="connsiteX3" fmla="*/ 0 w 67822"/>
                    <a:gd name="connsiteY3" fmla="*/ 25977 h 25976"/>
                  </a:gdLst>
                  <a:ahLst/>
                  <a:cxnLst>
                    <a:cxn ang="0">
                      <a:pos x="connsiteX0" y="connsiteY0"/>
                    </a:cxn>
                    <a:cxn ang="0">
                      <a:pos x="connsiteX1" y="connsiteY1"/>
                    </a:cxn>
                    <a:cxn ang="0">
                      <a:pos x="connsiteX2" y="connsiteY2"/>
                    </a:cxn>
                    <a:cxn ang="0">
                      <a:pos x="connsiteX3" y="connsiteY3"/>
                    </a:cxn>
                  </a:cxnLst>
                  <a:rect l="l" t="t" r="r" b="b"/>
                  <a:pathLst>
                    <a:path w="67822" h="25976">
                      <a:moveTo>
                        <a:pt x="0" y="0"/>
                      </a:moveTo>
                      <a:lnTo>
                        <a:pt x="67823" y="0"/>
                      </a:lnTo>
                      <a:lnTo>
                        <a:pt x="67823" y="25977"/>
                      </a:lnTo>
                      <a:lnTo>
                        <a:pt x="0" y="25977"/>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09" name="Freeform: Shape 1108">
                  <a:extLst>
                    <a:ext uri="{FF2B5EF4-FFF2-40B4-BE49-F238E27FC236}">
                      <a16:creationId xmlns:a16="http://schemas.microsoft.com/office/drawing/2014/main" id="{97AEB201-88E2-4C2C-AFBD-3E9AB6C33979}"/>
                    </a:ext>
                  </a:extLst>
                </p:cNvPr>
                <p:cNvSpPr/>
                <p:nvPr/>
              </p:nvSpPr>
              <p:spPr>
                <a:xfrm>
                  <a:off x="6149880" y="10882355"/>
                  <a:ext cx="67822" cy="25976"/>
                </a:xfrm>
                <a:custGeom>
                  <a:avLst/>
                  <a:gdLst>
                    <a:gd name="connsiteX0" fmla="*/ 0 w 67822"/>
                    <a:gd name="connsiteY0" fmla="*/ 0 h 25976"/>
                    <a:gd name="connsiteX1" fmla="*/ 67823 w 67822"/>
                    <a:gd name="connsiteY1" fmla="*/ 0 h 25976"/>
                    <a:gd name="connsiteX2" fmla="*/ 67823 w 67822"/>
                    <a:gd name="connsiteY2" fmla="*/ 25977 h 25976"/>
                    <a:gd name="connsiteX3" fmla="*/ 0 w 67822"/>
                    <a:gd name="connsiteY3" fmla="*/ 25977 h 25976"/>
                  </a:gdLst>
                  <a:ahLst/>
                  <a:cxnLst>
                    <a:cxn ang="0">
                      <a:pos x="connsiteX0" y="connsiteY0"/>
                    </a:cxn>
                    <a:cxn ang="0">
                      <a:pos x="connsiteX1" y="connsiteY1"/>
                    </a:cxn>
                    <a:cxn ang="0">
                      <a:pos x="connsiteX2" y="connsiteY2"/>
                    </a:cxn>
                    <a:cxn ang="0">
                      <a:pos x="connsiteX3" y="connsiteY3"/>
                    </a:cxn>
                  </a:cxnLst>
                  <a:rect l="l" t="t" r="r" b="b"/>
                  <a:pathLst>
                    <a:path w="67822" h="25976">
                      <a:moveTo>
                        <a:pt x="0" y="0"/>
                      </a:moveTo>
                      <a:lnTo>
                        <a:pt x="67823" y="0"/>
                      </a:lnTo>
                      <a:lnTo>
                        <a:pt x="67823" y="25977"/>
                      </a:lnTo>
                      <a:lnTo>
                        <a:pt x="0" y="25977"/>
                      </a:lnTo>
                      <a:close/>
                    </a:path>
                  </a:pathLst>
                </a:custGeom>
                <a:solidFill>
                  <a:srgbClr val="61789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824" name="Freeform: Shape 823">
                <a:extLst>
                  <a:ext uri="{FF2B5EF4-FFF2-40B4-BE49-F238E27FC236}">
                    <a16:creationId xmlns:a16="http://schemas.microsoft.com/office/drawing/2014/main" id="{62A5D5AC-1F23-434A-9894-F2FB51B30D2D}"/>
                  </a:ext>
                </a:extLst>
              </p:cNvPr>
              <p:cNvSpPr/>
              <p:nvPr/>
            </p:nvSpPr>
            <p:spPr>
              <a:xfrm>
                <a:off x="6539651" y="9018847"/>
                <a:ext cx="612352" cy="935912"/>
              </a:xfrm>
              <a:custGeom>
                <a:avLst/>
                <a:gdLst>
                  <a:gd name="connsiteX0" fmla="*/ 606788 w 612352"/>
                  <a:gd name="connsiteY0" fmla="*/ 935913 h 935912"/>
                  <a:gd name="connsiteX1" fmla="*/ 163844 w 612352"/>
                  <a:gd name="connsiteY1" fmla="*/ 492970 h 935912"/>
                  <a:gd name="connsiteX2" fmla="*/ 163844 w 612352"/>
                  <a:gd name="connsiteY2" fmla="*/ 169390 h 935912"/>
                  <a:gd name="connsiteX3" fmla="*/ 0 w 612352"/>
                  <a:gd name="connsiteY3" fmla="*/ 5565 h 935912"/>
                  <a:gd name="connsiteX4" fmla="*/ 5565 w 612352"/>
                  <a:gd name="connsiteY4" fmla="*/ 0 h 935912"/>
                  <a:gd name="connsiteX5" fmla="*/ 171710 w 612352"/>
                  <a:gd name="connsiteY5" fmla="*/ 166145 h 935912"/>
                  <a:gd name="connsiteX6" fmla="*/ 171710 w 612352"/>
                  <a:gd name="connsiteY6" fmla="*/ 489705 h 935912"/>
                  <a:gd name="connsiteX7" fmla="*/ 612353 w 612352"/>
                  <a:gd name="connsiteY7" fmla="*/ 930348 h 935912"/>
                  <a:gd name="connsiteX8" fmla="*/ 606788 w 612352"/>
                  <a:gd name="connsiteY8" fmla="*/ 935913 h 93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2352" h="935912">
                    <a:moveTo>
                      <a:pt x="606788" y="935913"/>
                    </a:moveTo>
                    <a:lnTo>
                      <a:pt x="163844" y="492970"/>
                    </a:lnTo>
                    <a:lnTo>
                      <a:pt x="163844" y="169390"/>
                    </a:lnTo>
                    <a:lnTo>
                      <a:pt x="0" y="5565"/>
                    </a:lnTo>
                    <a:lnTo>
                      <a:pt x="5565" y="0"/>
                    </a:lnTo>
                    <a:lnTo>
                      <a:pt x="171710" y="166145"/>
                    </a:lnTo>
                    <a:lnTo>
                      <a:pt x="171710" y="489705"/>
                    </a:lnTo>
                    <a:lnTo>
                      <a:pt x="612353" y="930348"/>
                    </a:lnTo>
                    <a:lnTo>
                      <a:pt x="606788" y="935913"/>
                    </a:lnTo>
                    <a:close/>
                  </a:path>
                </a:pathLst>
              </a:custGeom>
              <a:solidFill>
                <a:srgbClr val="DADAF2"/>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25" name="Freeform: Shape 824">
                <a:extLst>
                  <a:ext uri="{FF2B5EF4-FFF2-40B4-BE49-F238E27FC236}">
                    <a16:creationId xmlns:a16="http://schemas.microsoft.com/office/drawing/2014/main" id="{941A41D4-BA44-4327-AAB5-A79CC8576C65}"/>
                  </a:ext>
                </a:extLst>
              </p:cNvPr>
              <p:cNvSpPr/>
              <p:nvPr/>
            </p:nvSpPr>
            <p:spPr>
              <a:xfrm>
                <a:off x="6279076" y="9310511"/>
                <a:ext cx="781388" cy="651032"/>
              </a:xfrm>
              <a:custGeom>
                <a:avLst/>
                <a:gdLst>
                  <a:gd name="connsiteX0" fmla="*/ 775824 w 781388"/>
                  <a:gd name="connsiteY0" fmla="*/ 651033 h 651032"/>
                  <a:gd name="connsiteX1" fmla="*/ 348593 w 781388"/>
                  <a:gd name="connsiteY1" fmla="*/ 223802 h 651032"/>
                  <a:gd name="connsiteX2" fmla="*/ 348593 w 781388"/>
                  <a:gd name="connsiteY2" fmla="*/ 7866 h 651032"/>
                  <a:gd name="connsiteX3" fmla="*/ 0 w 781388"/>
                  <a:gd name="connsiteY3" fmla="*/ 7866 h 651032"/>
                  <a:gd name="connsiteX4" fmla="*/ 0 w 781388"/>
                  <a:gd name="connsiteY4" fmla="*/ 0 h 651032"/>
                  <a:gd name="connsiteX5" fmla="*/ 356459 w 781388"/>
                  <a:gd name="connsiteY5" fmla="*/ 0 h 651032"/>
                  <a:gd name="connsiteX6" fmla="*/ 356459 w 781388"/>
                  <a:gd name="connsiteY6" fmla="*/ 220538 h 651032"/>
                  <a:gd name="connsiteX7" fmla="*/ 781389 w 781388"/>
                  <a:gd name="connsiteY7" fmla="*/ 645468 h 651032"/>
                  <a:gd name="connsiteX8" fmla="*/ 775824 w 781388"/>
                  <a:gd name="connsiteY8" fmla="*/ 651033 h 65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1388" h="651032">
                    <a:moveTo>
                      <a:pt x="775824" y="651033"/>
                    </a:moveTo>
                    <a:lnTo>
                      <a:pt x="348593" y="223802"/>
                    </a:lnTo>
                    <a:lnTo>
                      <a:pt x="348593" y="7866"/>
                    </a:lnTo>
                    <a:lnTo>
                      <a:pt x="0" y="7866"/>
                    </a:lnTo>
                    <a:lnTo>
                      <a:pt x="0" y="0"/>
                    </a:lnTo>
                    <a:lnTo>
                      <a:pt x="356459" y="0"/>
                    </a:lnTo>
                    <a:lnTo>
                      <a:pt x="356459" y="220538"/>
                    </a:lnTo>
                    <a:lnTo>
                      <a:pt x="781389" y="645468"/>
                    </a:lnTo>
                    <a:lnTo>
                      <a:pt x="775824" y="651033"/>
                    </a:lnTo>
                    <a:close/>
                  </a:path>
                </a:pathLst>
              </a:custGeom>
              <a:solidFill>
                <a:srgbClr val="DADAF2"/>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26" name="Freeform: Shape 825">
                <a:extLst>
                  <a:ext uri="{FF2B5EF4-FFF2-40B4-BE49-F238E27FC236}">
                    <a16:creationId xmlns:a16="http://schemas.microsoft.com/office/drawing/2014/main" id="{520C9898-CE58-4ACA-8826-0946BE87AC04}"/>
                  </a:ext>
                </a:extLst>
              </p:cNvPr>
              <p:cNvSpPr/>
              <p:nvPr/>
            </p:nvSpPr>
            <p:spPr>
              <a:xfrm>
                <a:off x="6467619" y="9621073"/>
                <a:ext cx="498416" cy="344365"/>
              </a:xfrm>
              <a:custGeom>
                <a:avLst/>
                <a:gdLst>
                  <a:gd name="connsiteX0" fmla="*/ 492852 w 498416"/>
                  <a:gd name="connsiteY0" fmla="*/ 344365 h 344365"/>
                  <a:gd name="connsiteX1" fmla="*/ 156372 w 498416"/>
                  <a:gd name="connsiteY1" fmla="*/ 7866 h 344365"/>
                  <a:gd name="connsiteX2" fmla="*/ 0 w 498416"/>
                  <a:gd name="connsiteY2" fmla="*/ 7866 h 344365"/>
                  <a:gd name="connsiteX3" fmla="*/ 0 w 498416"/>
                  <a:gd name="connsiteY3" fmla="*/ 0 h 344365"/>
                  <a:gd name="connsiteX4" fmla="*/ 159617 w 498416"/>
                  <a:gd name="connsiteY4" fmla="*/ 0 h 344365"/>
                  <a:gd name="connsiteX5" fmla="*/ 160777 w 498416"/>
                  <a:gd name="connsiteY5" fmla="*/ 1160 h 344365"/>
                  <a:gd name="connsiteX6" fmla="*/ 498417 w 498416"/>
                  <a:gd name="connsiteY6" fmla="*/ 338800 h 344365"/>
                  <a:gd name="connsiteX7" fmla="*/ 492852 w 498416"/>
                  <a:gd name="connsiteY7" fmla="*/ 344365 h 344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416" h="344365">
                    <a:moveTo>
                      <a:pt x="492852" y="344365"/>
                    </a:moveTo>
                    <a:lnTo>
                      <a:pt x="156372" y="7866"/>
                    </a:lnTo>
                    <a:lnTo>
                      <a:pt x="0" y="7866"/>
                    </a:lnTo>
                    <a:lnTo>
                      <a:pt x="0" y="0"/>
                    </a:lnTo>
                    <a:lnTo>
                      <a:pt x="159617" y="0"/>
                    </a:lnTo>
                    <a:lnTo>
                      <a:pt x="160777" y="1160"/>
                    </a:lnTo>
                    <a:lnTo>
                      <a:pt x="498417" y="338800"/>
                    </a:lnTo>
                    <a:lnTo>
                      <a:pt x="492852" y="344365"/>
                    </a:lnTo>
                    <a:close/>
                  </a:path>
                </a:pathLst>
              </a:custGeom>
              <a:solidFill>
                <a:srgbClr val="DADAF2"/>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27" name="Freeform: Shape 826">
                <a:extLst>
                  <a:ext uri="{FF2B5EF4-FFF2-40B4-BE49-F238E27FC236}">
                    <a16:creationId xmlns:a16="http://schemas.microsoft.com/office/drawing/2014/main" id="{C63BE3C6-9CF6-46C8-ADE0-8F06E7E9D72C}"/>
                  </a:ext>
                </a:extLst>
              </p:cNvPr>
              <p:cNvSpPr/>
              <p:nvPr/>
            </p:nvSpPr>
            <p:spPr>
              <a:xfrm>
                <a:off x="6197567" y="9475674"/>
                <a:ext cx="344876" cy="298664"/>
              </a:xfrm>
              <a:custGeom>
                <a:avLst/>
                <a:gdLst>
                  <a:gd name="connsiteX0" fmla="*/ 86229 w 344876"/>
                  <a:gd name="connsiteY0" fmla="*/ 0 h 298664"/>
                  <a:gd name="connsiteX1" fmla="*/ 258647 w 344876"/>
                  <a:gd name="connsiteY1" fmla="*/ 0 h 298664"/>
                  <a:gd name="connsiteX2" fmla="*/ 344877 w 344876"/>
                  <a:gd name="connsiteY2" fmla="*/ 149332 h 298664"/>
                  <a:gd name="connsiteX3" fmla="*/ 258647 w 344876"/>
                  <a:gd name="connsiteY3" fmla="*/ 298665 h 298664"/>
                  <a:gd name="connsiteX4" fmla="*/ 86229 w 344876"/>
                  <a:gd name="connsiteY4" fmla="*/ 298665 h 298664"/>
                  <a:gd name="connsiteX5" fmla="*/ 0 w 344876"/>
                  <a:gd name="connsiteY5" fmla="*/ 149332 h 298664"/>
                  <a:gd name="connsiteX6" fmla="*/ 86229 w 344876"/>
                  <a:gd name="connsiteY6" fmla="*/ 0 h 29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876" h="298664">
                    <a:moveTo>
                      <a:pt x="86229" y="0"/>
                    </a:moveTo>
                    <a:lnTo>
                      <a:pt x="258647" y="0"/>
                    </a:lnTo>
                    <a:lnTo>
                      <a:pt x="344877" y="149332"/>
                    </a:lnTo>
                    <a:lnTo>
                      <a:pt x="258647" y="298665"/>
                    </a:lnTo>
                    <a:lnTo>
                      <a:pt x="86229" y="298665"/>
                    </a:lnTo>
                    <a:lnTo>
                      <a:pt x="0" y="149332"/>
                    </a:lnTo>
                    <a:lnTo>
                      <a:pt x="86229" y="0"/>
                    </a:lnTo>
                    <a:close/>
                  </a:path>
                </a:pathLst>
              </a:custGeom>
              <a:solidFill>
                <a:srgbClr val="FFDD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28" name="Freeform: Shape 827">
                <a:extLst>
                  <a:ext uri="{FF2B5EF4-FFF2-40B4-BE49-F238E27FC236}">
                    <a16:creationId xmlns:a16="http://schemas.microsoft.com/office/drawing/2014/main" id="{DDEFBA4D-083F-46BA-872D-CB626E4FC37D}"/>
                  </a:ext>
                </a:extLst>
              </p:cNvPr>
              <p:cNvSpPr/>
              <p:nvPr/>
            </p:nvSpPr>
            <p:spPr>
              <a:xfrm>
                <a:off x="6197567" y="8872288"/>
                <a:ext cx="344876" cy="298664"/>
              </a:xfrm>
              <a:custGeom>
                <a:avLst/>
                <a:gdLst>
                  <a:gd name="connsiteX0" fmla="*/ 86229 w 344876"/>
                  <a:gd name="connsiteY0" fmla="*/ 0 h 298664"/>
                  <a:gd name="connsiteX1" fmla="*/ 258647 w 344876"/>
                  <a:gd name="connsiteY1" fmla="*/ 0 h 298664"/>
                  <a:gd name="connsiteX2" fmla="*/ 344877 w 344876"/>
                  <a:gd name="connsiteY2" fmla="*/ 149332 h 298664"/>
                  <a:gd name="connsiteX3" fmla="*/ 258647 w 344876"/>
                  <a:gd name="connsiteY3" fmla="*/ 298665 h 298664"/>
                  <a:gd name="connsiteX4" fmla="*/ 86229 w 344876"/>
                  <a:gd name="connsiteY4" fmla="*/ 298665 h 298664"/>
                  <a:gd name="connsiteX5" fmla="*/ 0 w 344876"/>
                  <a:gd name="connsiteY5" fmla="*/ 149332 h 298664"/>
                  <a:gd name="connsiteX6" fmla="*/ 86229 w 344876"/>
                  <a:gd name="connsiteY6" fmla="*/ 0 h 29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876" h="298664">
                    <a:moveTo>
                      <a:pt x="86229" y="0"/>
                    </a:moveTo>
                    <a:lnTo>
                      <a:pt x="258647" y="0"/>
                    </a:lnTo>
                    <a:lnTo>
                      <a:pt x="344877" y="149332"/>
                    </a:lnTo>
                    <a:lnTo>
                      <a:pt x="258647" y="298665"/>
                    </a:lnTo>
                    <a:lnTo>
                      <a:pt x="86229" y="298665"/>
                    </a:lnTo>
                    <a:lnTo>
                      <a:pt x="0" y="149332"/>
                    </a:lnTo>
                    <a:lnTo>
                      <a:pt x="86229" y="0"/>
                    </a:lnTo>
                    <a:close/>
                  </a:path>
                </a:pathLst>
              </a:custGeom>
              <a:solidFill>
                <a:srgbClr val="FFC71E"/>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29" name="Freeform: Shape 828">
                <a:extLst>
                  <a:ext uri="{FF2B5EF4-FFF2-40B4-BE49-F238E27FC236}">
                    <a16:creationId xmlns:a16="http://schemas.microsoft.com/office/drawing/2014/main" id="{C64CC0C7-89C3-4DFD-BF1B-A72BA23D1005}"/>
                  </a:ext>
                </a:extLst>
              </p:cNvPr>
              <p:cNvSpPr/>
              <p:nvPr/>
            </p:nvSpPr>
            <p:spPr>
              <a:xfrm>
                <a:off x="6287866" y="8931910"/>
                <a:ext cx="164316" cy="179399"/>
              </a:xfrm>
              <a:custGeom>
                <a:avLst/>
                <a:gdLst>
                  <a:gd name="connsiteX0" fmla="*/ 104792 w 164316"/>
                  <a:gd name="connsiteY0" fmla="*/ 115018 h 179399"/>
                  <a:gd name="connsiteX1" fmla="*/ 111557 w 164316"/>
                  <a:gd name="connsiteY1" fmla="*/ 116178 h 179399"/>
                  <a:gd name="connsiteX2" fmla="*/ 111557 w 164316"/>
                  <a:gd name="connsiteY2" fmla="*/ 6784 h 179399"/>
                  <a:gd name="connsiteX3" fmla="*/ 104792 w 164316"/>
                  <a:gd name="connsiteY3" fmla="*/ 20 h 179399"/>
                  <a:gd name="connsiteX4" fmla="*/ 98027 w 164316"/>
                  <a:gd name="connsiteY4" fmla="*/ 6784 h 179399"/>
                  <a:gd name="connsiteX5" fmla="*/ 98027 w 164316"/>
                  <a:gd name="connsiteY5" fmla="*/ 116178 h 179399"/>
                  <a:gd name="connsiteX6" fmla="*/ 104792 w 164316"/>
                  <a:gd name="connsiteY6" fmla="*/ 115018 h 179399"/>
                  <a:gd name="connsiteX7" fmla="*/ 59544 w 164316"/>
                  <a:gd name="connsiteY7" fmla="*/ 62690 h 179399"/>
                  <a:gd name="connsiteX8" fmla="*/ 66309 w 164316"/>
                  <a:gd name="connsiteY8" fmla="*/ 63851 h 179399"/>
                  <a:gd name="connsiteX9" fmla="*/ 66309 w 164316"/>
                  <a:gd name="connsiteY9" fmla="*/ 6765 h 179399"/>
                  <a:gd name="connsiteX10" fmla="*/ 59544 w 164316"/>
                  <a:gd name="connsiteY10" fmla="*/ 0 h 179399"/>
                  <a:gd name="connsiteX11" fmla="*/ 52779 w 164316"/>
                  <a:gd name="connsiteY11" fmla="*/ 6765 h 179399"/>
                  <a:gd name="connsiteX12" fmla="*/ 52779 w 164316"/>
                  <a:gd name="connsiteY12" fmla="*/ 63851 h 179399"/>
                  <a:gd name="connsiteX13" fmla="*/ 59544 w 164316"/>
                  <a:gd name="connsiteY13" fmla="*/ 62690 h 179399"/>
                  <a:gd name="connsiteX14" fmla="*/ 150040 w 164316"/>
                  <a:gd name="connsiteY14" fmla="*/ 83319 h 179399"/>
                  <a:gd name="connsiteX15" fmla="*/ 143275 w 164316"/>
                  <a:gd name="connsiteY15" fmla="*/ 82158 h 179399"/>
                  <a:gd name="connsiteX16" fmla="*/ 143275 w 164316"/>
                  <a:gd name="connsiteY16" fmla="*/ 172635 h 179399"/>
                  <a:gd name="connsiteX17" fmla="*/ 150040 w 164316"/>
                  <a:gd name="connsiteY17" fmla="*/ 179399 h 179399"/>
                  <a:gd name="connsiteX18" fmla="*/ 156805 w 164316"/>
                  <a:gd name="connsiteY18" fmla="*/ 172635 h 179399"/>
                  <a:gd name="connsiteX19" fmla="*/ 156805 w 164316"/>
                  <a:gd name="connsiteY19" fmla="*/ 82158 h 179399"/>
                  <a:gd name="connsiteX20" fmla="*/ 150040 w 164316"/>
                  <a:gd name="connsiteY20" fmla="*/ 83319 h 179399"/>
                  <a:gd name="connsiteX21" fmla="*/ 14237 w 164316"/>
                  <a:gd name="connsiteY21" fmla="*/ 18150 h 179399"/>
                  <a:gd name="connsiteX22" fmla="*/ 21002 w 164316"/>
                  <a:gd name="connsiteY22" fmla="*/ 19311 h 179399"/>
                  <a:gd name="connsiteX23" fmla="*/ 21002 w 164316"/>
                  <a:gd name="connsiteY23" fmla="*/ 6765 h 179399"/>
                  <a:gd name="connsiteX24" fmla="*/ 14237 w 164316"/>
                  <a:gd name="connsiteY24" fmla="*/ 0 h 179399"/>
                  <a:gd name="connsiteX25" fmla="*/ 7473 w 164316"/>
                  <a:gd name="connsiteY25" fmla="*/ 6765 h 179399"/>
                  <a:gd name="connsiteX26" fmla="*/ 7473 w 164316"/>
                  <a:gd name="connsiteY26" fmla="*/ 19311 h 179399"/>
                  <a:gd name="connsiteX27" fmla="*/ 14237 w 164316"/>
                  <a:gd name="connsiteY27" fmla="*/ 18150 h 179399"/>
                  <a:gd name="connsiteX28" fmla="*/ 150040 w 164316"/>
                  <a:gd name="connsiteY28" fmla="*/ 18150 h 179399"/>
                  <a:gd name="connsiteX29" fmla="*/ 156805 w 164316"/>
                  <a:gd name="connsiteY29" fmla="*/ 19311 h 179399"/>
                  <a:gd name="connsiteX30" fmla="*/ 156805 w 164316"/>
                  <a:gd name="connsiteY30" fmla="*/ 6765 h 179399"/>
                  <a:gd name="connsiteX31" fmla="*/ 150040 w 164316"/>
                  <a:gd name="connsiteY31" fmla="*/ 0 h 179399"/>
                  <a:gd name="connsiteX32" fmla="*/ 143275 w 164316"/>
                  <a:gd name="connsiteY32" fmla="*/ 6765 h 179399"/>
                  <a:gd name="connsiteX33" fmla="*/ 143275 w 164316"/>
                  <a:gd name="connsiteY33" fmla="*/ 19311 h 179399"/>
                  <a:gd name="connsiteX34" fmla="*/ 150040 w 164316"/>
                  <a:gd name="connsiteY34" fmla="*/ 18150 h 179399"/>
                  <a:gd name="connsiteX35" fmla="*/ 59544 w 164316"/>
                  <a:gd name="connsiteY35" fmla="*/ 127859 h 179399"/>
                  <a:gd name="connsiteX36" fmla="*/ 52779 w 164316"/>
                  <a:gd name="connsiteY36" fmla="*/ 126698 h 179399"/>
                  <a:gd name="connsiteX37" fmla="*/ 52779 w 164316"/>
                  <a:gd name="connsiteY37" fmla="*/ 172635 h 179399"/>
                  <a:gd name="connsiteX38" fmla="*/ 59544 w 164316"/>
                  <a:gd name="connsiteY38" fmla="*/ 179399 h 179399"/>
                  <a:gd name="connsiteX39" fmla="*/ 66309 w 164316"/>
                  <a:gd name="connsiteY39" fmla="*/ 172635 h 179399"/>
                  <a:gd name="connsiteX40" fmla="*/ 66309 w 164316"/>
                  <a:gd name="connsiteY40" fmla="*/ 126698 h 179399"/>
                  <a:gd name="connsiteX41" fmla="*/ 59544 w 164316"/>
                  <a:gd name="connsiteY41" fmla="*/ 127859 h 179399"/>
                  <a:gd name="connsiteX42" fmla="*/ 14257 w 164316"/>
                  <a:gd name="connsiteY42" fmla="*/ 83319 h 179399"/>
                  <a:gd name="connsiteX43" fmla="*/ 7492 w 164316"/>
                  <a:gd name="connsiteY43" fmla="*/ 82158 h 179399"/>
                  <a:gd name="connsiteX44" fmla="*/ 7492 w 164316"/>
                  <a:gd name="connsiteY44" fmla="*/ 172635 h 179399"/>
                  <a:gd name="connsiteX45" fmla="*/ 14257 w 164316"/>
                  <a:gd name="connsiteY45" fmla="*/ 179399 h 179399"/>
                  <a:gd name="connsiteX46" fmla="*/ 21021 w 164316"/>
                  <a:gd name="connsiteY46" fmla="*/ 172635 h 179399"/>
                  <a:gd name="connsiteX47" fmla="*/ 21021 w 164316"/>
                  <a:gd name="connsiteY47" fmla="*/ 82158 h 179399"/>
                  <a:gd name="connsiteX48" fmla="*/ 14257 w 164316"/>
                  <a:gd name="connsiteY48" fmla="*/ 83319 h 179399"/>
                  <a:gd name="connsiteX49" fmla="*/ 0 w 164316"/>
                  <a:gd name="connsiteY49" fmla="*/ 38916 h 179399"/>
                  <a:gd name="connsiteX50" fmla="*/ 0 w 164316"/>
                  <a:gd name="connsiteY50" fmla="*/ 62553 h 179399"/>
                  <a:gd name="connsiteX51" fmla="*/ 14257 w 164316"/>
                  <a:gd name="connsiteY51" fmla="*/ 76810 h 179399"/>
                  <a:gd name="connsiteX52" fmla="*/ 28514 w 164316"/>
                  <a:gd name="connsiteY52" fmla="*/ 62553 h 179399"/>
                  <a:gd name="connsiteX53" fmla="*/ 28514 w 164316"/>
                  <a:gd name="connsiteY53" fmla="*/ 38916 h 179399"/>
                  <a:gd name="connsiteX54" fmla="*/ 14257 w 164316"/>
                  <a:gd name="connsiteY54" fmla="*/ 24659 h 179399"/>
                  <a:gd name="connsiteX55" fmla="*/ 0 w 164316"/>
                  <a:gd name="connsiteY55" fmla="*/ 38916 h 179399"/>
                  <a:gd name="connsiteX56" fmla="*/ 135803 w 164316"/>
                  <a:gd name="connsiteY56" fmla="*/ 38916 h 179399"/>
                  <a:gd name="connsiteX57" fmla="*/ 135803 w 164316"/>
                  <a:gd name="connsiteY57" fmla="*/ 62553 h 179399"/>
                  <a:gd name="connsiteX58" fmla="*/ 150060 w 164316"/>
                  <a:gd name="connsiteY58" fmla="*/ 76810 h 179399"/>
                  <a:gd name="connsiteX59" fmla="*/ 164316 w 164316"/>
                  <a:gd name="connsiteY59" fmla="*/ 62553 h 179399"/>
                  <a:gd name="connsiteX60" fmla="*/ 164316 w 164316"/>
                  <a:gd name="connsiteY60" fmla="*/ 38916 h 179399"/>
                  <a:gd name="connsiteX61" fmla="*/ 150060 w 164316"/>
                  <a:gd name="connsiteY61" fmla="*/ 24659 h 179399"/>
                  <a:gd name="connsiteX62" fmla="*/ 135803 w 164316"/>
                  <a:gd name="connsiteY62" fmla="*/ 38916 h 179399"/>
                  <a:gd name="connsiteX63" fmla="*/ 90555 w 164316"/>
                  <a:gd name="connsiteY63" fmla="*/ 135783 h 179399"/>
                  <a:gd name="connsiteX64" fmla="*/ 90555 w 164316"/>
                  <a:gd name="connsiteY64" fmla="*/ 159420 h 179399"/>
                  <a:gd name="connsiteX65" fmla="*/ 104812 w 164316"/>
                  <a:gd name="connsiteY65" fmla="*/ 173677 h 179399"/>
                  <a:gd name="connsiteX66" fmla="*/ 119069 w 164316"/>
                  <a:gd name="connsiteY66" fmla="*/ 159420 h 179399"/>
                  <a:gd name="connsiteX67" fmla="*/ 119069 w 164316"/>
                  <a:gd name="connsiteY67" fmla="*/ 135783 h 179399"/>
                  <a:gd name="connsiteX68" fmla="*/ 104812 w 164316"/>
                  <a:gd name="connsiteY68" fmla="*/ 121527 h 179399"/>
                  <a:gd name="connsiteX69" fmla="*/ 90555 w 164316"/>
                  <a:gd name="connsiteY69" fmla="*/ 135783 h 179399"/>
                  <a:gd name="connsiteX70" fmla="*/ 45307 w 164316"/>
                  <a:gd name="connsiteY70" fmla="*/ 83456 h 179399"/>
                  <a:gd name="connsiteX71" fmla="*/ 45307 w 164316"/>
                  <a:gd name="connsiteY71" fmla="*/ 107093 h 179399"/>
                  <a:gd name="connsiteX72" fmla="*/ 59564 w 164316"/>
                  <a:gd name="connsiteY72" fmla="*/ 121350 h 179399"/>
                  <a:gd name="connsiteX73" fmla="*/ 73821 w 164316"/>
                  <a:gd name="connsiteY73" fmla="*/ 107093 h 179399"/>
                  <a:gd name="connsiteX74" fmla="*/ 73821 w 164316"/>
                  <a:gd name="connsiteY74" fmla="*/ 83456 h 179399"/>
                  <a:gd name="connsiteX75" fmla="*/ 59564 w 164316"/>
                  <a:gd name="connsiteY75" fmla="*/ 69199 h 179399"/>
                  <a:gd name="connsiteX76" fmla="*/ 45307 w 164316"/>
                  <a:gd name="connsiteY76" fmla="*/ 83456 h 17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64316" h="179399">
                    <a:moveTo>
                      <a:pt x="104792" y="115018"/>
                    </a:moveTo>
                    <a:cubicBezTo>
                      <a:pt x="107172" y="115018"/>
                      <a:pt x="109433" y="115431"/>
                      <a:pt x="111557" y="116178"/>
                    </a:cubicBezTo>
                    <a:lnTo>
                      <a:pt x="111557" y="6784"/>
                    </a:lnTo>
                    <a:cubicBezTo>
                      <a:pt x="111557" y="3048"/>
                      <a:pt x="108528" y="20"/>
                      <a:pt x="104792" y="20"/>
                    </a:cubicBezTo>
                    <a:cubicBezTo>
                      <a:pt x="101056" y="20"/>
                      <a:pt x="98027" y="3048"/>
                      <a:pt x="98027" y="6784"/>
                    </a:cubicBezTo>
                    <a:lnTo>
                      <a:pt x="98027" y="116178"/>
                    </a:lnTo>
                    <a:cubicBezTo>
                      <a:pt x="100151" y="115450"/>
                      <a:pt x="102412" y="115018"/>
                      <a:pt x="104792" y="115018"/>
                    </a:cubicBezTo>
                    <a:close/>
                    <a:moveTo>
                      <a:pt x="59544" y="62690"/>
                    </a:moveTo>
                    <a:cubicBezTo>
                      <a:pt x="61904" y="62690"/>
                      <a:pt x="64185" y="63103"/>
                      <a:pt x="66309" y="63851"/>
                    </a:cubicBezTo>
                    <a:lnTo>
                      <a:pt x="66309" y="6765"/>
                    </a:lnTo>
                    <a:cubicBezTo>
                      <a:pt x="66309" y="3028"/>
                      <a:pt x="63280" y="0"/>
                      <a:pt x="59544" y="0"/>
                    </a:cubicBezTo>
                    <a:cubicBezTo>
                      <a:pt x="55808" y="0"/>
                      <a:pt x="52779" y="3028"/>
                      <a:pt x="52779" y="6765"/>
                    </a:cubicBezTo>
                    <a:lnTo>
                      <a:pt x="52779" y="63851"/>
                    </a:lnTo>
                    <a:cubicBezTo>
                      <a:pt x="54903" y="63123"/>
                      <a:pt x="57164" y="62690"/>
                      <a:pt x="59544" y="62690"/>
                    </a:cubicBezTo>
                    <a:close/>
                    <a:moveTo>
                      <a:pt x="150040" y="83319"/>
                    </a:moveTo>
                    <a:cubicBezTo>
                      <a:pt x="147661" y="83319"/>
                      <a:pt x="145399" y="82906"/>
                      <a:pt x="143275" y="82158"/>
                    </a:cubicBezTo>
                    <a:lnTo>
                      <a:pt x="143275" y="172635"/>
                    </a:lnTo>
                    <a:cubicBezTo>
                      <a:pt x="143275" y="176371"/>
                      <a:pt x="146304" y="179399"/>
                      <a:pt x="150040" y="179399"/>
                    </a:cubicBezTo>
                    <a:cubicBezTo>
                      <a:pt x="153776" y="179399"/>
                      <a:pt x="156805" y="176371"/>
                      <a:pt x="156805" y="172635"/>
                    </a:cubicBezTo>
                    <a:lnTo>
                      <a:pt x="156805" y="82158"/>
                    </a:lnTo>
                    <a:cubicBezTo>
                      <a:pt x="154681" y="82886"/>
                      <a:pt x="152420" y="83319"/>
                      <a:pt x="150040" y="83319"/>
                    </a:cubicBezTo>
                    <a:close/>
                    <a:moveTo>
                      <a:pt x="14237" y="18150"/>
                    </a:moveTo>
                    <a:cubicBezTo>
                      <a:pt x="16616" y="18150"/>
                      <a:pt x="18878" y="18563"/>
                      <a:pt x="21002" y="19311"/>
                    </a:cubicBezTo>
                    <a:lnTo>
                      <a:pt x="21002" y="6765"/>
                    </a:lnTo>
                    <a:cubicBezTo>
                      <a:pt x="21002" y="3028"/>
                      <a:pt x="17973" y="0"/>
                      <a:pt x="14237" y="0"/>
                    </a:cubicBezTo>
                    <a:cubicBezTo>
                      <a:pt x="10501" y="0"/>
                      <a:pt x="7473" y="3028"/>
                      <a:pt x="7473" y="6765"/>
                    </a:cubicBezTo>
                    <a:lnTo>
                      <a:pt x="7473" y="19311"/>
                    </a:lnTo>
                    <a:cubicBezTo>
                      <a:pt x="9596" y="18583"/>
                      <a:pt x="11858" y="18150"/>
                      <a:pt x="14237" y="18150"/>
                    </a:cubicBezTo>
                    <a:close/>
                    <a:moveTo>
                      <a:pt x="150040" y="18150"/>
                    </a:moveTo>
                    <a:cubicBezTo>
                      <a:pt x="152400" y="18150"/>
                      <a:pt x="154681" y="18563"/>
                      <a:pt x="156805" y="19311"/>
                    </a:cubicBezTo>
                    <a:lnTo>
                      <a:pt x="156805" y="6765"/>
                    </a:lnTo>
                    <a:cubicBezTo>
                      <a:pt x="156805" y="3028"/>
                      <a:pt x="153776" y="0"/>
                      <a:pt x="150040" y="0"/>
                    </a:cubicBezTo>
                    <a:cubicBezTo>
                      <a:pt x="146304" y="0"/>
                      <a:pt x="143275" y="3028"/>
                      <a:pt x="143275" y="6765"/>
                    </a:cubicBezTo>
                    <a:lnTo>
                      <a:pt x="143275" y="19311"/>
                    </a:lnTo>
                    <a:cubicBezTo>
                      <a:pt x="145399" y="18583"/>
                      <a:pt x="147661" y="18150"/>
                      <a:pt x="150040" y="18150"/>
                    </a:cubicBezTo>
                    <a:close/>
                    <a:moveTo>
                      <a:pt x="59544" y="127859"/>
                    </a:moveTo>
                    <a:cubicBezTo>
                      <a:pt x="57164" y="127859"/>
                      <a:pt x="54903" y="127446"/>
                      <a:pt x="52779" y="126698"/>
                    </a:cubicBezTo>
                    <a:lnTo>
                      <a:pt x="52779" y="172635"/>
                    </a:lnTo>
                    <a:cubicBezTo>
                      <a:pt x="52779" y="176371"/>
                      <a:pt x="55808" y="179399"/>
                      <a:pt x="59544" y="179399"/>
                    </a:cubicBezTo>
                    <a:cubicBezTo>
                      <a:pt x="63280" y="179399"/>
                      <a:pt x="66309" y="176371"/>
                      <a:pt x="66309" y="172635"/>
                    </a:cubicBezTo>
                    <a:lnTo>
                      <a:pt x="66309" y="126698"/>
                    </a:lnTo>
                    <a:cubicBezTo>
                      <a:pt x="64185" y="127426"/>
                      <a:pt x="61924" y="127859"/>
                      <a:pt x="59544" y="127859"/>
                    </a:cubicBezTo>
                    <a:close/>
                    <a:moveTo>
                      <a:pt x="14257" y="83319"/>
                    </a:moveTo>
                    <a:cubicBezTo>
                      <a:pt x="11897" y="83319"/>
                      <a:pt x="9616" y="82906"/>
                      <a:pt x="7492" y="82158"/>
                    </a:cubicBezTo>
                    <a:lnTo>
                      <a:pt x="7492" y="172635"/>
                    </a:lnTo>
                    <a:cubicBezTo>
                      <a:pt x="7492" y="176371"/>
                      <a:pt x="10520" y="179399"/>
                      <a:pt x="14257" y="179399"/>
                    </a:cubicBezTo>
                    <a:cubicBezTo>
                      <a:pt x="17993" y="179399"/>
                      <a:pt x="21021" y="176371"/>
                      <a:pt x="21021" y="172635"/>
                    </a:cubicBezTo>
                    <a:lnTo>
                      <a:pt x="21021" y="82158"/>
                    </a:lnTo>
                    <a:cubicBezTo>
                      <a:pt x="18897" y="82886"/>
                      <a:pt x="16636" y="83319"/>
                      <a:pt x="14257" y="83319"/>
                    </a:cubicBezTo>
                    <a:close/>
                    <a:moveTo>
                      <a:pt x="0" y="38916"/>
                    </a:moveTo>
                    <a:lnTo>
                      <a:pt x="0" y="62553"/>
                    </a:lnTo>
                    <a:cubicBezTo>
                      <a:pt x="0" y="70438"/>
                      <a:pt x="6391" y="76810"/>
                      <a:pt x="14257" y="76810"/>
                    </a:cubicBezTo>
                    <a:cubicBezTo>
                      <a:pt x="22123" y="76810"/>
                      <a:pt x="28514" y="70419"/>
                      <a:pt x="28514" y="62553"/>
                    </a:cubicBezTo>
                    <a:lnTo>
                      <a:pt x="28514" y="38916"/>
                    </a:lnTo>
                    <a:cubicBezTo>
                      <a:pt x="28514" y="31031"/>
                      <a:pt x="22123" y="24659"/>
                      <a:pt x="14257" y="24659"/>
                    </a:cubicBezTo>
                    <a:cubicBezTo>
                      <a:pt x="6391" y="24659"/>
                      <a:pt x="0" y="31050"/>
                      <a:pt x="0" y="38916"/>
                    </a:cubicBezTo>
                    <a:close/>
                    <a:moveTo>
                      <a:pt x="135803" y="38916"/>
                    </a:moveTo>
                    <a:lnTo>
                      <a:pt x="135803" y="62553"/>
                    </a:lnTo>
                    <a:cubicBezTo>
                      <a:pt x="135803" y="70438"/>
                      <a:pt x="142194" y="76810"/>
                      <a:pt x="150060" y="76810"/>
                    </a:cubicBezTo>
                    <a:cubicBezTo>
                      <a:pt x="157925" y="76810"/>
                      <a:pt x="164316" y="70419"/>
                      <a:pt x="164316" y="62553"/>
                    </a:cubicBezTo>
                    <a:lnTo>
                      <a:pt x="164316" y="38916"/>
                    </a:lnTo>
                    <a:cubicBezTo>
                      <a:pt x="164316" y="31031"/>
                      <a:pt x="157925" y="24659"/>
                      <a:pt x="150060" y="24659"/>
                    </a:cubicBezTo>
                    <a:cubicBezTo>
                      <a:pt x="142194" y="24659"/>
                      <a:pt x="135803" y="31050"/>
                      <a:pt x="135803" y="38916"/>
                    </a:cubicBezTo>
                    <a:close/>
                    <a:moveTo>
                      <a:pt x="90555" y="135783"/>
                    </a:moveTo>
                    <a:lnTo>
                      <a:pt x="90555" y="159420"/>
                    </a:lnTo>
                    <a:cubicBezTo>
                      <a:pt x="90555" y="167306"/>
                      <a:pt x="96946" y="173677"/>
                      <a:pt x="104812" y="173677"/>
                    </a:cubicBezTo>
                    <a:cubicBezTo>
                      <a:pt x="112678" y="173677"/>
                      <a:pt x="119069" y="167286"/>
                      <a:pt x="119069" y="159420"/>
                    </a:cubicBezTo>
                    <a:lnTo>
                      <a:pt x="119069" y="135783"/>
                    </a:lnTo>
                    <a:cubicBezTo>
                      <a:pt x="119069" y="127898"/>
                      <a:pt x="112678" y="121527"/>
                      <a:pt x="104812" y="121527"/>
                    </a:cubicBezTo>
                    <a:cubicBezTo>
                      <a:pt x="96946" y="121527"/>
                      <a:pt x="90555" y="127918"/>
                      <a:pt x="90555" y="135783"/>
                    </a:cubicBezTo>
                    <a:close/>
                    <a:moveTo>
                      <a:pt x="45307" y="83456"/>
                    </a:moveTo>
                    <a:lnTo>
                      <a:pt x="45307" y="107093"/>
                    </a:lnTo>
                    <a:cubicBezTo>
                      <a:pt x="45307" y="114978"/>
                      <a:pt x="51698" y="121350"/>
                      <a:pt x="59564" y="121350"/>
                    </a:cubicBezTo>
                    <a:cubicBezTo>
                      <a:pt x="67430" y="121350"/>
                      <a:pt x="73821" y="114959"/>
                      <a:pt x="73821" y="107093"/>
                    </a:cubicBezTo>
                    <a:lnTo>
                      <a:pt x="73821" y="83456"/>
                    </a:lnTo>
                    <a:cubicBezTo>
                      <a:pt x="73821" y="75571"/>
                      <a:pt x="67430" y="69199"/>
                      <a:pt x="59564" y="69199"/>
                    </a:cubicBezTo>
                    <a:cubicBezTo>
                      <a:pt x="51698" y="69199"/>
                      <a:pt x="45307" y="75590"/>
                      <a:pt x="45307" y="83456"/>
                    </a:cubicBezTo>
                    <a:close/>
                  </a:path>
                </a:pathLst>
              </a:custGeom>
              <a:solidFill>
                <a:srgbClr val="FFFF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30" name="Freeform: Shape 829">
                <a:extLst>
                  <a:ext uri="{FF2B5EF4-FFF2-40B4-BE49-F238E27FC236}">
                    <a16:creationId xmlns:a16="http://schemas.microsoft.com/office/drawing/2014/main" id="{B27E07CF-1DB4-4A4C-A7A7-C39DE1E7560F}"/>
                  </a:ext>
                </a:extLst>
              </p:cNvPr>
              <p:cNvSpPr/>
              <p:nvPr/>
            </p:nvSpPr>
            <p:spPr>
              <a:xfrm>
                <a:off x="6273845" y="9522318"/>
                <a:ext cx="192279" cy="205395"/>
              </a:xfrm>
              <a:custGeom>
                <a:avLst/>
                <a:gdLst>
                  <a:gd name="connsiteX0" fmla="*/ 106405 w 192279"/>
                  <a:gd name="connsiteY0" fmla="*/ 147464 h 205395"/>
                  <a:gd name="connsiteX1" fmla="*/ 76417 w 192279"/>
                  <a:gd name="connsiteY1" fmla="*/ 147464 h 205395"/>
                  <a:gd name="connsiteX2" fmla="*/ 134348 w 192279"/>
                  <a:gd name="connsiteY2" fmla="*/ 205396 h 205395"/>
                  <a:gd name="connsiteX3" fmla="*/ 192280 w 192279"/>
                  <a:gd name="connsiteY3" fmla="*/ 147464 h 205395"/>
                  <a:gd name="connsiteX4" fmla="*/ 162291 w 192279"/>
                  <a:gd name="connsiteY4" fmla="*/ 147464 h 205395"/>
                  <a:gd name="connsiteX5" fmla="*/ 162291 w 192279"/>
                  <a:gd name="connsiteY5" fmla="*/ 78442 h 205395"/>
                  <a:gd name="connsiteX6" fmla="*/ 106444 w 192279"/>
                  <a:gd name="connsiteY6" fmla="*/ 78442 h 205395"/>
                  <a:gd name="connsiteX7" fmla="*/ 106444 w 192279"/>
                  <a:gd name="connsiteY7" fmla="*/ 147464 h 205395"/>
                  <a:gd name="connsiteX8" fmla="*/ 39 w 192279"/>
                  <a:gd name="connsiteY8" fmla="*/ 57932 h 205395"/>
                  <a:gd name="connsiteX9" fmla="*/ 30028 w 192279"/>
                  <a:gd name="connsiteY9" fmla="*/ 57932 h 205395"/>
                  <a:gd name="connsiteX10" fmla="*/ 30028 w 192279"/>
                  <a:gd name="connsiteY10" fmla="*/ 126954 h 205395"/>
                  <a:gd name="connsiteX11" fmla="*/ 85875 w 192279"/>
                  <a:gd name="connsiteY11" fmla="*/ 126954 h 205395"/>
                  <a:gd name="connsiteX12" fmla="*/ 85875 w 192279"/>
                  <a:gd name="connsiteY12" fmla="*/ 57932 h 205395"/>
                  <a:gd name="connsiteX13" fmla="*/ 115864 w 192279"/>
                  <a:gd name="connsiteY13" fmla="*/ 57932 h 205395"/>
                  <a:gd name="connsiteX14" fmla="*/ 57932 w 192279"/>
                  <a:gd name="connsiteY14" fmla="*/ 0 h 205395"/>
                  <a:gd name="connsiteX15" fmla="*/ 0 w 192279"/>
                  <a:gd name="connsiteY15" fmla="*/ 57932 h 205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2279" h="205395">
                    <a:moveTo>
                      <a:pt x="106405" y="147464"/>
                    </a:moveTo>
                    <a:lnTo>
                      <a:pt x="76417" y="147464"/>
                    </a:lnTo>
                    <a:lnTo>
                      <a:pt x="134348" y="205396"/>
                    </a:lnTo>
                    <a:lnTo>
                      <a:pt x="192280" y="147464"/>
                    </a:lnTo>
                    <a:lnTo>
                      <a:pt x="162291" y="147464"/>
                    </a:lnTo>
                    <a:lnTo>
                      <a:pt x="162291" y="78442"/>
                    </a:lnTo>
                    <a:lnTo>
                      <a:pt x="106444" y="78442"/>
                    </a:lnTo>
                    <a:lnTo>
                      <a:pt x="106444" y="147464"/>
                    </a:lnTo>
                    <a:close/>
                    <a:moveTo>
                      <a:pt x="39" y="57932"/>
                    </a:moveTo>
                    <a:lnTo>
                      <a:pt x="30028" y="57932"/>
                    </a:lnTo>
                    <a:lnTo>
                      <a:pt x="30028" y="126954"/>
                    </a:lnTo>
                    <a:lnTo>
                      <a:pt x="85875" y="126954"/>
                    </a:lnTo>
                    <a:lnTo>
                      <a:pt x="85875" y="57932"/>
                    </a:lnTo>
                    <a:lnTo>
                      <a:pt x="115864" y="57932"/>
                    </a:lnTo>
                    <a:lnTo>
                      <a:pt x="57932" y="0"/>
                    </a:lnTo>
                    <a:lnTo>
                      <a:pt x="0" y="57932"/>
                    </a:lnTo>
                    <a:close/>
                  </a:path>
                </a:pathLst>
              </a:custGeom>
              <a:solidFill>
                <a:srgbClr val="FFFF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831" name="Graphic 10">
                <a:extLst>
                  <a:ext uri="{FF2B5EF4-FFF2-40B4-BE49-F238E27FC236}">
                    <a16:creationId xmlns:a16="http://schemas.microsoft.com/office/drawing/2014/main" id="{0AB0B48D-AAD5-4E7D-A243-D8BB2AFCE786}"/>
                  </a:ext>
                </a:extLst>
              </p:cNvPr>
              <p:cNvGrpSpPr/>
              <p:nvPr/>
            </p:nvGrpSpPr>
            <p:grpSpPr>
              <a:xfrm>
                <a:off x="2049219" y="10421435"/>
                <a:ext cx="8351421" cy="965417"/>
                <a:chOff x="2049219" y="10421435"/>
                <a:chExt cx="8351421" cy="965417"/>
              </a:xfrm>
            </p:grpSpPr>
            <p:grpSp>
              <p:nvGrpSpPr>
                <p:cNvPr id="832" name="Graphic 10">
                  <a:extLst>
                    <a:ext uri="{FF2B5EF4-FFF2-40B4-BE49-F238E27FC236}">
                      <a16:creationId xmlns:a16="http://schemas.microsoft.com/office/drawing/2014/main" id="{8CE829E3-F2FC-4021-B54A-CF81B3B6DBF3}"/>
                    </a:ext>
                  </a:extLst>
                </p:cNvPr>
                <p:cNvGrpSpPr/>
                <p:nvPr/>
              </p:nvGrpSpPr>
              <p:grpSpPr>
                <a:xfrm>
                  <a:off x="2171493" y="10448629"/>
                  <a:ext cx="382258" cy="929605"/>
                  <a:chOff x="2171493" y="10448629"/>
                  <a:chExt cx="382258" cy="929605"/>
                </a:xfrm>
              </p:grpSpPr>
              <p:grpSp>
                <p:nvGrpSpPr>
                  <p:cNvPr id="1048" name="Graphic 10">
                    <a:extLst>
                      <a:ext uri="{FF2B5EF4-FFF2-40B4-BE49-F238E27FC236}">
                        <a16:creationId xmlns:a16="http://schemas.microsoft.com/office/drawing/2014/main" id="{55142988-9FF4-40DD-B208-BA541643D433}"/>
                      </a:ext>
                    </a:extLst>
                  </p:cNvPr>
                  <p:cNvGrpSpPr/>
                  <p:nvPr/>
                </p:nvGrpSpPr>
                <p:grpSpPr>
                  <a:xfrm>
                    <a:off x="2457691" y="10595056"/>
                    <a:ext cx="96061" cy="341415"/>
                    <a:chOff x="2457691" y="10595056"/>
                    <a:chExt cx="96061" cy="341415"/>
                  </a:xfrm>
                </p:grpSpPr>
                <p:sp>
                  <p:nvSpPr>
                    <p:cNvPr id="1067" name="Freeform: Shape 1066">
                      <a:extLst>
                        <a:ext uri="{FF2B5EF4-FFF2-40B4-BE49-F238E27FC236}">
                          <a16:creationId xmlns:a16="http://schemas.microsoft.com/office/drawing/2014/main" id="{CCB8DB17-C08B-471D-B954-E7CFC283AB5F}"/>
                        </a:ext>
                      </a:extLst>
                    </p:cNvPr>
                    <p:cNvSpPr/>
                    <p:nvPr/>
                  </p:nvSpPr>
                  <p:spPr>
                    <a:xfrm>
                      <a:off x="2463826" y="10595056"/>
                      <a:ext cx="89925" cy="173775"/>
                    </a:xfrm>
                    <a:custGeom>
                      <a:avLst/>
                      <a:gdLst>
                        <a:gd name="connsiteX0" fmla="*/ 38483 w 89925"/>
                        <a:gd name="connsiteY0" fmla="*/ 20 h 173775"/>
                        <a:gd name="connsiteX1" fmla="*/ 89926 w 89925"/>
                        <a:gd name="connsiteY1" fmla="*/ 165044 h 173775"/>
                        <a:gd name="connsiteX2" fmla="*/ 82099 w 89925"/>
                        <a:gd name="connsiteY2" fmla="*/ 173677 h 173775"/>
                        <a:gd name="connsiteX3" fmla="*/ 56044 w 89925"/>
                        <a:gd name="connsiteY3" fmla="*/ 173775 h 173775"/>
                        <a:gd name="connsiteX4" fmla="*/ 0 w 89925"/>
                        <a:gd name="connsiteY4" fmla="*/ 31837 h 173775"/>
                        <a:gd name="connsiteX5" fmla="*/ 38503 w 89925"/>
                        <a:gd name="connsiteY5" fmla="*/ 0 h 17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925" h="173775">
                          <a:moveTo>
                            <a:pt x="38483" y="20"/>
                          </a:moveTo>
                          <a:cubicBezTo>
                            <a:pt x="59682" y="14414"/>
                            <a:pt x="85973" y="86170"/>
                            <a:pt x="89926" y="165044"/>
                          </a:cubicBezTo>
                          <a:lnTo>
                            <a:pt x="82099" y="173677"/>
                          </a:lnTo>
                          <a:lnTo>
                            <a:pt x="56044" y="173775"/>
                          </a:lnTo>
                          <a:cubicBezTo>
                            <a:pt x="56044" y="173775"/>
                            <a:pt x="8613" y="53802"/>
                            <a:pt x="0" y="31837"/>
                          </a:cubicBezTo>
                          <a:lnTo>
                            <a:pt x="38503" y="0"/>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68" name="Freeform: Shape 1067">
                      <a:extLst>
                        <a:ext uri="{FF2B5EF4-FFF2-40B4-BE49-F238E27FC236}">
                          <a16:creationId xmlns:a16="http://schemas.microsoft.com/office/drawing/2014/main" id="{CB2CD785-FD03-4619-A4B7-9F18241B2FAA}"/>
                        </a:ext>
                      </a:extLst>
                    </p:cNvPr>
                    <p:cNvSpPr/>
                    <p:nvPr/>
                  </p:nvSpPr>
                  <p:spPr>
                    <a:xfrm>
                      <a:off x="2457691" y="10892895"/>
                      <a:ext cx="25229" cy="43576"/>
                    </a:xfrm>
                    <a:custGeom>
                      <a:avLst/>
                      <a:gdLst>
                        <a:gd name="connsiteX0" fmla="*/ 25210 w 25229"/>
                        <a:gd name="connsiteY0" fmla="*/ 5113 h 43576"/>
                        <a:gd name="connsiteX1" fmla="*/ 17344 w 25229"/>
                        <a:gd name="connsiteY1" fmla="*/ 28907 h 43576"/>
                        <a:gd name="connsiteX2" fmla="*/ 20805 w 25229"/>
                        <a:gd name="connsiteY2" fmla="*/ 43576 h 43576"/>
                        <a:gd name="connsiteX3" fmla="*/ 15909 w 25229"/>
                        <a:gd name="connsiteY3" fmla="*/ 43262 h 43576"/>
                        <a:gd name="connsiteX4" fmla="*/ 3205 w 25229"/>
                        <a:gd name="connsiteY4" fmla="*/ 33843 h 43576"/>
                        <a:gd name="connsiteX5" fmla="*/ 0 w 25229"/>
                        <a:gd name="connsiteY5" fmla="*/ 25229 h 43576"/>
                        <a:gd name="connsiteX6" fmla="*/ 10285 w 25229"/>
                        <a:gd name="connsiteY6" fmla="*/ 0 h 43576"/>
                        <a:gd name="connsiteX7" fmla="*/ 25229 w 25229"/>
                        <a:gd name="connsiteY7" fmla="*/ 5113 h 43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29" h="43576">
                          <a:moveTo>
                            <a:pt x="25210" y="5113"/>
                          </a:moveTo>
                          <a:lnTo>
                            <a:pt x="17344" y="28907"/>
                          </a:lnTo>
                          <a:lnTo>
                            <a:pt x="20805" y="43576"/>
                          </a:lnTo>
                          <a:lnTo>
                            <a:pt x="15909" y="43262"/>
                          </a:lnTo>
                          <a:cubicBezTo>
                            <a:pt x="10186" y="42908"/>
                            <a:pt x="5211" y="39211"/>
                            <a:pt x="3205" y="33843"/>
                          </a:cubicBezTo>
                          <a:lnTo>
                            <a:pt x="0" y="25229"/>
                          </a:lnTo>
                          <a:lnTo>
                            <a:pt x="10285" y="0"/>
                          </a:lnTo>
                          <a:lnTo>
                            <a:pt x="25229" y="5113"/>
                          </a:lnTo>
                          <a:close/>
                        </a:path>
                      </a:pathLst>
                    </a:custGeom>
                    <a:solidFill>
                      <a:srgbClr val="F4ACC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69" name="Freeform: Shape 1068">
                      <a:extLst>
                        <a:ext uri="{FF2B5EF4-FFF2-40B4-BE49-F238E27FC236}">
                          <a16:creationId xmlns:a16="http://schemas.microsoft.com/office/drawing/2014/main" id="{54E1A324-CCCC-4D2E-A5AD-48C7836B361A}"/>
                        </a:ext>
                      </a:extLst>
                    </p:cNvPr>
                    <p:cNvSpPr/>
                    <p:nvPr/>
                  </p:nvSpPr>
                  <p:spPr>
                    <a:xfrm>
                      <a:off x="2467955" y="10751350"/>
                      <a:ext cx="85776" cy="148113"/>
                    </a:xfrm>
                    <a:custGeom>
                      <a:avLst/>
                      <a:gdLst>
                        <a:gd name="connsiteX0" fmla="*/ 85777 w 85776"/>
                        <a:gd name="connsiteY0" fmla="*/ 8751 h 148113"/>
                        <a:gd name="connsiteX1" fmla="*/ 64539 w 85776"/>
                        <a:gd name="connsiteY1" fmla="*/ 0 h 148113"/>
                        <a:gd name="connsiteX2" fmla="*/ 50341 w 85776"/>
                        <a:gd name="connsiteY2" fmla="*/ 7669 h 148113"/>
                        <a:gd name="connsiteX3" fmla="*/ 0 w 85776"/>
                        <a:gd name="connsiteY3" fmla="*/ 141565 h 148113"/>
                        <a:gd name="connsiteX4" fmla="*/ 14453 w 85776"/>
                        <a:gd name="connsiteY4" fmla="*/ 148113 h 148113"/>
                        <a:gd name="connsiteX5" fmla="*/ 85777 w 85776"/>
                        <a:gd name="connsiteY5" fmla="*/ 8770 h 14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76" h="148113">
                          <a:moveTo>
                            <a:pt x="85777" y="8751"/>
                          </a:moveTo>
                          <a:lnTo>
                            <a:pt x="64539" y="0"/>
                          </a:lnTo>
                          <a:lnTo>
                            <a:pt x="50341" y="7669"/>
                          </a:lnTo>
                          <a:cubicBezTo>
                            <a:pt x="31699" y="44481"/>
                            <a:pt x="14217" y="97123"/>
                            <a:pt x="0" y="141565"/>
                          </a:cubicBezTo>
                          <a:lnTo>
                            <a:pt x="14453" y="148113"/>
                          </a:lnTo>
                          <a:cubicBezTo>
                            <a:pt x="41118" y="100564"/>
                            <a:pt x="68570" y="55847"/>
                            <a:pt x="85777" y="8770"/>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049" name="Freeform: Shape 1048">
                    <a:extLst>
                      <a:ext uri="{FF2B5EF4-FFF2-40B4-BE49-F238E27FC236}">
                        <a16:creationId xmlns:a16="http://schemas.microsoft.com/office/drawing/2014/main" id="{FD00A2AB-4B03-4EC3-8333-005C4A219B11}"/>
                      </a:ext>
                    </a:extLst>
                  </p:cNvPr>
                  <p:cNvSpPr/>
                  <p:nvPr/>
                </p:nvSpPr>
                <p:spPr>
                  <a:xfrm>
                    <a:off x="2415313" y="11088891"/>
                    <a:ext cx="90077" cy="259079"/>
                  </a:xfrm>
                  <a:custGeom>
                    <a:avLst/>
                    <a:gdLst>
                      <a:gd name="connsiteX0" fmla="*/ 87311 w 90077"/>
                      <a:gd name="connsiteY0" fmla="*/ 0 h 259079"/>
                      <a:gd name="connsiteX1" fmla="*/ 71284 w 90077"/>
                      <a:gd name="connsiteY1" fmla="*/ 259080 h 259079"/>
                      <a:gd name="connsiteX2" fmla="*/ 30460 w 90077"/>
                      <a:gd name="connsiteY2" fmla="*/ 259080 h 259079"/>
                      <a:gd name="connsiteX3" fmla="*/ 0 w 90077"/>
                      <a:gd name="connsiteY3" fmla="*/ 2871 h 259079"/>
                      <a:gd name="connsiteX4" fmla="*/ 87291 w 90077"/>
                      <a:gd name="connsiteY4" fmla="*/ 0 h 259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77" h="259079">
                        <a:moveTo>
                          <a:pt x="87311" y="0"/>
                        </a:moveTo>
                        <a:cubicBezTo>
                          <a:pt x="94154" y="82434"/>
                          <a:pt x="88117" y="162488"/>
                          <a:pt x="71284" y="259080"/>
                        </a:cubicBezTo>
                        <a:lnTo>
                          <a:pt x="30460" y="259080"/>
                        </a:lnTo>
                        <a:lnTo>
                          <a:pt x="0" y="2871"/>
                        </a:lnTo>
                        <a:lnTo>
                          <a:pt x="87291" y="0"/>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50" name="Freeform: Shape 1049">
                    <a:extLst>
                      <a:ext uri="{FF2B5EF4-FFF2-40B4-BE49-F238E27FC236}">
                        <a16:creationId xmlns:a16="http://schemas.microsoft.com/office/drawing/2014/main" id="{376A9595-3394-4C98-9A1D-0978CE74A892}"/>
                      </a:ext>
                    </a:extLst>
                  </p:cNvPr>
                  <p:cNvSpPr/>
                  <p:nvPr/>
                </p:nvSpPr>
                <p:spPr>
                  <a:xfrm>
                    <a:off x="2401666" y="10859052"/>
                    <a:ext cx="107428" cy="239769"/>
                  </a:xfrm>
                  <a:custGeom>
                    <a:avLst/>
                    <a:gdLst>
                      <a:gd name="connsiteX0" fmla="*/ 14080 w 107428"/>
                      <a:gd name="connsiteY0" fmla="*/ 239750 h 239769"/>
                      <a:gd name="connsiteX1" fmla="*/ 0 w 107428"/>
                      <a:gd name="connsiteY1" fmla="*/ 0 h 239769"/>
                      <a:gd name="connsiteX2" fmla="*/ 101430 w 107428"/>
                      <a:gd name="connsiteY2" fmla="*/ 0 h 239769"/>
                      <a:gd name="connsiteX3" fmla="*/ 100977 w 107428"/>
                      <a:gd name="connsiteY3" fmla="*/ 229859 h 239769"/>
                      <a:gd name="connsiteX4" fmla="*/ 14100 w 107428"/>
                      <a:gd name="connsiteY4" fmla="*/ 239770 h 239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28" h="239769">
                        <a:moveTo>
                          <a:pt x="14080" y="239750"/>
                        </a:moveTo>
                        <a:lnTo>
                          <a:pt x="0" y="0"/>
                        </a:lnTo>
                        <a:lnTo>
                          <a:pt x="101430" y="0"/>
                        </a:lnTo>
                        <a:cubicBezTo>
                          <a:pt x="107801" y="73604"/>
                          <a:pt x="111085" y="156805"/>
                          <a:pt x="100977" y="229859"/>
                        </a:cubicBezTo>
                        <a:lnTo>
                          <a:pt x="14100" y="239770"/>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51" name="Freeform: Shape 1050">
                    <a:extLst>
                      <a:ext uri="{FF2B5EF4-FFF2-40B4-BE49-F238E27FC236}">
                        <a16:creationId xmlns:a16="http://schemas.microsoft.com/office/drawing/2014/main" id="{2D27C5A4-EA4C-4D25-8804-4BE291314203}"/>
                      </a:ext>
                    </a:extLst>
                  </p:cNvPr>
                  <p:cNvSpPr/>
                  <p:nvPr/>
                </p:nvSpPr>
                <p:spPr>
                  <a:xfrm>
                    <a:off x="2239572" y="10981248"/>
                    <a:ext cx="80899" cy="265608"/>
                  </a:xfrm>
                  <a:custGeom>
                    <a:avLst/>
                    <a:gdLst>
                      <a:gd name="connsiteX0" fmla="*/ 80900 w 80899"/>
                      <a:gd name="connsiteY0" fmla="*/ 54844 h 265608"/>
                      <a:gd name="connsiteX1" fmla="*/ 56437 w 80899"/>
                      <a:gd name="connsiteY1" fmla="*/ 265609 h 265608"/>
                      <a:gd name="connsiteX2" fmla="*/ 10658 w 80899"/>
                      <a:gd name="connsiteY2" fmla="*/ 265609 h 265608"/>
                      <a:gd name="connsiteX3" fmla="*/ 0 w 80899"/>
                      <a:gd name="connsiteY3" fmla="*/ 0 h 265608"/>
                      <a:gd name="connsiteX4" fmla="*/ 80900 w 80899"/>
                      <a:gd name="connsiteY4" fmla="*/ 54844 h 265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99" h="265608">
                        <a:moveTo>
                          <a:pt x="80900" y="54844"/>
                        </a:moveTo>
                        <a:cubicBezTo>
                          <a:pt x="80900" y="115903"/>
                          <a:pt x="74804" y="183726"/>
                          <a:pt x="56437" y="265609"/>
                        </a:cubicBezTo>
                        <a:lnTo>
                          <a:pt x="10658" y="265609"/>
                        </a:lnTo>
                        <a:lnTo>
                          <a:pt x="0" y="0"/>
                        </a:lnTo>
                        <a:lnTo>
                          <a:pt x="80900" y="54844"/>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52" name="Freeform: Shape 1051">
                    <a:extLst>
                      <a:ext uri="{FF2B5EF4-FFF2-40B4-BE49-F238E27FC236}">
                        <a16:creationId xmlns:a16="http://schemas.microsoft.com/office/drawing/2014/main" id="{1B7E1E7C-ACD9-4C7E-A048-90A6B273129F}"/>
                      </a:ext>
                    </a:extLst>
                  </p:cNvPr>
                  <p:cNvSpPr/>
                  <p:nvPr/>
                </p:nvSpPr>
                <p:spPr>
                  <a:xfrm>
                    <a:off x="2239788" y="10796421"/>
                    <a:ext cx="241086" cy="252393"/>
                  </a:xfrm>
                  <a:custGeom>
                    <a:avLst/>
                    <a:gdLst>
                      <a:gd name="connsiteX0" fmla="*/ 0 w 241086"/>
                      <a:gd name="connsiteY0" fmla="*/ 185063 h 252393"/>
                      <a:gd name="connsiteX1" fmla="*/ 178849 w 241086"/>
                      <a:gd name="connsiteY1" fmla="*/ 0 h 252393"/>
                      <a:gd name="connsiteX2" fmla="*/ 241087 w 241086"/>
                      <a:gd name="connsiteY2" fmla="*/ 101056 h 252393"/>
                      <a:gd name="connsiteX3" fmla="*/ 71756 w 241086"/>
                      <a:gd name="connsiteY3" fmla="*/ 252394 h 252393"/>
                      <a:gd name="connsiteX4" fmla="*/ 0 w 241086"/>
                      <a:gd name="connsiteY4" fmla="*/ 185082 h 2523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086" h="252393">
                        <a:moveTo>
                          <a:pt x="0" y="185063"/>
                        </a:moveTo>
                        <a:lnTo>
                          <a:pt x="178849" y="0"/>
                        </a:lnTo>
                        <a:lnTo>
                          <a:pt x="241087" y="101056"/>
                        </a:lnTo>
                        <a:cubicBezTo>
                          <a:pt x="201542" y="142234"/>
                          <a:pt x="71756" y="252394"/>
                          <a:pt x="71756" y="252394"/>
                        </a:cubicBezTo>
                        <a:lnTo>
                          <a:pt x="0" y="185082"/>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53" name="Freeform: Shape 1052">
                    <a:extLst>
                      <a:ext uri="{FF2B5EF4-FFF2-40B4-BE49-F238E27FC236}">
                        <a16:creationId xmlns:a16="http://schemas.microsoft.com/office/drawing/2014/main" id="{087BD42E-E54E-4A88-A9B5-61574EC4635F}"/>
                      </a:ext>
                    </a:extLst>
                  </p:cNvPr>
                  <p:cNvSpPr/>
                  <p:nvPr/>
                </p:nvSpPr>
                <p:spPr>
                  <a:xfrm>
                    <a:off x="2213693" y="11246837"/>
                    <a:ext cx="70300" cy="30263"/>
                  </a:xfrm>
                  <a:custGeom>
                    <a:avLst/>
                    <a:gdLst>
                      <a:gd name="connsiteX0" fmla="*/ 70301 w 70300"/>
                      <a:gd name="connsiteY0" fmla="*/ 0 h 30263"/>
                      <a:gd name="connsiteX1" fmla="*/ 46467 w 70300"/>
                      <a:gd name="connsiteY1" fmla="*/ 0 h 30263"/>
                      <a:gd name="connsiteX2" fmla="*/ 21493 w 70300"/>
                      <a:gd name="connsiteY2" fmla="*/ 16852 h 30263"/>
                      <a:gd name="connsiteX3" fmla="*/ 629 w 70300"/>
                      <a:gd name="connsiteY3" fmla="*/ 20254 h 30263"/>
                      <a:gd name="connsiteX4" fmla="*/ 0 w 70300"/>
                      <a:gd name="connsiteY4" fmla="*/ 30264 h 30263"/>
                      <a:gd name="connsiteX5" fmla="*/ 68413 w 70300"/>
                      <a:gd name="connsiteY5" fmla="*/ 30264 h 30263"/>
                      <a:gd name="connsiteX6" fmla="*/ 70301 w 70300"/>
                      <a:gd name="connsiteY6" fmla="*/ 0 h 3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300" h="30263">
                        <a:moveTo>
                          <a:pt x="70301" y="0"/>
                        </a:moveTo>
                        <a:lnTo>
                          <a:pt x="46467" y="0"/>
                        </a:lnTo>
                        <a:lnTo>
                          <a:pt x="21493" y="16852"/>
                        </a:lnTo>
                        <a:lnTo>
                          <a:pt x="629" y="20254"/>
                        </a:lnTo>
                        <a:lnTo>
                          <a:pt x="0" y="30264"/>
                        </a:lnTo>
                        <a:lnTo>
                          <a:pt x="68413" y="30264"/>
                        </a:lnTo>
                        <a:lnTo>
                          <a:pt x="70301"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054" name="Graphic 10">
                    <a:extLst>
                      <a:ext uri="{FF2B5EF4-FFF2-40B4-BE49-F238E27FC236}">
                        <a16:creationId xmlns:a16="http://schemas.microsoft.com/office/drawing/2014/main" id="{9D3795D2-CEF8-40A8-AA3F-9FF10A9A12CA}"/>
                      </a:ext>
                    </a:extLst>
                  </p:cNvPr>
                  <p:cNvGrpSpPr/>
                  <p:nvPr/>
                </p:nvGrpSpPr>
                <p:grpSpPr>
                  <a:xfrm>
                    <a:off x="2378934" y="10476047"/>
                    <a:ext cx="76586" cy="134878"/>
                    <a:chOff x="2378934" y="10476047"/>
                    <a:chExt cx="76586" cy="134878"/>
                  </a:xfrm>
                </p:grpSpPr>
                <p:sp>
                  <p:nvSpPr>
                    <p:cNvPr id="1064" name="Freeform: Shape 1063">
                      <a:extLst>
                        <a:ext uri="{FF2B5EF4-FFF2-40B4-BE49-F238E27FC236}">
                          <a16:creationId xmlns:a16="http://schemas.microsoft.com/office/drawing/2014/main" id="{D4C0BA5A-D48D-482B-93C2-2056F4756151}"/>
                        </a:ext>
                      </a:extLst>
                    </p:cNvPr>
                    <p:cNvSpPr/>
                    <p:nvPr/>
                  </p:nvSpPr>
                  <p:spPr>
                    <a:xfrm>
                      <a:off x="2400585" y="10544577"/>
                      <a:ext cx="36143" cy="66348"/>
                    </a:xfrm>
                    <a:custGeom>
                      <a:avLst/>
                      <a:gdLst>
                        <a:gd name="connsiteX0" fmla="*/ 5722 w 36143"/>
                        <a:gd name="connsiteY0" fmla="*/ 14060 h 66348"/>
                        <a:gd name="connsiteX1" fmla="*/ 0 w 36143"/>
                        <a:gd name="connsiteY1" fmla="*/ 59643 h 66348"/>
                        <a:gd name="connsiteX2" fmla="*/ 36143 w 36143"/>
                        <a:gd name="connsiteY2" fmla="*/ 66348 h 66348"/>
                        <a:gd name="connsiteX3" fmla="*/ 34806 w 36143"/>
                        <a:gd name="connsiteY3" fmla="*/ 0 h 66348"/>
                        <a:gd name="connsiteX4" fmla="*/ 5722 w 36143"/>
                        <a:gd name="connsiteY4" fmla="*/ 14060 h 663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43" h="66348">
                          <a:moveTo>
                            <a:pt x="5722" y="14060"/>
                          </a:moveTo>
                          <a:lnTo>
                            <a:pt x="0" y="59643"/>
                          </a:lnTo>
                          <a:lnTo>
                            <a:pt x="36143" y="66348"/>
                          </a:lnTo>
                          <a:lnTo>
                            <a:pt x="34806" y="0"/>
                          </a:lnTo>
                          <a:lnTo>
                            <a:pt x="5722" y="14060"/>
                          </a:lnTo>
                          <a:close/>
                        </a:path>
                      </a:pathLst>
                    </a:custGeom>
                    <a:solidFill>
                      <a:srgbClr val="F4ACC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65" name="Freeform: Shape 1064">
                      <a:extLst>
                        <a:ext uri="{FF2B5EF4-FFF2-40B4-BE49-F238E27FC236}">
                          <a16:creationId xmlns:a16="http://schemas.microsoft.com/office/drawing/2014/main" id="{FD914ADE-D788-4B3B-B9D4-2DFC296CFFC7}"/>
                        </a:ext>
                      </a:extLst>
                    </p:cNvPr>
                    <p:cNvSpPr/>
                    <p:nvPr/>
                  </p:nvSpPr>
                  <p:spPr>
                    <a:xfrm>
                      <a:off x="2389116" y="10485486"/>
                      <a:ext cx="58132" cy="80425"/>
                    </a:xfrm>
                    <a:custGeom>
                      <a:avLst/>
                      <a:gdLst>
                        <a:gd name="connsiteX0" fmla="*/ 4 w 58132"/>
                        <a:gd name="connsiteY0" fmla="*/ 68924 h 80425"/>
                        <a:gd name="connsiteX1" fmla="*/ 22560 w 58132"/>
                        <a:gd name="connsiteY1" fmla="*/ 78402 h 80425"/>
                        <a:gd name="connsiteX2" fmla="*/ 46609 w 58132"/>
                        <a:gd name="connsiteY2" fmla="*/ 63143 h 80425"/>
                        <a:gd name="connsiteX3" fmla="*/ 58133 w 58132"/>
                        <a:gd name="connsiteY3" fmla="*/ 29064 h 80425"/>
                        <a:gd name="connsiteX4" fmla="*/ 44879 w 58132"/>
                        <a:gd name="connsiteY4" fmla="*/ 0 h 80425"/>
                        <a:gd name="connsiteX5" fmla="*/ 535 w 58132"/>
                        <a:gd name="connsiteY5" fmla="*/ 2517 h 80425"/>
                        <a:gd name="connsiteX6" fmla="*/ 4 w 58132"/>
                        <a:gd name="connsiteY6" fmla="*/ 68944 h 8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32" h="80425">
                          <a:moveTo>
                            <a:pt x="4" y="68924"/>
                          </a:moveTo>
                          <a:cubicBezTo>
                            <a:pt x="-212" y="76908"/>
                            <a:pt x="7615" y="84046"/>
                            <a:pt x="22560" y="78402"/>
                          </a:cubicBezTo>
                          <a:lnTo>
                            <a:pt x="46609" y="63143"/>
                          </a:lnTo>
                          <a:lnTo>
                            <a:pt x="58133" y="29064"/>
                          </a:lnTo>
                          <a:lnTo>
                            <a:pt x="44879" y="0"/>
                          </a:lnTo>
                          <a:lnTo>
                            <a:pt x="535" y="2517"/>
                          </a:lnTo>
                          <a:lnTo>
                            <a:pt x="4" y="68944"/>
                          </a:lnTo>
                          <a:close/>
                        </a:path>
                      </a:pathLst>
                    </a:custGeom>
                    <a:solidFill>
                      <a:srgbClr val="F4ACC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66" name="Freeform: Shape 1065">
                      <a:extLst>
                        <a:ext uri="{FF2B5EF4-FFF2-40B4-BE49-F238E27FC236}">
                          <a16:creationId xmlns:a16="http://schemas.microsoft.com/office/drawing/2014/main" id="{4EDFCB57-CC88-427A-B409-B87CA401567B}"/>
                        </a:ext>
                      </a:extLst>
                    </p:cNvPr>
                    <p:cNvSpPr/>
                    <p:nvPr/>
                  </p:nvSpPr>
                  <p:spPr>
                    <a:xfrm>
                      <a:off x="2378934" y="10476047"/>
                      <a:ext cx="76586" cy="82335"/>
                    </a:xfrm>
                    <a:custGeom>
                      <a:avLst/>
                      <a:gdLst>
                        <a:gd name="connsiteX0" fmla="*/ 31935 w 76586"/>
                        <a:gd name="connsiteY0" fmla="*/ 31149 h 82335"/>
                        <a:gd name="connsiteX1" fmla="*/ 8613 w 76586"/>
                        <a:gd name="connsiteY1" fmla="*/ 24817 h 82335"/>
                        <a:gd name="connsiteX2" fmla="*/ 0 w 76586"/>
                        <a:gd name="connsiteY2" fmla="*/ 0 h 82335"/>
                        <a:gd name="connsiteX3" fmla="*/ 11032 w 76586"/>
                        <a:gd name="connsiteY3" fmla="*/ 2183 h 82335"/>
                        <a:gd name="connsiteX4" fmla="*/ 53782 w 76586"/>
                        <a:gd name="connsiteY4" fmla="*/ 2379 h 82335"/>
                        <a:gd name="connsiteX5" fmla="*/ 74646 w 76586"/>
                        <a:gd name="connsiteY5" fmla="*/ 37520 h 82335"/>
                        <a:gd name="connsiteX6" fmla="*/ 66525 w 76586"/>
                        <a:gd name="connsiteY6" fmla="*/ 63084 h 82335"/>
                        <a:gd name="connsiteX7" fmla="*/ 57047 w 76586"/>
                        <a:gd name="connsiteY7" fmla="*/ 76062 h 82335"/>
                        <a:gd name="connsiteX8" fmla="*/ 41433 w 76586"/>
                        <a:gd name="connsiteY8" fmla="*/ 82335 h 82335"/>
                        <a:gd name="connsiteX9" fmla="*/ 31915 w 76586"/>
                        <a:gd name="connsiteY9" fmla="*/ 31168 h 82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586" h="82335">
                          <a:moveTo>
                            <a:pt x="31935" y="31149"/>
                          </a:moveTo>
                          <a:lnTo>
                            <a:pt x="8613" y="24817"/>
                          </a:lnTo>
                          <a:lnTo>
                            <a:pt x="0" y="0"/>
                          </a:lnTo>
                          <a:lnTo>
                            <a:pt x="11032" y="2183"/>
                          </a:lnTo>
                          <a:lnTo>
                            <a:pt x="53782" y="2379"/>
                          </a:lnTo>
                          <a:cubicBezTo>
                            <a:pt x="72818" y="2261"/>
                            <a:pt x="80546" y="16440"/>
                            <a:pt x="74646" y="37520"/>
                          </a:cubicBezTo>
                          <a:lnTo>
                            <a:pt x="66525" y="63084"/>
                          </a:lnTo>
                          <a:cubicBezTo>
                            <a:pt x="64342" y="69966"/>
                            <a:pt x="63870" y="73703"/>
                            <a:pt x="57047" y="76062"/>
                          </a:cubicBezTo>
                          <a:lnTo>
                            <a:pt x="41433" y="82335"/>
                          </a:lnTo>
                          <a:cubicBezTo>
                            <a:pt x="41433" y="82335"/>
                            <a:pt x="31837" y="50066"/>
                            <a:pt x="31915" y="31168"/>
                          </a:cubicBezTo>
                          <a:close/>
                        </a:path>
                      </a:pathLst>
                    </a:custGeom>
                    <a:solidFill>
                      <a:srgbClr val="37384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055" name="Freeform: Shape 1054">
                    <a:extLst>
                      <a:ext uri="{FF2B5EF4-FFF2-40B4-BE49-F238E27FC236}">
                        <a16:creationId xmlns:a16="http://schemas.microsoft.com/office/drawing/2014/main" id="{50CE4247-3622-45A5-A433-B76872A49C75}"/>
                      </a:ext>
                    </a:extLst>
                  </p:cNvPr>
                  <p:cNvSpPr/>
                  <p:nvPr/>
                </p:nvSpPr>
                <p:spPr>
                  <a:xfrm>
                    <a:off x="2315870" y="10574754"/>
                    <a:ext cx="206810" cy="397625"/>
                  </a:xfrm>
                  <a:custGeom>
                    <a:avLst/>
                    <a:gdLst>
                      <a:gd name="connsiteX0" fmla="*/ 39132 w 206810"/>
                      <a:gd name="connsiteY0" fmla="*/ 25474 h 397625"/>
                      <a:gd name="connsiteX1" fmla="*/ 186439 w 206810"/>
                      <a:gd name="connsiteY1" fmla="*/ 20303 h 397625"/>
                      <a:gd name="connsiteX2" fmla="*/ 204137 w 206810"/>
                      <a:gd name="connsiteY2" fmla="*/ 397625 h 397625"/>
                      <a:gd name="connsiteX3" fmla="*/ 101843 w 206810"/>
                      <a:gd name="connsiteY3" fmla="*/ 397625 h 397625"/>
                      <a:gd name="connsiteX4" fmla="*/ 3323 w 206810"/>
                      <a:gd name="connsiteY4" fmla="*/ 335073 h 397625"/>
                      <a:gd name="connsiteX5" fmla="*/ 0 w 206810"/>
                      <a:gd name="connsiteY5" fmla="*/ 328013 h 397625"/>
                      <a:gd name="connsiteX6" fmla="*/ 39132 w 206810"/>
                      <a:gd name="connsiteY6" fmla="*/ 25474 h 39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810" h="397625">
                        <a:moveTo>
                          <a:pt x="39132" y="25474"/>
                        </a:moveTo>
                        <a:cubicBezTo>
                          <a:pt x="84400" y="-6166"/>
                          <a:pt x="130986" y="-8840"/>
                          <a:pt x="186439" y="20303"/>
                        </a:cubicBezTo>
                        <a:cubicBezTo>
                          <a:pt x="216959" y="49249"/>
                          <a:pt x="204137" y="397625"/>
                          <a:pt x="204137" y="397625"/>
                        </a:cubicBezTo>
                        <a:lnTo>
                          <a:pt x="101843" y="397625"/>
                        </a:lnTo>
                        <a:cubicBezTo>
                          <a:pt x="59662" y="397625"/>
                          <a:pt x="21277" y="373261"/>
                          <a:pt x="3323" y="335073"/>
                        </a:cubicBezTo>
                        <a:lnTo>
                          <a:pt x="0" y="328013"/>
                        </a:lnTo>
                        <a:cubicBezTo>
                          <a:pt x="0" y="328013"/>
                          <a:pt x="23853" y="36172"/>
                          <a:pt x="39132" y="25474"/>
                        </a:cubicBezTo>
                        <a:close/>
                      </a:path>
                    </a:pathLst>
                  </a:custGeom>
                  <a:solidFill>
                    <a:srgbClr val="E0C48B"/>
                  </a:solidFill>
                  <a:ln w="878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56" name="Freeform: Shape 1055">
                    <a:extLst>
                      <a:ext uri="{FF2B5EF4-FFF2-40B4-BE49-F238E27FC236}">
                        <a16:creationId xmlns:a16="http://schemas.microsoft.com/office/drawing/2014/main" id="{B795749A-553C-4246-8435-BD824E53DFD3}"/>
                      </a:ext>
                    </a:extLst>
                  </p:cNvPr>
                  <p:cNvSpPr/>
                  <p:nvPr/>
                </p:nvSpPr>
                <p:spPr>
                  <a:xfrm>
                    <a:off x="2305762" y="10598698"/>
                    <a:ext cx="95740" cy="171884"/>
                  </a:xfrm>
                  <a:custGeom>
                    <a:avLst/>
                    <a:gdLst>
                      <a:gd name="connsiteX0" fmla="*/ 47136 w 95740"/>
                      <a:gd name="connsiteY0" fmla="*/ 4401 h 171884"/>
                      <a:gd name="connsiteX1" fmla="*/ 94291 w 95740"/>
                      <a:gd name="connsiteY1" fmla="*/ 52068 h 171884"/>
                      <a:gd name="connsiteX2" fmla="*/ 39388 w 95740"/>
                      <a:gd name="connsiteY2" fmla="*/ 168679 h 171884"/>
                      <a:gd name="connsiteX3" fmla="*/ 25210 w 95740"/>
                      <a:gd name="connsiteY3" fmla="*/ 171884 h 171884"/>
                      <a:gd name="connsiteX4" fmla="*/ 0 w 95740"/>
                      <a:gd name="connsiteY4" fmla="*/ 158571 h 171884"/>
                      <a:gd name="connsiteX5" fmla="*/ 47136 w 95740"/>
                      <a:gd name="connsiteY5" fmla="*/ 4421 h 17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740" h="171884">
                        <a:moveTo>
                          <a:pt x="47136" y="4401"/>
                        </a:moveTo>
                        <a:cubicBezTo>
                          <a:pt x="80762" y="-12353"/>
                          <a:pt x="101567" y="22021"/>
                          <a:pt x="94291" y="52068"/>
                        </a:cubicBezTo>
                        <a:cubicBezTo>
                          <a:pt x="94291" y="52068"/>
                          <a:pt x="54058" y="143764"/>
                          <a:pt x="39388" y="168679"/>
                        </a:cubicBezTo>
                        <a:lnTo>
                          <a:pt x="25210" y="171884"/>
                        </a:lnTo>
                        <a:lnTo>
                          <a:pt x="0" y="158571"/>
                        </a:lnTo>
                        <a:cubicBezTo>
                          <a:pt x="6214" y="140696"/>
                          <a:pt x="35003" y="18658"/>
                          <a:pt x="47136" y="4421"/>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57" name="Freeform: Shape 1056">
                    <a:extLst>
                      <a:ext uri="{FF2B5EF4-FFF2-40B4-BE49-F238E27FC236}">
                        <a16:creationId xmlns:a16="http://schemas.microsoft.com/office/drawing/2014/main" id="{BFCF340B-67C1-4E51-87A3-5A2C20DB2B50}"/>
                      </a:ext>
                    </a:extLst>
                  </p:cNvPr>
                  <p:cNvSpPr/>
                  <p:nvPr/>
                </p:nvSpPr>
                <p:spPr>
                  <a:xfrm>
                    <a:off x="2171493" y="10844953"/>
                    <a:ext cx="62474" cy="23498"/>
                  </a:xfrm>
                  <a:custGeom>
                    <a:avLst/>
                    <a:gdLst>
                      <a:gd name="connsiteX0" fmla="*/ 16577 w 62474"/>
                      <a:gd name="connsiteY0" fmla="*/ 10285 h 23498"/>
                      <a:gd name="connsiteX1" fmla="*/ 28101 w 62474"/>
                      <a:gd name="connsiteY1" fmla="*/ 6607 h 23498"/>
                      <a:gd name="connsiteX2" fmla="*/ 10756 w 62474"/>
                      <a:gd name="connsiteY2" fmla="*/ 6391 h 23498"/>
                      <a:gd name="connsiteX3" fmla="*/ 9341 w 62474"/>
                      <a:gd name="connsiteY3" fmla="*/ 3107 h 23498"/>
                      <a:gd name="connsiteX4" fmla="*/ 35357 w 62474"/>
                      <a:gd name="connsiteY4" fmla="*/ 0 h 23498"/>
                      <a:gd name="connsiteX5" fmla="*/ 62474 w 62474"/>
                      <a:gd name="connsiteY5" fmla="*/ 6745 h 23498"/>
                      <a:gd name="connsiteX6" fmla="*/ 55572 w 62474"/>
                      <a:gd name="connsiteY6" fmla="*/ 22948 h 23498"/>
                      <a:gd name="connsiteX7" fmla="*/ 35416 w 62474"/>
                      <a:gd name="connsiteY7" fmla="*/ 23499 h 23498"/>
                      <a:gd name="connsiteX8" fmla="*/ 15476 w 62474"/>
                      <a:gd name="connsiteY8" fmla="*/ 19841 h 23498"/>
                      <a:gd name="connsiteX9" fmla="*/ 0 w 62474"/>
                      <a:gd name="connsiteY9" fmla="*/ 9714 h 23498"/>
                      <a:gd name="connsiteX10" fmla="*/ 1219 w 62474"/>
                      <a:gd name="connsiteY10" fmla="*/ 7217 h 23498"/>
                      <a:gd name="connsiteX11" fmla="*/ 16577 w 62474"/>
                      <a:gd name="connsiteY11" fmla="*/ 10285 h 2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74" h="23498">
                        <a:moveTo>
                          <a:pt x="16577" y="10285"/>
                        </a:moveTo>
                        <a:lnTo>
                          <a:pt x="28101" y="6607"/>
                        </a:lnTo>
                        <a:lnTo>
                          <a:pt x="10756" y="6391"/>
                        </a:lnTo>
                        <a:lnTo>
                          <a:pt x="9341" y="3107"/>
                        </a:lnTo>
                        <a:lnTo>
                          <a:pt x="35357" y="0"/>
                        </a:lnTo>
                        <a:lnTo>
                          <a:pt x="62474" y="6745"/>
                        </a:lnTo>
                        <a:lnTo>
                          <a:pt x="55572" y="22948"/>
                        </a:lnTo>
                        <a:lnTo>
                          <a:pt x="35416" y="23499"/>
                        </a:lnTo>
                        <a:lnTo>
                          <a:pt x="15476" y="19841"/>
                        </a:lnTo>
                        <a:lnTo>
                          <a:pt x="0" y="9714"/>
                        </a:lnTo>
                        <a:lnTo>
                          <a:pt x="1219" y="7217"/>
                        </a:lnTo>
                        <a:lnTo>
                          <a:pt x="16577" y="10285"/>
                        </a:lnTo>
                        <a:close/>
                      </a:path>
                    </a:pathLst>
                  </a:custGeom>
                  <a:solidFill>
                    <a:srgbClr val="F4ACC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58" name="Freeform: Shape 1057">
                    <a:extLst>
                      <a:ext uri="{FF2B5EF4-FFF2-40B4-BE49-F238E27FC236}">
                        <a16:creationId xmlns:a16="http://schemas.microsoft.com/office/drawing/2014/main" id="{05AD6A41-7A11-4F29-9CCB-AF37697F0FD7}"/>
                      </a:ext>
                    </a:extLst>
                  </p:cNvPr>
                  <p:cNvSpPr/>
                  <p:nvPr/>
                </p:nvSpPr>
                <p:spPr>
                  <a:xfrm>
                    <a:off x="2221795" y="10749384"/>
                    <a:ext cx="124437" cy="118517"/>
                  </a:xfrm>
                  <a:custGeom>
                    <a:avLst/>
                    <a:gdLst>
                      <a:gd name="connsiteX0" fmla="*/ 124437 w 124437"/>
                      <a:gd name="connsiteY0" fmla="*/ 16754 h 118517"/>
                      <a:gd name="connsiteX1" fmla="*/ 108725 w 124437"/>
                      <a:gd name="connsiteY1" fmla="*/ 0 h 118517"/>
                      <a:gd name="connsiteX2" fmla="*/ 86445 w 124437"/>
                      <a:gd name="connsiteY2" fmla="*/ 236 h 118517"/>
                      <a:gd name="connsiteX3" fmla="*/ 0 w 124437"/>
                      <a:gd name="connsiteY3" fmla="*/ 99286 h 118517"/>
                      <a:gd name="connsiteX4" fmla="*/ 5270 w 124437"/>
                      <a:gd name="connsiteY4" fmla="*/ 118518 h 118517"/>
                      <a:gd name="connsiteX5" fmla="*/ 124417 w 124437"/>
                      <a:gd name="connsiteY5" fmla="*/ 16754 h 11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37" h="118517">
                        <a:moveTo>
                          <a:pt x="124437" y="16754"/>
                        </a:moveTo>
                        <a:lnTo>
                          <a:pt x="108725" y="0"/>
                        </a:lnTo>
                        <a:lnTo>
                          <a:pt x="86445" y="236"/>
                        </a:lnTo>
                        <a:cubicBezTo>
                          <a:pt x="58836" y="28533"/>
                          <a:pt x="31345" y="64735"/>
                          <a:pt x="0" y="99286"/>
                        </a:cubicBezTo>
                        <a:lnTo>
                          <a:pt x="5270" y="118518"/>
                        </a:lnTo>
                        <a:cubicBezTo>
                          <a:pt x="49240" y="86288"/>
                          <a:pt x="89277" y="52484"/>
                          <a:pt x="124417" y="16754"/>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59" name="Freeform: Shape 1058">
                    <a:extLst>
                      <a:ext uri="{FF2B5EF4-FFF2-40B4-BE49-F238E27FC236}">
                        <a16:creationId xmlns:a16="http://schemas.microsoft.com/office/drawing/2014/main" id="{448E266A-DFDE-4BD1-99E2-23DCC87AE9B2}"/>
                      </a:ext>
                    </a:extLst>
                  </p:cNvPr>
                  <p:cNvSpPr/>
                  <p:nvPr/>
                </p:nvSpPr>
                <p:spPr>
                  <a:xfrm>
                    <a:off x="2409257" y="11347971"/>
                    <a:ext cx="73387" cy="30263"/>
                  </a:xfrm>
                  <a:custGeom>
                    <a:avLst/>
                    <a:gdLst>
                      <a:gd name="connsiteX0" fmla="*/ 70301 w 73387"/>
                      <a:gd name="connsiteY0" fmla="*/ 0 h 30263"/>
                      <a:gd name="connsiteX1" fmla="*/ 46467 w 73387"/>
                      <a:gd name="connsiteY1" fmla="*/ 0 h 30263"/>
                      <a:gd name="connsiteX2" fmla="*/ 21493 w 73387"/>
                      <a:gd name="connsiteY2" fmla="*/ 16853 h 30263"/>
                      <a:gd name="connsiteX3" fmla="*/ 629 w 73387"/>
                      <a:gd name="connsiteY3" fmla="*/ 20255 h 30263"/>
                      <a:gd name="connsiteX4" fmla="*/ 0 w 73387"/>
                      <a:gd name="connsiteY4" fmla="*/ 30264 h 30263"/>
                      <a:gd name="connsiteX5" fmla="*/ 73388 w 73387"/>
                      <a:gd name="connsiteY5" fmla="*/ 30264 h 30263"/>
                      <a:gd name="connsiteX6" fmla="*/ 70301 w 73387"/>
                      <a:gd name="connsiteY6" fmla="*/ 0 h 3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387" h="30263">
                        <a:moveTo>
                          <a:pt x="70301" y="0"/>
                        </a:moveTo>
                        <a:lnTo>
                          <a:pt x="46467" y="0"/>
                        </a:lnTo>
                        <a:lnTo>
                          <a:pt x="21493" y="16853"/>
                        </a:lnTo>
                        <a:lnTo>
                          <a:pt x="629" y="20255"/>
                        </a:lnTo>
                        <a:lnTo>
                          <a:pt x="0" y="30264"/>
                        </a:lnTo>
                        <a:lnTo>
                          <a:pt x="73388" y="30264"/>
                        </a:lnTo>
                        <a:lnTo>
                          <a:pt x="70301"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060" name="Graphic 10">
                    <a:extLst>
                      <a:ext uri="{FF2B5EF4-FFF2-40B4-BE49-F238E27FC236}">
                        <a16:creationId xmlns:a16="http://schemas.microsoft.com/office/drawing/2014/main" id="{58505997-F7CF-4B8B-A18D-2B6B9BEE0EDC}"/>
                      </a:ext>
                    </a:extLst>
                  </p:cNvPr>
                  <p:cNvGrpSpPr/>
                  <p:nvPr/>
                </p:nvGrpSpPr>
                <p:grpSpPr>
                  <a:xfrm>
                    <a:off x="2367923" y="10448629"/>
                    <a:ext cx="100483" cy="54809"/>
                    <a:chOff x="2367923" y="10448629"/>
                    <a:chExt cx="100483" cy="54809"/>
                  </a:xfrm>
                </p:grpSpPr>
                <p:sp>
                  <p:nvSpPr>
                    <p:cNvPr id="1061" name="Freeform: Shape 1060">
                      <a:extLst>
                        <a:ext uri="{FF2B5EF4-FFF2-40B4-BE49-F238E27FC236}">
                          <a16:creationId xmlns:a16="http://schemas.microsoft.com/office/drawing/2014/main" id="{6007FCB5-3200-4AEF-B863-52A892EA5E35}"/>
                        </a:ext>
                      </a:extLst>
                    </p:cNvPr>
                    <p:cNvSpPr/>
                    <p:nvPr/>
                  </p:nvSpPr>
                  <p:spPr>
                    <a:xfrm>
                      <a:off x="2375906" y="10448629"/>
                      <a:ext cx="90001" cy="46905"/>
                    </a:xfrm>
                    <a:custGeom>
                      <a:avLst/>
                      <a:gdLst>
                        <a:gd name="connsiteX0" fmla="*/ 89434 w 90001"/>
                        <a:gd name="connsiteY0" fmla="*/ 46905 h 46905"/>
                        <a:gd name="connsiteX1" fmla="*/ 56890 w 90001"/>
                        <a:gd name="connsiteY1" fmla="*/ 1048 h 46905"/>
                        <a:gd name="connsiteX2" fmla="*/ 0 w 90001"/>
                        <a:gd name="connsiteY2" fmla="*/ 31724 h 46905"/>
                        <a:gd name="connsiteX3" fmla="*/ 89434 w 90001"/>
                        <a:gd name="connsiteY3" fmla="*/ 46905 h 46905"/>
                      </a:gdLst>
                      <a:ahLst/>
                      <a:cxnLst>
                        <a:cxn ang="0">
                          <a:pos x="connsiteX0" y="connsiteY0"/>
                        </a:cxn>
                        <a:cxn ang="0">
                          <a:pos x="connsiteX1" y="connsiteY1"/>
                        </a:cxn>
                        <a:cxn ang="0">
                          <a:pos x="connsiteX2" y="connsiteY2"/>
                        </a:cxn>
                        <a:cxn ang="0">
                          <a:pos x="connsiteX3" y="connsiteY3"/>
                        </a:cxn>
                      </a:cxnLst>
                      <a:rect l="l" t="t" r="r" b="b"/>
                      <a:pathLst>
                        <a:path w="90001" h="46905">
                          <a:moveTo>
                            <a:pt x="89434" y="46905"/>
                          </a:moveTo>
                          <a:cubicBezTo>
                            <a:pt x="93111" y="25255"/>
                            <a:pt x="78540" y="4725"/>
                            <a:pt x="56890" y="1048"/>
                          </a:cubicBezTo>
                          <a:cubicBezTo>
                            <a:pt x="26783" y="-4065"/>
                            <a:pt x="3677" y="10074"/>
                            <a:pt x="0" y="31724"/>
                          </a:cubicBezTo>
                          <a:lnTo>
                            <a:pt x="89434" y="46905"/>
                          </a:ln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62" name="Freeform: Shape 1061">
                      <a:extLst>
                        <a:ext uri="{FF2B5EF4-FFF2-40B4-BE49-F238E27FC236}">
                          <a16:creationId xmlns:a16="http://schemas.microsoft.com/office/drawing/2014/main" id="{67A522DC-9524-4B65-B03C-E8B4F538C708}"/>
                        </a:ext>
                      </a:extLst>
                    </p:cNvPr>
                    <p:cNvSpPr/>
                    <p:nvPr/>
                  </p:nvSpPr>
                  <p:spPr>
                    <a:xfrm>
                      <a:off x="2377400" y="10453390"/>
                      <a:ext cx="40430" cy="33531"/>
                    </a:xfrm>
                    <a:custGeom>
                      <a:avLst/>
                      <a:gdLst>
                        <a:gd name="connsiteX0" fmla="*/ 37205 w 40430"/>
                        <a:gd name="connsiteY0" fmla="*/ 33532 h 33531"/>
                        <a:gd name="connsiteX1" fmla="*/ 31640 w 40430"/>
                        <a:gd name="connsiteY1" fmla="*/ 239 h 33531"/>
                        <a:gd name="connsiteX2" fmla="*/ 0 w 40430"/>
                        <a:gd name="connsiteY2" fmla="*/ 27219 h 33531"/>
                        <a:gd name="connsiteX3" fmla="*/ 37205 w 40430"/>
                        <a:gd name="connsiteY3" fmla="*/ 33532 h 33531"/>
                      </a:gdLst>
                      <a:ahLst/>
                      <a:cxnLst>
                        <a:cxn ang="0">
                          <a:pos x="connsiteX0" y="connsiteY0"/>
                        </a:cxn>
                        <a:cxn ang="0">
                          <a:pos x="connsiteX1" y="connsiteY1"/>
                        </a:cxn>
                        <a:cxn ang="0">
                          <a:pos x="connsiteX2" y="connsiteY2"/>
                        </a:cxn>
                        <a:cxn ang="0">
                          <a:pos x="connsiteX3" y="connsiteY3"/>
                        </a:cxn>
                      </a:cxnLst>
                      <a:rect l="l" t="t" r="r" b="b"/>
                      <a:pathLst>
                        <a:path w="40430" h="33531">
                          <a:moveTo>
                            <a:pt x="37205" y="33532"/>
                          </a:moveTo>
                          <a:cubicBezTo>
                            <a:pt x="43144" y="16679"/>
                            <a:pt x="40647" y="1754"/>
                            <a:pt x="31640" y="239"/>
                          </a:cubicBezTo>
                          <a:cubicBezTo>
                            <a:pt x="19114" y="-1884"/>
                            <a:pt x="5939" y="10367"/>
                            <a:pt x="0" y="27219"/>
                          </a:cubicBezTo>
                          <a:lnTo>
                            <a:pt x="37205" y="33532"/>
                          </a:ln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63" name="Freeform: Shape 1062">
                      <a:extLst>
                        <a:ext uri="{FF2B5EF4-FFF2-40B4-BE49-F238E27FC236}">
                          <a16:creationId xmlns:a16="http://schemas.microsoft.com/office/drawing/2014/main" id="{08D446D8-F596-4A55-B86C-7613554F0D5F}"/>
                        </a:ext>
                      </a:extLst>
                    </p:cNvPr>
                    <p:cNvSpPr/>
                    <p:nvPr/>
                  </p:nvSpPr>
                  <p:spPr>
                    <a:xfrm>
                      <a:off x="2367923" y="10479725"/>
                      <a:ext cx="100483" cy="23713"/>
                    </a:xfrm>
                    <a:custGeom>
                      <a:avLst/>
                      <a:gdLst>
                        <a:gd name="connsiteX0" fmla="*/ 3342 w 100483"/>
                        <a:gd name="connsiteY0" fmla="*/ 7963 h 23713"/>
                        <a:gd name="connsiteX1" fmla="*/ 95805 w 100483"/>
                        <a:gd name="connsiteY1" fmla="*/ 23655 h 23713"/>
                        <a:gd name="connsiteX2" fmla="*/ 100426 w 100483"/>
                        <a:gd name="connsiteY2" fmla="*/ 20371 h 23713"/>
                        <a:gd name="connsiteX3" fmla="*/ 97142 w 100483"/>
                        <a:gd name="connsiteY3" fmla="*/ 15750 h 23713"/>
                        <a:gd name="connsiteX4" fmla="*/ 4679 w 100483"/>
                        <a:gd name="connsiteY4" fmla="*/ 58 h 23713"/>
                        <a:gd name="connsiteX5" fmla="*/ 58 w 100483"/>
                        <a:gd name="connsiteY5" fmla="*/ 3342 h 23713"/>
                        <a:gd name="connsiteX6" fmla="*/ 3342 w 100483"/>
                        <a:gd name="connsiteY6" fmla="*/ 7963 h 23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83" h="23713">
                          <a:moveTo>
                            <a:pt x="3342" y="7963"/>
                          </a:moveTo>
                          <a:lnTo>
                            <a:pt x="95805" y="23655"/>
                          </a:lnTo>
                          <a:cubicBezTo>
                            <a:pt x="97987" y="24029"/>
                            <a:pt x="100052" y="22554"/>
                            <a:pt x="100426" y="20371"/>
                          </a:cubicBezTo>
                          <a:cubicBezTo>
                            <a:pt x="100799" y="18189"/>
                            <a:pt x="99325" y="16124"/>
                            <a:pt x="97142" y="15750"/>
                          </a:cubicBezTo>
                          <a:lnTo>
                            <a:pt x="4679" y="58"/>
                          </a:lnTo>
                          <a:cubicBezTo>
                            <a:pt x="2496" y="-316"/>
                            <a:pt x="432" y="1159"/>
                            <a:pt x="58" y="3342"/>
                          </a:cubicBezTo>
                          <a:cubicBezTo>
                            <a:pt x="-316" y="5525"/>
                            <a:pt x="1159" y="7589"/>
                            <a:pt x="3342" y="7963"/>
                          </a:cubicBez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sp>
              <p:nvSpPr>
                <p:cNvPr id="833" name="Freeform: Shape 832">
                  <a:extLst>
                    <a:ext uri="{FF2B5EF4-FFF2-40B4-BE49-F238E27FC236}">
                      <a16:creationId xmlns:a16="http://schemas.microsoft.com/office/drawing/2014/main" id="{992D15DC-1A9C-46B4-9CA9-17C0BA44ED56}"/>
                    </a:ext>
                  </a:extLst>
                </p:cNvPr>
                <p:cNvSpPr/>
                <p:nvPr/>
              </p:nvSpPr>
              <p:spPr>
                <a:xfrm rot="10800000">
                  <a:off x="2049219" y="11277100"/>
                  <a:ext cx="360057" cy="101134"/>
                </a:xfrm>
                <a:custGeom>
                  <a:avLst/>
                  <a:gdLst>
                    <a:gd name="connsiteX0" fmla="*/ 20 w 360057"/>
                    <a:gd name="connsiteY0" fmla="*/ 0 h 101134"/>
                    <a:gd name="connsiteX1" fmla="*/ 360058 w 360057"/>
                    <a:gd name="connsiteY1" fmla="*/ 0 h 101134"/>
                    <a:gd name="connsiteX2" fmla="*/ 360058 w 360057"/>
                    <a:gd name="connsiteY2" fmla="*/ 45484 h 101134"/>
                    <a:gd name="connsiteX3" fmla="*/ 304407 w 360057"/>
                    <a:gd name="connsiteY3" fmla="*/ 101134 h 101134"/>
                    <a:gd name="connsiteX4" fmla="*/ 55651 w 360057"/>
                    <a:gd name="connsiteY4" fmla="*/ 101134 h 101134"/>
                    <a:gd name="connsiteX5" fmla="*/ 0 w 360057"/>
                    <a:gd name="connsiteY5" fmla="*/ 45484 h 101134"/>
                    <a:gd name="connsiteX6" fmla="*/ 0 w 360057"/>
                    <a:gd name="connsiteY6" fmla="*/ 0 h 101134"/>
                    <a:gd name="connsiteX7" fmla="*/ 0 w 360057"/>
                    <a:gd name="connsiteY7" fmla="*/ 0 h 101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057" h="101134">
                      <a:moveTo>
                        <a:pt x="20" y="0"/>
                      </a:moveTo>
                      <a:lnTo>
                        <a:pt x="360058" y="0"/>
                      </a:lnTo>
                      <a:lnTo>
                        <a:pt x="360058" y="45484"/>
                      </a:lnTo>
                      <a:cubicBezTo>
                        <a:pt x="360058" y="76200"/>
                        <a:pt x="335123" y="101134"/>
                        <a:pt x="304407" y="101134"/>
                      </a:cubicBezTo>
                      <a:lnTo>
                        <a:pt x="55651" y="101134"/>
                      </a:lnTo>
                      <a:cubicBezTo>
                        <a:pt x="24935" y="101134"/>
                        <a:pt x="0" y="76200"/>
                        <a:pt x="0" y="45484"/>
                      </a:cubicBezTo>
                      <a:lnTo>
                        <a:pt x="0" y="0"/>
                      </a:lnTo>
                      <a:lnTo>
                        <a:pt x="0" y="0"/>
                      </a:lnTo>
                      <a:close/>
                    </a:path>
                  </a:pathLst>
                </a:custGeom>
                <a:solidFill>
                  <a:srgbClr val="B3D6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834" name="Graphic 10">
                  <a:extLst>
                    <a:ext uri="{FF2B5EF4-FFF2-40B4-BE49-F238E27FC236}">
                      <a16:creationId xmlns:a16="http://schemas.microsoft.com/office/drawing/2014/main" id="{983A8795-4D8A-4653-8082-5717D1584157}"/>
                    </a:ext>
                  </a:extLst>
                </p:cNvPr>
                <p:cNvGrpSpPr/>
                <p:nvPr/>
              </p:nvGrpSpPr>
              <p:grpSpPr>
                <a:xfrm>
                  <a:off x="5165943" y="10601231"/>
                  <a:ext cx="490260" cy="777003"/>
                  <a:chOff x="5165943" y="10601231"/>
                  <a:chExt cx="490260" cy="777003"/>
                </a:xfrm>
              </p:grpSpPr>
              <p:grpSp>
                <p:nvGrpSpPr>
                  <p:cNvPr id="1015" name="Graphic 10">
                    <a:extLst>
                      <a:ext uri="{FF2B5EF4-FFF2-40B4-BE49-F238E27FC236}">
                        <a16:creationId xmlns:a16="http://schemas.microsoft.com/office/drawing/2014/main" id="{045F8437-0F5E-445B-A9CF-2708973F073C}"/>
                      </a:ext>
                    </a:extLst>
                  </p:cNvPr>
                  <p:cNvGrpSpPr/>
                  <p:nvPr/>
                </p:nvGrpSpPr>
                <p:grpSpPr>
                  <a:xfrm>
                    <a:off x="5341983" y="10802478"/>
                    <a:ext cx="314219" cy="133364"/>
                    <a:chOff x="5341983" y="10802478"/>
                    <a:chExt cx="314219" cy="133364"/>
                  </a:xfrm>
                </p:grpSpPr>
                <p:sp>
                  <p:nvSpPr>
                    <p:cNvPr id="1045" name="Freeform: Shape 1044">
                      <a:extLst>
                        <a:ext uri="{FF2B5EF4-FFF2-40B4-BE49-F238E27FC236}">
                          <a16:creationId xmlns:a16="http://schemas.microsoft.com/office/drawing/2014/main" id="{573DD78F-6D9C-4797-9207-BCBBFC4811AE}"/>
                        </a:ext>
                      </a:extLst>
                    </p:cNvPr>
                    <p:cNvSpPr/>
                    <p:nvPr/>
                  </p:nvSpPr>
                  <p:spPr>
                    <a:xfrm>
                      <a:off x="5341983" y="10802478"/>
                      <a:ext cx="312862" cy="133364"/>
                    </a:xfrm>
                    <a:custGeom>
                      <a:avLst/>
                      <a:gdLst>
                        <a:gd name="connsiteX0" fmla="*/ 153993 w 312862"/>
                        <a:gd name="connsiteY0" fmla="*/ 0 h 133364"/>
                        <a:gd name="connsiteX1" fmla="*/ 147582 w 312862"/>
                        <a:gd name="connsiteY1" fmla="*/ 0 h 133364"/>
                        <a:gd name="connsiteX2" fmla="*/ 113444 w 312862"/>
                        <a:gd name="connsiteY2" fmla="*/ 127170 h 133364"/>
                        <a:gd name="connsiteX3" fmla="*/ 0 w 312862"/>
                        <a:gd name="connsiteY3" fmla="*/ 127170 h 133364"/>
                        <a:gd name="connsiteX4" fmla="*/ 0 w 312862"/>
                        <a:gd name="connsiteY4" fmla="*/ 133365 h 133364"/>
                        <a:gd name="connsiteX5" fmla="*/ 117436 w 312862"/>
                        <a:gd name="connsiteY5" fmla="*/ 133365 h 133364"/>
                        <a:gd name="connsiteX6" fmla="*/ 118203 w 312862"/>
                        <a:gd name="connsiteY6" fmla="*/ 133365 h 133364"/>
                        <a:gd name="connsiteX7" fmla="*/ 276306 w 312862"/>
                        <a:gd name="connsiteY7" fmla="*/ 133365 h 133364"/>
                        <a:gd name="connsiteX8" fmla="*/ 312862 w 312862"/>
                        <a:gd name="connsiteY8" fmla="*/ 0 h 133364"/>
                        <a:gd name="connsiteX9" fmla="*/ 153993 w 312862"/>
                        <a:gd name="connsiteY9" fmla="*/ 0 h 133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862" h="133364">
                          <a:moveTo>
                            <a:pt x="153993" y="0"/>
                          </a:moveTo>
                          <a:lnTo>
                            <a:pt x="147582" y="0"/>
                          </a:lnTo>
                          <a:lnTo>
                            <a:pt x="113444" y="127170"/>
                          </a:lnTo>
                          <a:lnTo>
                            <a:pt x="0" y="127170"/>
                          </a:lnTo>
                          <a:lnTo>
                            <a:pt x="0" y="133365"/>
                          </a:lnTo>
                          <a:lnTo>
                            <a:pt x="117436" y="133365"/>
                          </a:lnTo>
                          <a:lnTo>
                            <a:pt x="118203" y="133365"/>
                          </a:lnTo>
                          <a:lnTo>
                            <a:pt x="276306" y="133365"/>
                          </a:lnTo>
                          <a:lnTo>
                            <a:pt x="312862" y="0"/>
                          </a:lnTo>
                          <a:lnTo>
                            <a:pt x="153993" y="0"/>
                          </a:lnTo>
                          <a:close/>
                        </a:path>
                      </a:pathLst>
                    </a:custGeom>
                    <a:solidFill>
                      <a:srgbClr val="FFFF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46" name="Freeform: Shape 1045">
                      <a:extLst>
                        <a:ext uri="{FF2B5EF4-FFF2-40B4-BE49-F238E27FC236}">
                          <a16:creationId xmlns:a16="http://schemas.microsoft.com/office/drawing/2014/main" id="{340751A8-E322-4A66-AC7C-18CAA0FA99ED}"/>
                        </a:ext>
                      </a:extLst>
                    </p:cNvPr>
                    <p:cNvSpPr/>
                    <p:nvPr/>
                  </p:nvSpPr>
                  <p:spPr>
                    <a:xfrm>
                      <a:off x="5461661" y="10806686"/>
                      <a:ext cx="180697" cy="115981"/>
                    </a:xfrm>
                    <a:custGeom>
                      <a:avLst/>
                      <a:gdLst>
                        <a:gd name="connsiteX0" fmla="*/ 148900 w 180697"/>
                        <a:gd name="connsiteY0" fmla="*/ 115982 h 115981"/>
                        <a:gd name="connsiteX1" fmla="*/ 180698 w 180697"/>
                        <a:gd name="connsiteY1" fmla="*/ 0 h 115981"/>
                        <a:gd name="connsiteX2" fmla="*/ 31129 w 180697"/>
                        <a:gd name="connsiteY2" fmla="*/ 0 h 115981"/>
                        <a:gd name="connsiteX3" fmla="*/ 0 w 180697"/>
                        <a:gd name="connsiteY3" fmla="*/ 115982 h 115981"/>
                        <a:gd name="connsiteX4" fmla="*/ 148900 w 180697"/>
                        <a:gd name="connsiteY4" fmla="*/ 115982 h 115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697" h="115981">
                          <a:moveTo>
                            <a:pt x="148900" y="115982"/>
                          </a:moveTo>
                          <a:lnTo>
                            <a:pt x="180698" y="0"/>
                          </a:lnTo>
                          <a:lnTo>
                            <a:pt x="31129" y="0"/>
                          </a:lnTo>
                          <a:lnTo>
                            <a:pt x="0" y="115982"/>
                          </a:lnTo>
                          <a:lnTo>
                            <a:pt x="148900" y="115982"/>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47" name="Freeform: Shape 1046">
                      <a:extLst>
                        <a:ext uri="{FF2B5EF4-FFF2-40B4-BE49-F238E27FC236}">
                          <a16:creationId xmlns:a16="http://schemas.microsoft.com/office/drawing/2014/main" id="{84A80C6B-0B90-4105-B522-8580A99F304C}"/>
                        </a:ext>
                      </a:extLst>
                    </p:cNvPr>
                    <p:cNvSpPr/>
                    <p:nvPr/>
                  </p:nvSpPr>
                  <p:spPr>
                    <a:xfrm>
                      <a:off x="5502210" y="10802478"/>
                      <a:ext cx="153992" cy="133364"/>
                    </a:xfrm>
                    <a:custGeom>
                      <a:avLst/>
                      <a:gdLst>
                        <a:gd name="connsiteX0" fmla="*/ 113444 w 153992"/>
                        <a:gd name="connsiteY0" fmla="*/ 127170 h 133364"/>
                        <a:gd name="connsiteX1" fmla="*/ 147582 w 153992"/>
                        <a:gd name="connsiteY1" fmla="*/ 0 h 133364"/>
                        <a:gd name="connsiteX2" fmla="*/ 153993 w 153992"/>
                        <a:gd name="connsiteY2" fmla="*/ 0 h 133364"/>
                        <a:gd name="connsiteX3" fmla="*/ 118203 w 153992"/>
                        <a:gd name="connsiteY3" fmla="*/ 133365 h 133364"/>
                        <a:gd name="connsiteX4" fmla="*/ 0 w 153992"/>
                        <a:gd name="connsiteY4" fmla="*/ 133365 h 133364"/>
                        <a:gd name="connsiteX5" fmla="*/ 0 w 153992"/>
                        <a:gd name="connsiteY5" fmla="*/ 127170 h 133364"/>
                        <a:gd name="connsiteX6" fmla="*/ 113444 w 153992"/>
                        <a:gd name="connsiteY6" fmla="*/ 127170 h 133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992" h="133364">
                          <a:moveTo>
                            <a:pt x="113444" y="127170"/>
                          </a:moveTo>
                          <a:lnTo>
                            <a:pt x="147582" y="0"/>
                          </a:lnTo>
                          <a:lnTo>
                            <a:pt x="153993" y="0"/>
                          </a:lnTo>
                          <a:lnTo>
                            <a:pt x="118203" y="133365"/>
                          </a:lnTo>
                          <a:lnTo>
                            <a:pt x="0" y="133365"/>
                          </a:lnTo>
                          <a:lnTo>
                            <a:pt x="0" y="127170"/>
                          </a:lnTo>
                          <a:lnTo>
                            <a:pt x="113444" y="127170"/>
                          </a:lnTo>
                          <a:close/>
                        </a:path>
                      </a:pathLst>
                    </a:custGeom>
                    <a:solidFill>
                      <a:srgbClr val="6C74D1"/>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016" name="Graphic 10">
                    <a:extLst>
                      <a:ext uri="{FF2B5EF4-FFF2-40B4-BE49-F238E27FC236}">
                        <a16:creationId xmlns:a16="http://schemas.microsoft.com/office/drawing/2014/main" id="{FE9422FF-2191-4743-B2B9-24CCD30D8090}"/>
                      </a:ext>
                    </a:extLst>
                  </p:cNvPr>
                  <p:cNvGrpSpPr/>
                  <p:nvPr/>
                </p:nvGrpSpPr>
                <p:grpSpPr>
                  <a:xfrm>
                    <a:off x="5310617" y="11019081"/>
                    <a:ext cx="305675" cy="359153"/>
                    <a:chOff x="5310617" y="11019081"/>
                    <a:chExt cx="305675" cy="359153"/>
                  </a:xfrm>
                </p:grpSpPr>
                <p:sp>
                  <p:nvSpPr>
                    <p:cNvPr id="1039" name="Freeform: Shape 1038">
                      <a:extLst>
                        <a:ext uri="{FF2B5EF4-FFF2-40B4-BE49-F238E27FC236}">
                          <a16:creationId xmlns:a16="http://schemas.microsoft.com/office/drawing/2014/main" id="{03327505-7EC9-4694-A916-6AB0E30BC936}"/>
                        </a:ext>
                      </a:extLst>
                    </p:cNvPr>
                    <p:cNvSpPr/>
                    <p:nvPr/>
                  </p:nvSpPr>
                  <p:spPr>
                    <a:xfrm>
                      <a:off x="5349967" y="11254801"/>
                      <a:ext cx="49711" cy="91892"/>
                    </a:xfrm>
                    <a:custGeom>
                      <a:avLst/>
                      <a:gdLst>
                        <a:gd name="connsiteX0" fmla="*/ 43911 w 49711"/>
                        <a:gd name="connsiteY0" fmla="*/ 0 h 91892"/>
                        <a:gd name="connsiteX1" fmla="*/ 49711 w 49711"/>
                        <a:gd name="connsiteY1" fmla="*/ 91892 h 91892"/>
                        <a:gd name="connsiteX2" fmla="*/ 16380 w 49711"/>
                        <a:gd name="connsiteY2" fmla="*/ 91892 h 91892"/>
                        <a:gd name="connsiteX3" fmla="*/ 0 w 49711"/>
                        <a:gd name="connsiteY3" fmla="*/ 0 h 91892"/>
                        <a:gd name="connsiteX4" fmla="*/ 43911 w 49711"/>
                        <a:gd name="connsiteY4" fmla="*/ 0 h 91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11" h="91892">
                          <a:moveTo>
                            <a:pt x="43911" y="0"/>
                          </a:moveTo>
                          <a:lnTo>
                            <a:pt x="49711" y="91892"/>
                          </a:lnTo>
                          <a:lnTo>
                            <a:pt x="16380" y="91892"/>
                          </a:lnTo>
                          <a:lnTo>
                            <a:pt x="0" y="0"/>
                          </a:lnTo>
                          <a:lnTo>
                            <a:pt x="43911" y="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40" name="Freeform: Shape 1039">
                      <a:extLst>
                        <a:ext uri="{FF2B5EF4-FFF2-40B4-BE49-F238E27FC236}">
                          <a16:creationId xmlns:a16="http://schemas.microsoft.com/office/drawing/2014/main" id="{0956C868-9B7C-4BAF-8A7E-3F67B42D2672}"/>
                        </a:ext>
                      </a:extLst>
                    </p:cNvPr>
                    <p:cNvSpPr/>
                    <p:nvPr/>
                  </p:nvSpPr>
                  <p:spPr>
                    <a:xfrm>
                      <a:off x="5310617" y="11019081"/>
                      <a:ext cx="98402" cy="283465"/>
                    </a:xfrm>
                    <a:custGeom>
                      <a:avLst/>
                      <a:gdLst>
                        <a:gd name="connsiteX0" fmla="*/ 88689 w 98402"/>
                        <a:gd name="connsiteY0" fmla="*/ 51503 h 283465"/>
                        <a:gd name="connsiteX1" fmla="*/ 98403 w 98402"/>
                        <a:gd name="connsiteY1" fmla="*/ 283465 h 283465"/>
                        <a:gd name="connsiteX2" fmla="*/ 37934 w 98402"/>
                        <a:gd name="connsiteY2" fmla="*/ 283465 h 283465"/>
                        <a:gd name="connsiteX3" fmla="*/ 277 w 98402"/>
                        <a:gd name="connsiteY3" fmla="*/ 47216 h 283465"/>
                        <a:gd name="connsiteX4" fmla="*/ 40432 w 98402"/>
                        <a:gd name="connsiteY4" fmla="*/ 1 h 283465"/>
                        <a:gd name="connsiteX5" fmla="*/ 88669 w 98402"/>
                        <a:gd name="connsiteY5" fmla="*/ 51503 h 2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402" h="283465">
                          <a:moveTo>
                            <a:pt x="88689" y="51503"/>
                          </a:moveTo>
                          <a:cubicBezTo>
                            <a:pt x="86604" y="124478"/>
                            <a:pt x="94392" y="217589"/>
                            <a:pt x="98403" y="283465"/>
                          </a:cubicBezTo>
                          <a:lnTo>
                            <a:pt x="37934" y="283465"/>
                          </a:lnTo>
                          <a:cubicBezTo>
                            <a:pt x="20276" y="205849"/>
                            <a:pt x="6098" y="105147"/>
                            <a:pt x="277" y="47216"/>
                          </a:cubicBezTo>
                          <a:cubicBezTo>
                            <a:pt x="-2358" y="20924"/>
                            <a:pt x="14022" y="-176"/>
                            <a:pt x="40432" y="1"/>
                          </a:cubicBezTo>
                          <a:cubicBezTo>
                            <a:pt x="74864" y="1"/>
                            <a:pt x="89298" y="29636"/>
                            <a:pt x="88669" y="51503"/>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41" name="Freeform: Shape 1040">
                      <a:extLst>
                        <a:ext uri="{FF2B5EF4-FFF2-40B4-BE49-F238E27FC236}">
                          <a16:creationId xmlns:a16="http://schemas.microsoft.com/office/drawing/2014/main" id="{FA4ABA94-7CA7-4241-A6B5-C1C25548A155}"/>
                        </a:ext>
                      </a:extLst>
                    </p:cNvPr>
                    <p:cNvSpPr/>
                    <p:nvPr/>
                  </p:nvSpPr>
                  <p:spPr>
                    <a:xfrm>
                      <a:off x="5364263" y="11345061"/>
                      <a:ext cx="70958" cy="33154"/>
                    </a:xfrm>
                    <a:custGeom>
                      <a:avLst/>
                      <a:gdLst>
                        <a:gd name="connsiteX0" fmla="*/ 70734 w 70958"/>
                        <a:gd name="connsiteY0" fmla="*/ 27216 h 33154"/>
                        <a:gd name="connsiteX1" fmla="*/ 55002 w 70958"/>
                        <a:gd name="connsiteY1" fmla="*/ 33154 h 33154"/>
                        <a:gd name="connsiteX2" fmla="*/ 0 w 70958"/>
                        <a:gd name="connsiteY2" fmla="*/ 33154 h 33154"/>
                        <a:gd name="connsiteX3" fmla="*/ 1495 w 70958"/>
                        <a:gd name="connsiteY3" fmla="*/ 0 h 33154"/>
                        <a:gd name="connsiteX4" fmla="*/ 34767 w 70958"/>
                        <a:gd name="connsiteY4" fmla="*/ 0 h 33154"/>
                        <a:gd name="connsiteX5" fmla="*/ 54845 w 70958"/>
                        <a:gd name="connsiteY5" fmla="*/ 14788 h 33154"/>
                        <a:gd name="connsiteX6" fmla="*/ 63831 w 70958"/>
                        <a:gd name="connsiteY6" fmla="*/ 14788 h 33154"/>
                        <a:gd name="connsiteX7" fmla="*/ 70950 w 70958"/>
                        <a:gd name="connsiteY7" fmla="*/ 22241 h 33154"/>
                        <a:gd name="connsiteX8" fmla="*/ 70734 w 70958"/>
                        <a:gd name="connsiteY8" fmla="*/ 27196 h 33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58" h="33154">
                          <a:moveTo>
                            <a:pt x="70734" y="27216"/>
                          </a:moveTo>
                          <a:lnTo>
                            <a:pt x="55002" y="33154"/>
                          </a:lnTo>
                          <a:lnTo>
                            <a:pt x="0" y="33154"/>
                          </a:lnTo>
                          <a:lnTo>
                            <a:pt x="1495" y="0"/>
                          </a:lnTo>
                          <a:lnTo>
                            <a:pt x="34767" y="0"/>
                          </a:lnTo>
                          <a:lnTo>
                            <a:pt x="54845" y="14788"/>
                          </a:lnTo>
                          <a:lnTo>
                            <a:pt x="63831" y="14788"/>
                          </a:lnTo>
                          <a:cubicBezTo>
                            <a:pt x="67961" y="14788"/>
                            <a:pt x="71147" y="18131"/>
                            <a:pt x="70950" y="22241"/>
                          </a:cubicBezTo>
                          <a:lnTo>
                            <a:pt x="70734" y="27196"/>
                          </a:lnTo>
                          <a:close/>
                        </a:path>
                      </a:pathLst>
                    </a:custGeom>
                    <a:solidFill>
                      <a:srgbClr val="3E3F5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42" name="Freeform: Shape 1041">
                      <a:extLst>
                        <a:ext uri="{FF2B5EF4-FFF2-40B4-BE49-F238E27FC236}">
                          <a16:creationId xmlns:a16="http://schemas.microsoft.com/office/drawing/2014/main" id="{6A3A8E67-C648-4F98-AC94-9EB70C928CF0}"/>
                        </a:ext>
                      </a:extLst>
                    </p:cNvPr>
                    <p:cNvSpPr/>
                    <p:nvPr/>
                  </p:nvSpPr>
                  <p:spPr>
                    <a:xfrm>
                      <a:off x="5510449" y="11254801"/>
                      <a:ext cx="49240" cy="91892"/>
                    </a:xfrm>
                    <a:custGeom>
                      <a:avLst/>
                      <a:gdLst>
                        <a:gd name="connsiteX0" fmla="*/ 0 w 49240"/>
                        <a:gd name="connsiteY0" fmla="*/ 0 h 91892"/>
                        <a:gd name="connsiteX1" fmla="*/ 15909 w 49240"/>
                        <a:gd name="connsiteY1" fmla="*/ 91892 h 91892"/>
                        <a:gd name="connsiteX2" fmla="*/ 49240 w 49240"/>
                        <a:gd name="connsiteY2" fmla="*/ 91892 h 91892"/>
                        <a:gd name="connsiteX3" fmla="*/ 43911 w 49240"/>
                        <a:gd name="connsiteY3" fmla="*/ 0 h 91892"/>
                        <a:gd name="connsiteX4" fmla="*/ 0 w 49240"/>
                        <a:gd name="connsiteY4" fmla="*/ 0 h 91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40" h="91892">
                          <a:moveTo>
                            <a:pt x="0" y="0"/>
                          </a:moveTo>
                          <a:lnTo>
                            <a:pt x="15909" y="91892"/>
                          </a:lnTo>
                          <a:lnTo>
                            <a:pt x="49240" y="91892"/>
                          </a:lnTo>
                          <a:lnTo>
                            <a:pt x="43911" y="0"/>
                          </a:lnTo>
                          <a:lnTo>
                            <a:pt x="0" y="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43" name="Freeform: Shape 1042">
                      <a:extLst>
                        <a:ext uri="{FF2B5EF4-FFF2-40B4-BE49-F238E27FC236}">
                          <a16:creationId xmlns:a16="http://schemas.microsoft.com/office/drawing/2014/main" id="{43A24840-A5F0-4606-AB30-4E27EC293F70}"/>
                        </a:ext>
                      </a:extLst>
                    </p:cNvPr>
                    <p:cNvSpPr/>
                    <p:nvPr/>
                  </p:nvSpPr>
                  <p:spPr>
                    <a:xfrm>
                      <a:off x="5524647" y="11345081"/>
                      <a:ext cx="91645" cy="33154"/>
                    </a:xfrm>
                    <a:custGeom>
                      <a:avLst/>
                      <a:gdLst>
                        <a:gd name="connsiteX0" fmla="*/ 91420 w 91645"/>
                        <a:gd name="connsiteY0" fmla="*/ 27196 h 33154"/>
                        <a:gd name="connsiteX1" fmla="*/ 71422 w 91645"/>
                        <a:gd name="connsiteY1" fmla="*/ 31758 h 33154"/>
                        <a:gd name="connsiteX2" fmla="*/ 59092 w 91645"/>
                        <a:gd name="connsiteY2" fmla="*/ 33154 h 33154"/>
                        <a:gd name="connsiteX3" fmla="*/ 0 w 91645"/>
                        <a:gd name="connsiteY3" fmla="*/ 33154 h 33154"/>
                        <a:gd name="connsiteX4" fmla="*/ 1495 w 91645"/>
                        <a:gd name="connsiteY4" fmla="*/ 0 h 33154"/>
                        <a:gd name="connsiteX5" fmla="*/ 34767 w 91645"/>
                        <a:gd name="connsiteY5" fmla="*/ 0 h 33154"/>
                        <a:gd name="connsiteX6" fmla="*/ 53704 w 91645"/>
                        <a:gd name="connsiteY6" fmla="*/ 9203 h 33154"/>
                        <a:gd name="connsiteX7" fmla="*/ 77970 w 91645"/>
                        <a:gd name="connsiteY7" fmla="*/ 14788 h 33154"/>
                        <a:gd name="connsiteX8" fmla="*/ 84518 w 91645"/>
                        <a:gd name="connsiteY8" fmla="*/ 14788 h 33154"/>
                        <a:gd name="connsiteX9" fmla="*/ 91637 w 91645"/>
                        <a:gd name="connsiteY9" fmla="*/ 22241 h 33154"/>
                        <a:gd name="connsiteX10" fmla="*/ 91420 w 91645"/>
                        <a:gd name="connsiteY10" fmla="*/ 27196 h 33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645" h="33154">
                          <a:moveTo>
                            <a:pt x="91420" y="27196"/>
                          </a:moveTo>
                          <a:lnTo>
                            <a:pt x="71422" y="31758"/>
                          </a:lnTo>
                          <a:cubicBezTo>
                            <a:pt x="67371" y="32682"/>
                            <a:pt x="63241" y="33154"/>
                            <a:pt x="59092" y="33154"/>
                          </a:cubicBezTo>
                          <a:lnTo>
                            <a:pt x="0" y="33154"/>
                          </a:lnTo>
                          <a:lnTo>
                            <a:pt x="1495" y="0"/>
                          </a:lnTo>
                          <a:lnTo>
                            <a:pt x="34767" y="0"/>
                          </a:lnTo>
                          <a:lnTo>
                            <a:pt x="53704" y="9203"/>
                          </a:lnTo>
                          <a:cubicBezTo>
                            <a:pt x="61275" y="12880"/>
                            <a:pt x="69573" y="14788"/>
                            <a:pt x="77970" y="14788"/>
                          </a:cubicBezTo>
                          <a:lnTo>
                            <a:pt x="84518" y="14788"/>
                          </a:lnTo>
                          <a:cubicBezTo>
                            <a:pt x="88628" y="14788"/>
                            <a:pt x="91833" y="18150"/>
                            <a:pt x="91637" y="22241"/>
                          </a:cubicBezTo>
                          <a:lnTo>
                            <a:pt x="91420" y="27196"/>
                          </a:lnTo>
                          <a:close/>
                        </a:path>
                      </a:pathLst>
                    </a:custGeom>
                    <a:solidFill>
                      <a:srgbClr val="3E3F59"/>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44" name="Freeform: Shape 1043">
                      <a:extLst>
                        <a:ext uri="{FF2B5EF4-FFF2-40B4-BE49-F238E27FC236}">
                          <a16:creationId xmlns:a16="http://schemas.microsoft.com/office/drawing/2014/main" id="{5129E392-8F04-4BF1-9D04-9F8DE387E461}"/>
                        </a:ext>
                      </a:extLst>
                    </p:cNvPr>
                    <p:cNvSpPr/>
                    <p:nvPr/>
                  </p:nvSpPr>
                  <p:spPr>
                    <a:xfrm>
                      <a:off x="5382315" y="11019081"/>
                      <a:ext cx="184748" cy="283465"/>
                    </a:xfrm>
                    <a:custGeom>
                      <a:avLst/>
                      <a:gdLst>
                        <a:gd name="connsiteX0" fmla="*/ 184728 w 184748"/>
                        <a:gd name="connsiteY0" fmla="*/ 283465 h 283465"/>
                        <a:gd name="connsiteX1" fmla="*/ 166578 w 184748"/>
                        <a:gd name="connsiteY1" fmla="*/ 47216 h 283465"/>
                        <a:gd name="connsiteX2" fmla="*/ 115273 w 184748"/>
                        <a:gd name="connsiteY2" fmla="*/ 1 h 283465"/>
                        <a:gd name="connsiteX3" fmla="*/ 0 w 184748"/>
                        <a:gd name="connsiteY3" fmla="*/ 1 h 283465"/>
                        <a:gd name="connsiteX4" fmla="*/ 0 w 184748"/>
                        <a:gd name="connsiteY4" fmla="*/ 80252 h 283465"/>
                        <a:gd name="connsiteX5" fmla="*/ 54530 w 184748"/>
                        <a:gd name="connsiteY5" fmla="*/ 80252 h 283465"/>
                        <a:gd name="connsiteX6" fmla="*/ 93288 w 184748"/>
                        <a:gd name="connsiteY6" fmla="*/ 111676 h 283465"/>
                        <a:gd name="connsiteX7" fmla="*/ 124280 w 184748"/>
                        <a:gd name="connsiteY7" fmla="*/ 283465 h 283465"/>
                        <a:gd name="connsiteX8" fmla="*/ 184748 w 184748"/>
                        <a:gd name="connsiteY8" fmla="*/ 283465 h 28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748" h="283465">
                          <a:moveTo>
                            <a:pt x="184728" y="283465"/>
                          </a:moveTo>
                          <a:cubicBezTo>
                            <a:pt x="184040" y="205849"/>
                            <a:pt x="174444" y="105147"/>
                            <a:pt x="166578" y="47216"/>
                          </a:cubicBezTo>
                          <a:cubicBezTo>
                            <a:pt x="162999" y="20924"/>
                            <a:pt x="141644" y="-176"/>
                            <a:pt x="115273" y="1"/>
                          </a:cubicBezTo>
                          <a:lnTo>
                            <a:pt x="0" y="1"/>
                          </a:lnTo>
                          <a:lnTo>
                            <a:pt x="0" y="80252"/>
                          </a:lnTo>
                          <a:lnTo>
                            <a:pt x="54530" y="80252"/>
                          </a:lnTo>
                          <a:cubicBezTo>
                            <a:pt x="73250" y="80252"/>
                            <a:pt x="89434" y="93349"/>
                            <a:pt x="93288" y="111676"/>
                          </a:cubicBezTo>
                          <a:cubicBezTo>
                            <a:pt x="105736" y="171043"/>
                            <a:pt x="115745" y="234717"/>
                            <a:pt x="124280" y="283465"/>
                          </a:cubicBezTo>
                          <a:lnTo>
                            <a:pt x="184748" y="283465"/>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017" name="Freeform: Shape 1016">
                    <a:extLst>
                      <a:ext uri="{FF2B5EF4-FFF2-40B4-BE49-F238E27FC236}">
                        <a16:creationId xmlns:a16="http://schemas.microsoft.com/office/drawing/2014/main" id="{B178DFD4-7DFE-4471-A558-2A2E44666C24}"/>
                      </a:ext>
                    </a:extLst>
                  </p:cNvPr>
                  <p:cNvSpPr/>
                  <p:nvPr/>
                </p:nvSpPr>
                <p:spPr>
                  <a:xfrm>
                    <a:off x="5262534" y="10980756"/>
                    <a:ext cx="183554" cy="118577"/>
                  </a:xfrm>
                  <a:custGeom>
                    <a:avLst/>
                    <a:gdLst>
                      <a:gd name="connsiteX0" fmla="*/ 24 w 183554"/>
                      <a:gd name="connsiteY0" fmla="*/ 94842 h 118577"/>
                      <a:gd name="connsiteX1" fmla="*/ 22697 w 183554"/>
                      <a:gd name="connsiteY1" fmla="*/ 118577 h 118577"/>
                      <a:gd name="connsiteX2" fmla="*/ 170929 w 183554"/>
                      <a:gd name="connsiteY2" fmla="*/ 118577 h 118577"/>
                      <a:gd name="connsiteX3" fmla="*/ 183533 w 183554"/>
                      <a:gd name="connsiteY3" fmla="*/ 105245 h 118577"/>
                      <a:gd name="connsiteX4" fmla="*/ 168254 w 183554"/>
                      <a:gd name="connsiteY4" fmla="*/ 0 h 118577"/>
                      <a:gd name="connsiteX5" fmla="*/ 4351 w 183554"/>
                      <a:gd name="connsiteY5" fmla="*/ 0 h 118577"/>
                      <a:gd name="connsiteX6" fmla="*/ 24 w 183554"/>
                      <a:gd name="connsiteY6" fmla="*/ 94842 h 11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554" h="118577">
                        <a:moveTo>
                          <a:pt x="24" y="94842"/>
                        </a:moveTo>
                        <a:cubicBezTo>
                          <a:pt x="-565" y="107781"/>
                          <a:pt x="9758" y="118577"/>
                          <a:pt x="22697" y="118577"/>
                        </a:cubicBezTo>
                        <a:lnTo>
                          <a:pt x="170929" y="118577"/>
                        </a:lnTo>
                        <a:cubicBezTo>
                          <a:pt x="178185" y="118577"/>
                          <a:pt x="183946" y="112481"/>
                          <a:pt x="183533" y="105245"/>
                        </a:cubicBezTo>
                        <a:lnTo>
                          <a:pt x="168254" y="0"/>
                        </a:lnTo>
                        <a:lnTo>
                          <a:pt x="4351" y="0"/>
                        </a:lnTo>
                        <a:lnTo>
                          <a:pt x="24" y="94842"/>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18" name="Freeform: Shape 1017">
                    <a:extLst>
                      <a:ext uri="{FF2B5EF4-FFF2-40B4-BE49-F238E27FC236}">
                        <a16:creationId xmlns:a16="http://schemas.microsoft.com/office/drawing/2014/main" id="{51188970-D581-455D-9AA2-24488C1F82E4}"/>
                      </a:ext>
                    </a:extLst>
                  </p:cNvPr>
                  <p:cNvSpPr/>
                  <p:nvPr/>
                </p:nvSpPr>
                <p:spPr>
                  <a:xfrm>
                    <a:off x="5228775" y="10912127"/>
                    <a:ext cx="133699" cy="48175"/>
                  </a:xfrm>
                  <a:custGeom>
                    <a:avLst/>
                    <a:gdLst>
                      <a:gd name="connsiteX0" fmla="*/ 45681 w 133699"/>
                      <a:gd name="connsiteY0" fmla="*/ 20 h 48175"/>
                      <a:gd name="connsiteX1" fmla="*/ 0 w 133699"/>
                      <a:gd name="connsiteY1" fmla="*/ 12605 h 48175"/>
                      <a:gd name="connsiteX2" fmla="*/ 38602 w 133699"/>
                      <a:gd name="connsiteY2" fmla="*/ 48139 h 48175"/>
                      <a:gd name="connsiteX3" fmla="*/ 133699 w 133699"/>
                      <a:gd name="connsiteY3" fmla="*/ 36419 h 48175"/>
                      <a:gd name="connsiteX4" fmla="*/ 132814 w 133699"/>
                      <a:gd name="connsiteY4" fmla="*/ 0 h 48175"/>
                      <a:gd name="connsiteX5" fmla="*/ 45681 w 133699"/>
                      <a:gd name="connsiteY5" fmla="*/ 0 h 4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699" h="48175">
                        <a:moveTo>
                          <a:pt x="45681" y="20"/>
                        </a:moveTo>
                        <a:lnTo>
                          <a:pt x="0" y="12605"/>
                        </a:lnTo>
                        <a:cubicBezTo>
                          <a:pt x="6784" y="40981"/>
                          <a:pt x="20077" y="48788"/>
                          <a:pt x="38602" y="48139"/>
                        </a:cubicBezTo>
                        <a:cubicBezTo>
                          <a:pt x="60252" y="46939"/>
                          <a:pt x="114290" y="40234"/>
                          <a:pt x="133699" y="36419"/>
                        </a:cubicBezTo>
                        <a:lnTo>
                          <a:pt x="132814" y="0"/>
                        </a:lnTo>
                        <a:lnTo>
                          <a:pt x="45681" y="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019" name="Graphic 10">
                    <a:extLst>
                      <a:ext uri="{FF2B5EF4-FFF2-40B4-BE49-F238E27FC236}">
                        <a16:creationId xmlns:a16="http://schemas.microsoft.com/office/drawing/2014/main" id="{7B629EC3-C760-4CD9-B5A3-04E69158D945}"/>
                      </a:ext>
                    </a:extLst>
                  </p:cNvPr>
                  <p:cNvGrpSpPr/>
                  <p:nvPr/>
                </p:nvGrpSpPr>
                <p:grpSpPr>
                  <a:xfrm>
                    <a:off x="5309498" y="10607170"/>
                    <a:ext cx="86238" cy="125517"/>
                    <a:chOff x="5309498" y="10607170"/>
                    <a:chExt cx="86238" cy="125517"/>
                  </a:xfrm>
                </p:grpSpPr>
                <p:sp>
                  <p:nvSpPr>
                    <p:cNvPr id="1035" name="Freeform: Shape 1034">
                      <a:extLst>
                        <a:ext uri="{FF2B5EF4-FFF2-40B4-BE49-F238E27FC236}">
                          <a16:creationId xmlns:a16="http://schemas.microsoft.com/office/drawing/2014/main" id="{4D0D507A-F260-452A-AE1E-73A3DF1725F2}"/>
                        </a:ext>
                      </a:extLst>
                    </p:cNvPr>
                    <p:cNvSpPr/>
                    <p:nvPr/>
                  </p:nvSpPr>
                  <p:spPr>
                    <a:xfrm>
                      <a:off x="5317010" y="10660500"/>
                      <a:ext cx="63791" cy="71106"/>
                    </a:xfrm>
                    <a:custGeom>
                      <a:avLst/>
                      <a:gdLst>
                        <a:gd name="connsiteX0" fmla="*/ 51855 w 63791"/>
                        <a:gd name="connsiteY0" fmla="*/ 0 h 71106"/>
                        <a:gd name="connsiteX1" fmla="*/ 7787 w 63791"/>
                        <a:gd name="connsiteY1" fmla="*/ 7905 h 71106"/>
                        <a:gd name="connsiteX2" fmla="*/ 0 w 63791"/>
                        <a:gd name="connsiteY2" fmla="*/ 63733 h 71106"/>
                        <a:gd name="connsiteX3" fmla="*/ 63792 w 63791"/>
                        <a:gd name="connsiteY3" fmla="*/ 71107 h 71106"/>
                        <a:gd name="connsiteX4" fmla="*/ 51875 w 63791"/>
                        <a:gd name="connsiteY4" fmla="*/ 0 h 71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791" h="71106">
                          <a:moveTo>
                            <a:pt x="51855" y="0"/>
                          </a:moveTo>
                          <a:lnTo>
                            <a:pt x="7787" y="7905"/>
                          </a:lnTo>
                          <a:cubicBezTo>
                            <a:pt x="7413" y="27353"/>
                            <a:pt x="4680" y="45917"/>
                            <a:pt x="0" y="63733"/>
                          </a:cubicBezTo>
                          <a:lnTo>
                            <a:pt x="63792" y="71107"/>
                          </a:lnTo>
                          <a:cubicBezTo>
                            <a:pt x="57676" y="60645"/>
                            <a:pt x="54982" y="29005"/>
                            <a:pt x="51875" y="0"/>
                          </a:cubicBez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36" name="Freeform: Shape 1035">
                      <a:extLst>
                        <a:ext uri="{FF2B5EF4-FFF2-40B4-BE49-F238E27FC236}">
                          <a16:creationId xmlns:a16="http://schemas.microsoft.com/office/drawing/2014/main" id="{5B16D528-863D-475C-BEE4-DB392E773CD5}"/>
                        </a:ext>
                      </a:extLst>
                    </p:cNvPr>
                    <p:cNvSpPr/>
                    <p:nvPr/>
                  </p:nvSpPr>
                  <p:spPr>
                    <a:xfrm>
                      <a:off x="5326664" y="10615923"/>
                      <a:ext cx="69071" cy="99587"/>
                    </a:xfrm>
                    <a:custGeom>
                      <a:avLst/>
                      <a:gdLst>
                        <a:gd name="connsiteX0" fmla="*/ 2517 w 69071"/>
                        <a:gd name="connsiteY0" fmla="*/ 29927 h 99587"/>
                        <a:gd name="connsiteX1" fmla="*/ 177 w 69071"/>
                        <a:gd name="connsiteY1" fmla="*/ 52679 h 99587"/>
                        <a:gd name="connsiteX2" fmla="*/ 18170 w 69071"/>
                        <a:gd name="connsiteY2" fmla="*/ 85794 h 99587"/>
                        <a:gd name="connsiteX3" fmla="*/ 38504 w 69071"/>
                        <a:gd name="connsiteY3" fmla="*/ 96196 h 99587"/>
                        <a:gd name="connsiteX4" fmla="*/ 64067 w 69071"/>
                        <a:gd name="connsiteY4" fmla="*/ 88370 h 99587"/>
                        <a:gd name="connsiteX5" fmla="*/ 68925 w 69071"/>
                        <a:gd name="connsiteY5" fmla="*/ 36455 h 99587"/>
                        <a:gd name="connsiteX6" fmla="*/ 38916 w 69071"/>
                        <a:gd name="connsiteY6" fmla="*/ 155 h 99587"/>
                        <a:gd name="connsiteX7" fmla="*/ 2537 w 69071"/>
                        <a:gd name="connsiteY7" fmla="*/ 29927 h 9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071" h="99587">
                          <a:moveTo>
                            <a:pt x="2517" y="29927"/>
                          </a:moveTo>
                          <a:lnTo>
                            <a:pt x="177" y="52679"/>
                          </a:lnTo>
                          <a:cubicBezTo>
                            <a:pt x="-1239" y="66365"/>
                            <a:pt x="5919" y="79521"/>
                            <a:pt x="18170" y="85794"/>
                          </a:cubicBezTo>
                          <a:lnTo>
                            <a:pt x="38504" y="96196"/>
                          </a:lnTo>
                          <a:cubicBezTo>
                            <a:pt x="54117" y="103983"/>
                            <a:pt x="63418" y="97081"/>
                            <a:pt x="64067" y="88370"/>
                          </a:cubicBezTo>
                          <a:cubicBezTo>
                            <a:pt x="64067" y="88370"/>
                            <a:pt x="66565" y="61646"/>
                            <a:pt x="68925" y="36455"/>
                          </a:cubicBezTo>
                          <a:cubicBezTo>
                            <a:pt x="70635" y="18148"/>
                            <a:pt x="57224" y="1905"/>
                            <a:pt x="38916" y="155"/>
                          </a:cubicBezTo>
                          <a:cubicBezTo>
                            <a:pt x="20668" y="-1595"/>
                            <a:pt x="4425" y="11698"/>
                            <a:pt x="2537" y="29927"/>
                          </a:cubicBez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37" name="Freeform: Shape 1036">
                      <a:extLst>
                        <a:ext uri="{FF2B5EF4-FFF2-40B4-BE49-F238E27FC236}">
                          <a16:creationId xmlns:a16="http://schemas.microsoft.com/office/drawing/2014/main" id="{5C1C5E2A-9A1C-466B-9D59-97F0DBC25271}"/>
                        </a:ext>
                      </a:extLst>
                    </p:cNvPr>
                    <p:cNvSpPr/>
                    <p:nvPr/>
                  </p:nvSpPr>
                  <p:spPr>
                    <a:xfrm>
                      <a:off x="5317751" y="10607170"/>
                      <a:ext cx="74671" cy="108309"/>
                    </a:xfrm>
                    <a:custGeom>
                      <a:avLst/>
                      <a:gdLst>
                        <a:gd name="connsiteX0" fmla="*/ 68045 w 74671"/>
                        <a:gd name="connsiteY0" fmla="*/ 9891 h 108309"/>
                        <a:gd name="connsiteX1" fmla="*/ 3958 w 74671"/>
                        <a:gd name="connsiteY1" fmla="*/ 14925 h 108309"/>
                        <a:gd name="connsiteX2" fmla="*/ 10132 w 74671"/>
                        <a:gd name="connsiteY2" fmla="*/ 34019 h 108309"/>
                        <a:gd name="connsiteX3" fmla="*/ 4626 w 74671"/>
                        <a:gd name="connsiteY3" fmla="*/ 66367 h 108309"/>
                        <a:gd name="connsiteX4" fmla="*/ 18293 w 74671"/>
                        <a:gd name="connsiteY4" fmla="*/ 84223 h 108309"/>
                        <a:gd name="connsiteX5" fmla="*/ 36444 w 74671"/>
                        <a:gd name="connsiteY5" fmla="*/ 85973 h 108309"/>
                        <a:gd name="connsiteX6" fmla="*/ 41360 w 74671"/>
                        <a:gd name="connsiteY6" fmla="*/ 82059 h 108309"/>
                        <a:gd name="connsiteX7" fmla="*/ 43582 w 74671"/>
                        <a:gd name="connsiteY7" fmla="*/ 65246 h 108309"/>
                        <a:gd name="connsiteX8" fmla="*/ 48124 w 74671"/>
                        <a:gd name="connsiteY8" fmla="*/ 61058 h 108309"/>
                        <a:gd name="connsiteX9" fmla="*/ 52608 w 74671"/>
                        <a:gd name="connsiteY9" fmla="*/ 66013 h 108309"/>
                        <a:gd name="connsiteX10" fmla="*/ 49304 w 74671"/>
                        <a:gd name="connsiteY10" fmla="*/ 100407 h 108309"/>
                        <a:gd name="connsiteX11" fmla="*/ 54063 w 74671"/>
                        <a:gd name="connsiteY11" fmla="*/ 107486 h 108309"/>
                        <a:gd name="connsiteX12" fmla="*/ 73000 w 74671"/>
                        <a:gd name="connsiteY12" fmla="*/ 97142 h 108309"/>
                        <a:gd name="connsiteX13" fmla="*/ 74671 w 74671"/>
                        <a:gd name="connsiteY13" fmla="*/ 79090 h 108309"/>
                        <a:gd name="connsiteX14" fmla="*/ 63679 w 74671"/>
                        <a:gd name="connsiteY14" fmla="*/ 68570 h 108309"/>
                        <a:gd name="connsiteX15" fmla="*/ 59215 w 74671"/>
                        <a:gd name="connsiteY15" fmla="*/ 36890 h 108309"/>
                        <a:gd name="connsiteX16" fmla="*/ 64367 w 74671"/>
                        <a:gd name="connsiteY16" fmla="*/ 35160 h 108309"/>
                        <a:gd name="connsiteX17" fmla="*/ 68064 w 74671"/>
                        <a:gd name="connsiteY17" fmla="*/ 9891 h 10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671" h="108309">
                          <a:moveTo>
                            <a:pt x="68045" y="9891"/>
                          </a:moveTo>
                          <a:cubicBezTo>
                            <a:pt x="45981" y="-5428"/>
                            <a:pt x="24665" y="-2341"/>
                            <a:pt x="3958" y="14925"/>
                          </a:cubicBezTo>
                          <a:cubicBezTo>
                            <a:pt x="-3594" y="21218"/>
                            <a:pt x="320" y="33449"/>
                            <a:pt x="10132" y="34019"/>
                          </a:cubicBezTo>
                          <a:lnTo>
                            <a:pt x="4626" y="66367"/>
                          </a:lnTo>
                          <a:cubicBezTo>
                            <a:pt x="3132" y="75157"/>
                            <a:pt x="9405" y="83377"/>
                            <a:pt x="18293" y="84223"/>
                          </a:cubicBezTo>
                          <a:lnTo>
                            <a:pt x="36444" y="85973"/>
                          </a:lnTo>
                          <a:cubicBezTo>
                            <a:pt x="38862" y="86209"/>
                            <a:pt x="41045" y="84478"/>
                            <a:pt x="41360" y="82059"/>
                          </a:cubicBezTo>
                          <a:lnTo>
                            <a:pt x="43582" y="65246"/>
                          </a:lnTo>
                          <a:cubicBezTo>
                            <a:pt x="43896" y="62946"/>
                            <a:pt x="45804" y="61038"/>
                            <a:pt x="48124" y="61058"/>
                          </a:cubicBezTo>
                          <a:cubicBezTo>
                            <a:pt x="50818" y="61078"/>
                            <a:pt x="52864" y="63398"/>
                            <a:pt x="52608" y="66013"/>
                          </a:cubicBezTo>
                          <a:lnTo>
                            <a:pt x="49304" y="100407"/>
                          </a:lnTo>
                          <a:cubicBezTo>
                            <a:pt x="48989" y="103592"/>
                            <a:pt x="50956" y="106660"/>
                            <a:pt x="54063" y="107486"/>
                          </a:cubicBezTo>
                          <a:cubicBezTo>
                            <a:pt x="65646" y="110573"/>
                            <a:pt x="72449" y="104516"/>
                            <a:pt x="73000" y="97142"/>
                          </a:cubicBezTo>
                          <a:lnTo>
                            <a:pt x="74671" y="79090"/>
                          </a:lnTo>
                          <a:cubicBezTo>
                            <a:pt x="69028" y="78540"/>
                            <a:pt x="64485" y="74194"/>
                            <a:pt x="63679" y="68570"/>
                          </a:cubicBezTo>
                          <a:lnTo>
                            <a:pt x="59215" y="36890"/>
                          </a:lnTo>
                          <a:lnTo>
                            <a:pt x="64367" y="35160"/>
                          </a:lnTo>
                          <a:cubicBezTo>
                            <a:pt x="75478" y="31423"/>
                            <a:pt x="77680" y="16577"/>
                            <a:pt x="68064" y="9891"/>
                          </a:cubicBezTo>
                          <a:close/>
                        </a:path>
                      </a:pathLst>
                    </a:custGeom>
                    <a:solidFill>
                      <a:srgbClr val="37384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38" name="Freeform: Shape 1037">
                      <a:extLst>
                        <a:ext uri="{FF2B5EF4-FFF2-40B4-BE49-F238E27FC236}">
                          <a16:creationId xmlns:a16="http://schemas.microsoft.com/office/drawing/2014/main" id="{2C64CEB4-A13E-40A9-9B07-57856C27FEEB}"/>
                        </a:ext>
                      </a:extLst>
                    </p:cNvPr>
                    <p:cNvSpPr/>
                    <p:nvPr/>
                  </p:nvSpPr>
                  <p:spPr>
                    <a:xfrm>
                      <a:off x="5309498" y="10711287"/>
                      <a:ext cx="77517" cy="21401"/>
                    </a:xfrm>
                    <a:custGeom>
                      <a:avLst/>
                      <a:gdLst>
                        <a:gd name="connsiteX0" fmla="*/ 70517 w 77517"/>
                        <a:gd name="connsiteY0" fmla="*/ 12552 h 21401"/>
                        <a:gd name="connsiteX1" fmla="*/ 20648 w 77517"/>
                        <a:gd name="connsiteY1" fmla="*/ 65 h 21401"/>
                        <a:gd name="connsiteX2" fmla="*/ 1730 w 77517"/>
                        <a:gd name="connsiteY2" fmla="*/ 15168 h 21401"/>
                        <a:gd name="connsiteX3" fmla="*/ 0 w 77517"/>
                        <a:gd name="connsiteY3" fmla="*/ 21401 h 21401"/>
                        <a:gd name="connsiteX4" fmla="*/ 77517 w 77517"/>
                        <a:gd name="connsiteY4" fmla="*/ 21401 h 21401"/>
                        <a:gd name="connsiteX5" fmla="*/ 70517 w 77517"/>
                        <a:gd name="connsiteY5" fmla="*/ 12552 h 2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517" h="21401">
                          <a:moveTo>
                            <a:pt x="70517" y="12552"/>
                          </a:moveTo>
                          <a:cubicBezTo>
                            <a:pt x="55159" y="3074"/>
                            <a:pt x="38425" y="-544"/>
                            <a:pt x="20648" y="65"/>
                          </a:cubicBezTo>
                          <a:cubicBezTo>
                            <a:pt x="12389" y="341"/>
                            <a:pt x="4031" y="6987"/>
                            <a:pt x="1730" y="15168"/>
                          </a:cubicBezTo>
                          <a:lnTo>
                            <a:pt x="0" y="21401"/>
                          </a:lnTo>
                          <a:lnTo>
                            <a:pt x="77517" y="21401"/>
                          </a:lnTo>
                          <a:lnTo>
                            <a:pt x="70517" y="12552"/>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020" name="Freeform: Shape 1019">
                    <a:extLst>
                      <a:ext uri="{FF2B5EF4-FFF2-40B4-BE49-F238E27FC236}">
                        <a16:creationId xmlns:a16="http://schemas.microsoft.com/office/drawing/2014/main" id="{714C5C3C-23B1-495F-9E10-14760449F61A}"/>
                      </a:ext>
                    </a:extLst>
                  </p:cNvPr>
                  <p:cNvSpPr/>
                  <p:nvPr/>
                </p:nvSpPr>
                <p:spPr>
                  <a:xfrm>
                    <a:off x="5221296" y="10758562"/>
                    <a:ext cx="63031" cy="187264"/>
                  </a:xfrm>
                  <a:custGeom>
                    <a:avLst/>
                    <a:gdLst>
                      <a:gd name="connsiteX0" fmla="*/ 60711 w 63031"/>
                      <a:gd name="connsiteY0" fmla="*/ 151323 h 187264"/>
                      <a:gd name="connsiteX1" fmla="*/ 63031 w 63031"/>
                      <a:gd name="connsiteY1" fmla="*/ 48832 h 187264"/>
                      <a:gd name="connsiteX2" fmla="*/ 17862 w 63031"/>
                      <a:gd name="connsiteY2" fmla="*/ 988 h 187264"/>
                      <a:gd name="connsiteX3" fmla="*/ 8128 w 63031"/>
                      <a:gd name="connsiteY3" fmla="*/ 171066 h 187264"/>
                      <a:gd name="connsiteX4" fmla="*/ 60711 w 63031"/>
                      <a:gd name="connsiteY4" fmla="*/ 151303 h 187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31" h="187264">
                        <a:moveTo>
                          <a:pt x="60711" y="151323"/>
                        </a:moveTo>
                        <a:lnTo>
                          <a:pt x="63031" y="48832"/>
                        </a:lnTo>
                        <a:cubicBezTo>
                          <a:pt x="62952" y="36502"/>
                          <a:pt x="24764" y="-7075"/>
                          <a:pt x="17862" y="988"/>
                        </a:cubicBezTo>
                        <a:cubicBezTo>
                          <a:pt x="-12127" y="27948"/>
                          <a:pt x="3723" y="140901"/>
                          <a:pt x="8128" y="171066"/>
                        </a:cubicBezTo>
                        <a:cubicBezTo>
                          <a:pt x="15954" y="198026"/>
                          <a:pt x="60200" y="191262"/>
                          <a:pt x="60711" y="151303"/>
                        </a:cubicBez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21" name="Freeform: Shape 1020">
                    <a:extLst>
                      <a:ext uri="{FF2B5EF4-FFF2-40B4-BE49-F238E27FC236}">
                        <a16:creationId xmlns:a16="http://schemas.microsoft.com/office/drawing/2014/main" id="{9587F786-BD04-44BF-A8EA-BBAD7E0822D2}"/>
                      </a:ext>
                    </a:extLst>
                  </p:cNvPr>
                  <p:cNvSpPr/>
                  <p:nvPr/>
                </p:nvSpPr>
                <p:spPr>
                  <a:xfrm>
                    <a:off x="5236994" y="10726140"/>
                    <a:ext cx="228816" cy="269659"/>
                  </a:xfrm>
                  <a:custGeom>
                    <a:avLst/>
                    <a:gdLst>
                      <a:gd name="connsiteX0" fmla="*/ 196016 w 228816"/>
                      <a:gd name="connsiteY0" fmla="*/ 254085 h 269659"/>
                      <a:gd name="connsiteX1" fmla="*/ 228817 w 228816"/>
                      <a:gd name="connsiteY1" fmla="*/ 59701 h 269659"/>
                      <a:gd name="connsiteX2" fmla="*/ 212633 w 228816"/>
                      <a:gd name="connsiteY2" fmla="*/ 29871 h 269659"/>
                      <a:gd name="connsiteX3" fmla="*/ 114409 w 228816"/>
                      <a:gd name="connsiteY3" fmla="*/ 0 h 269659"/>
                      <a:gd name="connsiteX4" fmla="*/ 0 w 228816"/>
                      <a:gd name="connsiteY4" fmla="*/ 39014 h 269659"/>
                      <a:gd name="connsiteX5" fmla="*/ 29241 w 228816"/>
                      <a:gd name="connsiteY5" fmla="*/ 253613 h 269659"/>
                      <a:gd name="connsiteX6" fmla="*/ 44934 w 228816"/>
                      <a:gd name="connsiteY6" fmla="*/ 269659 h 269659"/>
                      <a:gd name="connsiteX7" fmla="*/ 180324 w 228816"/>
                      <a:gd name="connsiteY7" fmla="*/ 269659 h 269659"/>
                      <a:gd name="connsiteX8" fmla="*/ 196016 w 228816"/>
                      <a:gd name="connsiteY8" fmla="*/ 254105 h 26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816" h="269659">
                        <a:moveTo>
                          <a:pt x="196016" y="254085"/>
                        </a:moveTo>
                        <a:cubicBezTo>
                          <a:pt x="196862" y="194639"/>
                          <a:pt x="224844" y="96710"/>
                          <a:pt x="228817" y="59701"/>
                        </a:cubicBezTo>
                        <a:cubicBezTo>
                          <a:pt x="228817" y="54176"/>
                          <a:pt x="223212" y="36537"/>
                          <a:pt x="212633" y="29871"/>
                        </a:cubicBezTo>
                        <a:cubicBezTo>
                          <a:pt x="184139" y="17561"/>
                          <a:pt x="142430" y="0"/>
                          <a:pt x="114409" y="0"/>
                        </a:cubicBezTo>
                        <a:cubicBezTo>
                          <a:pt x="74253" y="0"/>
                          <a:pt x="0" y="20746"/>
                          <a:pt x="0" y="39014"/>
                        </a:cubicBezTo>
                        <a:cubicBezTo>
                          <a:pt x="3422" y="76023"/>
                          <a:pt x="30244" y="192614"/>
                          <a:pt x="29241" y="253613"/>
                        </a:cubicBezTo>
                        <a:cubicBezTo>
                          <a:pt x="29104" y="262423"/>
                          <a:pt x="36124" y="269659"/>
                          <a:pt x="44934" y="269659"/>
                        </a:cubicBezTo>
                        <a:lnTo>
                          <a:pt x="180324" y="269659"/>
                        </a:lnTo>
                        <a:cubicBezTo>
                          <a:pt x="188937" y="269659"/>
                          <a:pt x="195898" y="262718"/>
                          <a:pt x="196016" y="254105"/>
                        </a:cubicBezTo>
                        <a:close/>
                      </a:path>
                    </a:pathLst>
                  </a:custGeom>
                  <a:solidFill>
                    <a:srgbClr val="E0C48B"/>
                  </a:solidFill>
                  <a:ln w="878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22" name="Freeform: Shape 1021">
                    <a:extLst>
                      <a:ext uri="{FF2B5EF4-FFF2-40B4-BE49-F238E27FC236}">
                        <a16:creationId xmlns:a16="http://schemas.microsoft.com/office/drawing/2014/main" id="{87FCDC91-17C8-48FD-8C87-6AA7318EBE21}"/>
                      </a:ext>
                    </a:extLst>
                  </p:cNvPr>
                  <p:cNvSpPr/>
                  <p:nvPr/>
                </p:nvSpPr>
                <p:spPr>
                  <a:xfrm>
                    <a:off x="5538333" y="10907284"/>
                    <a:ext cx="65207" cy="22363"/>
                  </a:xfrm>
                  <a:custGeom>
                    <a:avLst/>
                    <a:gdLst>
                      <a:gd name="connsiteX0" fmla="*/ 0 w 65207"/>
                      <a:gd name="connsiteY0" fmla="*/ 22364 h 22363"/>
                      <a:gd name="connsiteX1" fmla="*/ 12212 w 65207"/>
                      <a:gd name="connsiteY1" fmla="*/ 6868 h 22363"/>
                      <a:gd name="connsiteX2" fmla="*/ 29497 w 65207"/>
                      <a:gd name="connsiteY2" fmla="*/ 595 h 22363"/>
                      <a:gd name="connsiteX3" fmla="*/ 51875 w 65207"/>
                      <a:gd name="connsiteY3" fmla="*/ 7084 h 22363"/>
                      <a:gd name="connsiteX4" fmla="*/ 65208 w 65207"/>
                      <a:gd name="connsiteY4" fmla="*/ 22344 h 22363"/>
                      <a:gd name="connsiteX5" fmla="*/ 0 w 65207"/>
                      <a:gd name="connsiteY5" fmla="*/ 22344 h 2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207" h="22363">
                        <a:moveTo>
                          <a:pt x="0" y="22364"/>
                        </a:moveTo>
                        <a:lnTo>
                          <a:pt x="12212" y="6868"/>
                        </a:lnTo>
                        <a:cubicBezTo>
                          <a:pt x="16715" y="1165"/>
                          <a:pt x="23244" y="-1214"/>
                          <a:pt x="29497" y="595"/>
                        </a:cubicBezTo>
                        <a:lnTo>
                          <a:pt x="51875" y="7084"/>
                        </a:lnTo>
                        <a:cubicBezTo>
                          <a:pt x="58148" y="8913"/>
                          <a:pt x="63222" y="14694"/>
                          <a:pt x="65208" y="22344"/>
                        </a:cubicBezTo>
                        <a:lnTo>
                          <a:pt x="0" y="22344"/>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23" name="Freeform: Shape 1022">
                    <a:extLst>
                      <a:ext uri="{FF2B5EF4-FFF2-40B4-BE49-F238E27FC236}">
                        <a16:creationId xmlns:a16="http://schemas.microsoft.com/office/drawing/2014/main" id="{449E42D7-A717-443C-A779-03A17157471F}"/>
                      </a:ext>
                    </a:extLst>
                  </p:cNvPr>
                  <p:cNvSpPr/>
                  <p:nvPr/>
                </p:nvSpPr>
                <p:spPr>
                  <a:xfrm>
                    <a:off x="5446952" y="10891420"/>
                    <a:ext cx="117928" cy="56260"/>
                  </a:xfrm>
                  <a:custGeom>
                    <a:avLst/>
                    <a:gdLst>
                      <a:gd name="connsiteX0" fmla="*/ 0 w 117928"/>
                      <a:gd name="connsiteY0" fmla="*/ 56260 h 56260"/>
                      <a:gd name="connsiteX1" fmla="*/ 103947 w 117928"/>
                      <a:gd name="connsiteY1" fmla="*/ 36202 h 56260"/>
                      <a:gd name="connsiteX2" fmla="*/ 117928 w 117928"/>
                      <a:gd name="connsiteY2" fmla="*/ 15928 h 56260"/>
                      <a:gd name="connsiteX3" fmla="*/ 14768 w 117928"/>
                      <a:gd name="connsiteY3" fmla="*/ 0 h 56260"/>
                      <a:gd name="connsiteX4" fmla="*/ 0 w 117928"/>
                      <a:gd name="connsiteY4" fmla="*/ 56260 h 562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928" h="56260">
                        <a:moveTo>
                          <a:pt x="0" y="56260"/>
                        </a:moveTo>
                        <a:cubicBezTo>
                          <a:pt x="32604" y="56260"/>
                          <a:pt x="76043" y="43891"/>
                          <a:pt x="103947" y="36202"/>
                        </a:cubicBezTo>
                        <a:lnTo>
                          <a:pt x="117928" y="15928"/>
                        </a:lnTo>
                        <a:lnTo>
                          <a:pt x="14768" y="0"/>
                        </a:lnTo>
                        <a:lnTo>
                          <a:pt x="0" y="5626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24" name="Freeform: Shape 1023">
                    <a:extLst>
                      <a:ext uri="{FF2B5EF4-FFF2-40B4-BE49-F238E27FC236}">
                        <a16:creationId xmlns:a16="http://schemas.microsoft.com/office/drawing/2014/main" id="{51F56D7D-BF9F-4E70-9B67-17F8FB052227}"/>
                      </a:ext>
                    </a:extLst>
                  </p:cNvPr>
                  <p:cNvSpPr/>
                  <p:nvPr/>
                </p:nvSpPr>
                <p:spPr>
                  <a:xfrm>
                    <a:off x="5405388" y="10756030"/>
                    <a:ext cx="69998" cy="191650"/>
                  </a:xfrm>
                  <a:custGeom>
                    <a:avLst/>
                    <a:gdLst>
                      <a:gd name="connsiteX0" fmla="*/ 3926 w 69998"/>
                      <a:gd name="connsiteY0" fmla="*/ 52406 h 191650"/>
                      <a:gd name="connsiteX1" fmla="*/ 44239 w 69998"/>
                      <a:gd name="connsiteY1" fmla="*/ 0 h 191650"/>
                      <a:gd name="connsiteX2" fmla="*/ 69999 w 69998"/>
                      <a:gd name="connsiteY2" fmla="*/ 53861 h 191650"/>
                      <a:gd name="connsiteX3" fmla="*/ 69999 w 69998"/>
                      <a:gd name="connsiteY3" fmla="*/ 140149 h 191650"/>
                      <a:gd name="connsiteX4" fmla="*/ 54150 w 69998"/>
                      <a:gd name="connsiteY4" fmla="*/ 190903 h 191650"/>
                      <a:gd name="connsiteX5" fmla="*/ 16079 w 69998"/>
                      <a:gd name="connsiteY5" fmla="*/ 177984 h 191650"/>
                      <a:gd name="connsiteX6" fmla="*/ 3926 w 69998"/>
                      <a:gd name="connsiteY6" fmla="*/ 52406 h 19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998" h="191650">
                        <a:moveTo>
                          <a:pt x="3926" y="52406"/>
                        </a:moveTo>
                        <a:cubicBezTo>
                          <a:pt x="17023" y="26055"/>
                          <a:pt x="27307" y="15083"/>
                          <a:pt x="44239" y="0"/>
                        </a:cubicBezTo>
                        <a:cubicBezTo>
                          <a:pt x="64002" y="13765"/>
                          <a:pt x="68485" y="30775"/>
                          <a:pt x="69999" y="53861"/>
                        </a:cubicBezTo>
                        <a:lnTo>
                          <a:pt x="69999" y="140149"/>
                        </a:lnTo>
                        <a:cubicBezTo>
                          <a:pt x="69153" y="152872"/>
                          <a:pt x="67167" y="189979"/>
                          <a:pt x="54150" y="190903"/>
                        </a:cubicBezTo>
                        <a:cubicBezTo>
                          <a:pt x="43393" y="191670"/>
                          <a:pt x="21388" y="194876"/>
                          <a:pt x="16079" y="177984"/>
                        </a:cubicBezTo>
                        <a:cubicBezTo>
                          <a:pt x="6620" y="147897"/>
                          <a:pt x="-6712" y="73821"/>
                          <a:pt x="3926" y="52406"/>
                        </a:cubicBez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025" name="Graphic 10">
                    <a:extLst>
                      <a:ext uri="{FF2B5EF4-FFF2-40B4-BE49-F238E27FC236}">
                        <a16:creationId xmlns:a16="http://schemas.microsoft.com/office/drawing/2014/main" id="{680C8A7E-24BF-4756-9B60-F8FA23C7D2FB}"/>
                      </a:ext>
                    </a:extLst>
                  </p:cNvPr>
                  <p:cNvGrpSpPr/>
                  <p:nvPr/>
                </p:nvGrpSpPr>
                <p:grpSpPr>
                  <a:xfrm>
                    <a:off x="5165943" y="10808668"/>
                    <a:ext cx="313672" cy="569566"/>
                    <a:chOff x="5165943" y="10808668"/>
                    <a:chExt cx="313672" cy="569566"/>
                  </a:xfrm>
                </p:grpSpPr>
                <p:sp>
                  <p:nvSpPr>
                    <p:cNvPr id="1030" name="Freeform: Shape 1029">
                      <a:extLst>
                        <a:ext uri="{FF2B5EF4-FFF2-40B4-BE49-F238E27FC236}">
                          <a16:creationId xmlns:a16="http://schemas.microsoft.com/office/drawing/2014/main" id="{759901C8-4DEE-4DE8-B1D7-CDE38E985191}"/>
                        </a:ext>
                      </a:extLst>
                    </p:cNvPr>
                    <p:cNvSpPr/>
                    <p:nvPr/>
                  </p:nvSpPr>
                  <p:spPr>
                    <a:xfrm>
                      <a:off x="5165943" y="10808668"/>
                      <a:ext cx="210477" cy="266635"/>
                    </a:xfrm>
                    <a:custGeom>
                      <a:avLst/>
                      <a:gdLst>
                        <a:gd name="connsiteX0" fmla="*/ 179639 w 210477"/>
                        <a:gd name="connsiteY0" fmla="*/ 27436 h 266635"/>
                        <a:gd name="connsiteX1" fmla="*/ 141785 w 210477"/>
                        <a:gd name="connsiteY1" fmla="*/ 279 h 266635"/>
                        <a:gd name="connsiteX2" fmla="*/ 20259 w 210477"/>
                        <a:gd name="connsiteY2" fmla="*/ 279 h 266635"/>
                        <a:gd name="connsiteX3" fmla="*/ 200 w 210477"/>
                        <a:gd name="connsiteY3" fmla="*/ 23365 h 266635"/>
                        <a:gd name="connsiteX4" fmla="*/ 32214 w 210477"/>
                        <a:gd name="connsiteY4" fmla="*/ 249232 h 266635"/>
                        <a:gd name="connsiteX5" fmla="*/ 52272 w 210477"/>
                        <a:gd name="connsiteY5" fmla="*/ 266635 h 266635"/>
                        <a:gd name="connsiteX6" fmla="*/ 190219 w 210477"/>
                        <a:gd name="connsiteY6" fmla="*/ 266635 h 266635"/>
                        <a:gd name="connsiteX7" fmla="*/ 210277 w 210477"/>
                        <a:gd name="connsiteY7" fmla="*/ 243549 h 266635"/>
                        <a:gd name="connsiteX8" fmla="*/ 179639 w 210477"/>
                        <a:gd name="connsiteY8" fmla="*/ 27436 h 266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477" h="266635">
                          <a:moveTo>
                            <a:pt x="179639" y="27436"/>
                          </a:moveTo>
                          <a:cubicBezTo>
                            <a:pt x="177181" y="10151"/>
                            <a:pt x="160250" y="-2021"/>
                            <a:pt x="141785" y="279"/>
                          </a:cubicBezTo>
                          <a:lnTo>
                            <a:pt x="20259" y="279"/>
                          </a:lnTo>
                          <a:cubicBezTo>
                            <a:pt x="7949" y="279"/>
                            <a:pt x="-1510" y="11173"/>
                            <a:pt x="200" y="23365"/>
                          </a:cubicBezTo>
                          <a:lnTo>
                            <a:pt x="32214" y="249232"/>
                          </a:lnTo>
                          <a:cubicBezTo>
                            <a:pt x="33630" y="259222"/>
                            <a:pt x="42184" y="266635"/>
                            <a:pt x="52272" y="266635"/>
                          </a:cubicBezTo>
                          <a:lnTo>
                            <a:pt x="190219" y="266635"/>
                          </a:lnTo>
                          <a:cubicBezTo>
                            <a:pt x="202529" y="266635"/>
                            <a:pt x="211988" y="255741"/>
                            <a:pt x="210277" y="243549"/>
                          </a:cubicBezTo>
                          <a:lnTo>
                            <a:pt x="179639" y="27436"/>
                          </a:lnTo>
                          <a:close/>
                        </a:path>
                      </a:pathLst>
                    </a:custGeom>
                    <a:solidFill>
                      <a:srgbClr val="8CAD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31" name="Freeform: Shape 1030">
                      <a:extLst>
                        <a:ext uri="{FF2B5EF4-FFF2-40B4-BE49-F238E27FC236}">
                          <a16:creationId xmlns:a16="http://schemas.microsoft.com/office/drawing/2014/main" id="{341D13DD-EE92-4361-BD5D-6B8A0ED3CD98}"/>
                        </a:ext>
                      </a:extLst>
                    </p:cNvPr>
                    <p:cNvSpPr/>
                    <p:nvPr/>
                  </p:nvSpPr>
                  <p:spPr>
                    <a:xfrm>
                      <a:off x="5338640" y="11124228"/>
                      <a:ext cx="23715" cy="187855"/>
                    </a:xfrm>
                    <a:custGeom>
                      <a:avLst/>
                      <a:gdLst>
                        <a:gd name="connsiteX0" fmla="*/ 0 w 23715"/>
                        <a:gd name="connsiteY0" fmla="*/ 0 h 187855"/>
                        <a:gd name="connsiteX1" fmla="*/ 23716 w 23715"/>
                        <a:gd name="connsiteY1" fmla="*/ 0 h 187855"/>
                        <a:gd name="connsiteX2" fmla="*/ 23716 w 23715"/>
                        <a:gd name="connsiteY2" fmla="*/ 187855 h 187855"/>
                        <a:gd name="connsiteX3" fmla="*/ 0 w 23715"/>
                        <a:gd name="connsiteY3" fmla="*/ 187855 h 187855"/>
                      </a:gdLst>
                      <a:ahLst/>
                      <a:cxnLst>
                        <a:cxn ang="0">
                          <a:pos x="connsiteX0" y="connsiteY0"/>
                        </a:cxn>
                        <a:cxn ang="0">
                          <a:pos x="connsiteX1" y="connsiteY1"/>
                        </a:cxn>
                        <a:cxn ang="0">
                          <a:pos x="connsiteX2" y="connsiteY2"/>
                        </a:cxn>
                        <a:cxn ang="0">
                          <a:pos x="connsiteX3" y="connsiteY3"/>
                        </a:cxn>
                      </a:cxnLst>
                      <a:rect l="l" t="t" r="r" b="b"/>
                      <a:pathLst>
                        <a:path w="23715" h="187855">
                          <a:moveTo>
                            <a:pt x="0" y="0"/>
                          </a:moveTo>
                          <a:lnTo>
                            <a:pt x="23716" y="0"/>
                          </a:lnTo>
                          <a:lnTo>
                            <a:pt x="23716" y="187855"/>
                          </a:lnTo>
                          <a:lnTo>
                            <a:pt x="0" y="187855"/>
                          </a:lnTo>
                          <a:close/>
                        </a:path>
                      </a:pathLst>
                    </a:custGeom>
                    <a:solidFill>
                      <a:srgbClr val="525375"/>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32" name="Freeform: Shape 1031">
                      <a:extLst>
                        <a:ext uri="{FF2B5EF4-FFF2-40B4-BE49-F238E27FC236}">
                          <a16:creationId xmlns:a16="http://schemas.microsoft.com/office/drawing/2014/main" id="{4AB9D0DD-A34B-4D1E-821A-D972DF1B4C8D}"/>
                        </a:ext>
                      </a:extLst>
                    </p:cNvPr>
                    <p:cNvSpPr/>
                    <p:nvPr/>
                  </p:nvSpPr>
                  <p:spPr>
                    <a:xfrm>
                      <a:off x="5221400" y="11095617"/>
                      <a:ext cx="258214" cy="31581"/>
                    </a:xfrm>
                    <a:custGeom>
                      <a:avLst/>
                      <a:gdLst>
                        <a:gd name="connsiteX0" fmla="*/ 241362 w 258214"/>
                        <a:gd name="connsiteY0" fmla="*/ 0 h 31581"/>
                        <a:gd name="connsiteX1" fmla="*/ 15791 w 258214"/>
                        <a:gd name="connsiteY1" fmla="*/ 0 h 31581"/>
                        <a:gd name="connsiteX2" fmla="*/ 0 w 258214"/>
                        <a:gd name="connsiteY2" fmla="*/ 15791 h 31581"/>
                        <a:gd name="connsiteX3" fmla="*/ 15791 w 258214"/>
                        <a:gd name="connsiteY3" fmla="*/ 31581 h 31581"/>
                        <a:gd name="connsiteX4" fmla="*/ 241362 w 258214"/>
                        <a:gd name="connsiteY4" fmla="*/ 31581 h 31581"/>
                        <a:gd name="connsiteX5" fmla="*/ 258215 w 258214"/>
                        <a:gd name="connsiteY5" fmla="*/ 15791 h 31581"/>
                        <a:gd name="connsiteX6" fmla="*/ 241362 w 258214"/>
                        <a:gd name="connsiteY6" fmla="*/ 0 h 31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214" h="31581">
                          <a:moveTo>
                            <a:pt x="241362" y="0"/>
                          </a:moveTo>
                          <a:lnTo>
                            <a:pt x="15791" y="0"/>
                          </a:lnTo>
                          <a:cubicBezTo>
                            <a:pt x="7060" y="0"/>
                            <a:pt x="0" y="7079"/>
                            <a:pt x="0" y="15791"/>
                          </a:cubicBezTo>
                          <a:cubicBezTo>
                            <a:pt x="0" y="24502"/>
                            <a:pt x="7079" y="31581"/>
                            <a:pt x="15791" y="31581"/>
                          </a:cubicBezTo>
                          <a:lnTo>
                            <a:pt x="241362" y="31581"/>
                          </a:lnTo>
                          <a:cubicBezTo>
                            <a:pt x="250664" y="31581"/>
                            <a:pt x="258215" y="24502"/>
                            <a:pt x="258215" y="15791"/>
                          </a:cubicBezTo>
                          <a:cubicBezTo>
                            <a:pt x="258215" y="7079"/>
                            <a:pt x="250664" y="0"/>
                            <a:pt x="241362" y="0"/>
                          </a:cubicBezTo>
                          <a:close/>
                        </a:path>
                      </a:pathLst>
                    </a:custGeom>
                    <a:solidFill>
                      <a:srgbClr val="8CAD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33" name="Freeform: Shape 1032">
                      <a:extLst>
                        <a:ext uri="{FF2B5EF4-FFF2-40B4-BE49-F238E27FC236}">
                          <a16:creationId xmlns:a16="http://schemas.microsoft.com/office/drawing/2014/main" id="{EEC064FA-C37F-46AD-ABF1-2BC0543E42EC}"/>
                        </a:ext>
                      </a:extLst>
                    </p:cNvPr>
                    <p:cNvSpPr/>
                    <p:nvPr/>
                  </p:nvSpPr>
                  <p:spPr>
                    <a:xfrm>
                      <a:off x="5333960" y="11237496"/>
                      <a:ext cx="33056" cy="112225"/>
                    </a:xfrm>
                    <a:custGeom>
                      <a:avLst/>
                      <a:gdLst>
                        <a:gd name="connsiteX0" fmla="*/ 0 w 33056"/>
                        <a:gd name="connsiteY0" fmla="*/ 0 h 112225"/>
                        <a:gd name="connsiteX1" fmla="*/ 33056 w 33056"/>
                        <a:gd name="connsiteY1" fmla="*/ 0 h 112225"/>
                        <a:gd name="connsiteX2" fmla="*/ 33056 w 33056"/>
                        <a:gd name="connsiteY2" fmla="*/ 112225 h 112225"/>
                        <a:gd name="connsiteX3" fmla="*/ 0 w 33056"/>
                        <a:gd name="connsiteY3" fmla="*/ 112225 h 112225"/>
                      </a:gdLst>
                      <a:ahLst/>
                      <a:cxnLst>
                        <a:cxn ang="0">
                          <a:pos x="connsiteX0" y="connsiteY0"/>
                        </a:cxn>
                        <a:cxn ang="0">
                          <a:pos x="connsiteX1" y="connsiteY1"/>
                        </a:cxn>
                        <a:cxn ang="0">
                          <a:pos x="connsiteX2" y="connsiteY2"/>
                        </a:cxn>
                        <a:cxn ang="0">
                          <a:pos x="connsiteX3" y="connsiteY3"/>
                        </a:cxn>
                      </a:cxnLst>
                      <a:rect l="l" t="t" r="r" b="b"/>
                      <a:pathLst>
                        <a:path w="33056" h="112225">
                          <a:moveTo>
                            <a:pt x="0" y="0"/>
                          </a:moveTo>
                          <a:lnTo>
                            <a:pt x="33056" y="0"/>
                          </a:lnTo>
                          <a:lnTo>
                            <a:pt x="33056" y="112225"/>
                          </a:lnTo>
                          <a:lnTo>
                            <a:pt x="0" y="112225"/>
                          </a:lnTo>
                          <a:close/>
                        </a:path>
                      </a:pathLst>
                    </a:custGeom>
                    <a:solidFill>
                      <a:srgbClr val="CCDB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34" name="Freeform: Shape 1033">
                      <a:extLst>
                        <a:ext uri="{FF2B5EF4-FFF2-40B4-BE49-F238E27FC236}">
                          <a16:creationId xmlns:a16="http://schemas.microsoft.com/office/drawing/2014/main" id="{256523E8-9DD5-414C-A3A9-0964D11E9576}"/>
                        </a:ext>
                      </a:extLst>
                    </p:cNvPr>
                    <p:cNvSpPr/>
                    <p:nvPr/>
                  </p:nvSpPr>
                  <p:spPr>
                    <a:xfrm>
                      <a:off x="5259569" y="11349741"/>
                      <a:ext cx="181838" cy="28493"/>
                    </a:xfrm>
                    <a:custGeom>
                      <a:avLst/>
                      <a:gdLst>
                        <a:gd name="connsiteX0" fmla="*/ 181838 w 181838"/>
                        <a:gd name="connsiteY0" fmla="*/ 28494 h 28493"/>
                        <a:gd name="connsiteX1" fmla="*/ 0 w 181838"/>
                        <a:gd name="connsiteY1" fmla="*/ 28494 h 28493"/>
                        <a:gd name="connsiteX2" fmla="*/ 28494 w 181838"/>
                        <a:gd name="connsiteY2" fmla="*/ 0 h 28493"/>
                        <a:gd name="connsiteX3" fmla="*/ 153344 w 181838"/>
                        <a:gd name="connsiteY3" fmla="*/ 0 h 28493"/>
                        <a:gd name="connsiteX4" fmla="*/ 181838 w 181838"/>
                        <a:gd name="connsiteY4" fmla="*/ 28494 h 28493"/>
                        <a:gd name="connsiteX5" fmla="*/ 181838 w 181838"/>
                        <a:gd name="connsiteY5" fmla="*/ 28494 h 2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838" h="28493">
                          <a:moveTo>
                            <a:pt x="181838" y="28494"/>
                          </a:moveTo>
                          <a:lnTo>
                            <a:pt x="0" y="28494"/>
                          </a:lnTo>
                          <a:cubicBezTo>
                            <a:pt x="0" y="12762"/>
                            <a:pt x="12762" y="0"/>
                            <a:pt x="28494" y="0"/>
                          </a:cubicBezTo>
                          <a:lnTo>
                            <a:pt x="153344" y="0"/>
                          </a:lnTo>
                          <a:cubicBezTo>
                            <a:pt x="169075" y="0"/>
                            <a:pt x="181838" y="12762"/>
                            <a:pt x="181838" y="28494"/>
                          </a:cubicBezTo>
                          <a:lnTo>
                            <a:pt x="181838" y="28494"/>
                          </a:lnTo>
                          <a:close/>
                        </a:path>
                      </a:pathLst>
                    </a:custGeom>
                    <a:solidFill>
                      <a:srgbClr val="8CAD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1026" name="Graphic 10">
                    <a:extLst>
                      <a:ext uri="{FF2B5EF4-FFF2-40B4-BE49-F238E27FC236}">
                        <a16:creationId xmlns:a16="http://schemas.microsoft.com/office/drawing/2014/main" id="{92841940-82DD-4BE2-AB59-EA7C470B5E22}"/>
                      </a:ext>
                    </a:extLst>
                  </p:cNvPr>
                  <p:cNvGrpSpPr/>
                  <p:nvPr/>
                </p:nvGrpSpPr>
                <p:grpSpPr>
                  <a:xfrm>
                    <a:off x="5308219" y="10601231"/>
                    <a:ext cx="101822" cy="47784"/>
                    <a:chOff x="5308219" y="10601231"/>
                    <a:chExt cx="101822" cy="47784"/>
                  </a:xfrm>
                </p:grpSpPr>
                <p:sp>
                  <p:nvSpPr>
                    <p:cNvPr id="1027" name="Freeform: Shape 1026">
                      <a:extLst>
                        <a:ext uri="{FF2B5EF4-FFF2-40B4-BE49-F238E27FC236}">
                          <a16:creationId xmlns:a16="http://schemas.microsoft.com/office/drawing/2014/main" id="{65808D98-2624-4B60-BCDD-8682277424E9}"/>
                        </a:ext>
                      </a:extLst>
                    </p:cNvPr>
                    <p:cNvSpPr/>
                    <p:nvPr/>
                  </p:nvSpPr>
                  <p:spPr>
                    <a:xfrm>
                      <a:off x="5311995" y="10601231"/>
                      <a:ext cx="90712" cy="39761"/>
                    </a:xfrm>
                    <a:custGeom>
                      <a:avLst/>
                      <a:gdLst>
                        <a:gd name="connsiteX0" fmla="*/ 0 w 90712"/>
                        <a:gd name="connsiteY0" fmla="*/ 39762 h 39761"/>
                        <a:gd name="connsiteX1" fmla="*/ 39762 w 90712"/>
                        <a:gd name="connsiteY1" fmla="*/ 0 h 39761"/>
                        <a:gd name="connsiteX2" fmla="*/ 90712 w 90712"/>
                        <a:gd name="connsiteY2" fmla="*/ 39762 h 39761"/>
                        <a:gd name="connsiteX3" fmla="*/ 0 w 90712"/>
                        <a:gd name="connsiteY3" fmla="*/ 39762 h 39761"/>
                      </a:gdLst>
                      <a:ahLst/>
                      <a:cxnLst>
                        <a:cxn ang="0">
                          <a:pos x="connsiteX0" y="connsiteY0"/>
                        </a:cxn>
                        <a:cxn ang="0">
                          <a:pos x="connsiteX1" y="connsiteY1"/>
                        </a:cxn>
                        <a:cxn ang="0">
                          <a:pos x="connsiteX2" y="connsiteY2"/>
                        </a:cxn>
                        <a:cxn ang="0">
                          <a:pos x="connsiteX3" y="connsiteY3"/>
                        </a:cxn>
                      </a:cxnLst>
                      <a:rect l="l" t="t" r="r" b="b"/>
                      <a:pathLst>
                        <a:path w="90712" h="39761">
                          <a:moveTo>
                            <a:pt x="0" y="39762"/>
                          </a:moveTo>
                          <a:cubicBezTo>
                            <a:pt x="0" y="17796"/>
                            <a:pt x="17796" y="0"/>
                            <a:pt x="39762" y="0"/>
                          </a:cubicBezTo>
                          <a:cubicBezTo>
                            <a:pt x="70301" y="0"/>
                            <a:pt x="90712" y="17796"/>
                            <a:pt x="90712" y="39762"/>
                          </a:cubicBezTo>
                          <a:lnTo>
                            <a:pt x="0" y="39762"/>
                          </a:ln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28" name="Freeform: Shape 1027">
                      <a:extLst>
                        <a:ext uri="{FF2B5EF4-FFF2-40B4-BE49-F238E27FC236}">
                          <a16:creationId xmlns:a16="http://schemas.microsoft.com/office/drawing/2014/main" id="{27E1ADA9-86B2-449C-AC73-40D98F50664A}"/>
                        </a:ext>
                      </a:extLst>
                    </p:cNvPr>
                    <p:cNvSpPr/>
                    <p:nvPr/>
                  </p:nvSpPr>
                  <p:spPr>
                    <a:xfrm>
                      <a:off x="5362548" y="10609097"/>
                      <a:ext cx="38605" cy="31895"/>
                    </a:xfrm>
                    <a:custGeom>
                      <a:avLst/>
                      <a:gdLst>
                        <a:gd name="connsiteX0" fmla="*/ 890 w 38605"/>
                        <a:gd name="connsiteY0" fmla="*/ 31896 h 31895"/>
                        <a:gd name="connsiteX1" fmla="*/ 11941 w 38605"/>
                        <a:gd name="connsiteY1" fmla="*/ 0 h 31895"/>
                        <a:gd name="connsiteX2" fmla="*/ 38606 w 38605"/>
                        <a:gd name="connsiteY2" fmla="*/ 31896 h 31895"/>
                        <a:gd name="connsiteX3" fmla="*/ 870 w 38605"/>
                        <a:gd name="connsiteY3" fmla="*/ 31896 h 31895"/>
                      </a:gdLst>
                      <a:ahLst/>
                      <a:cxnLst>
                        <a:cxn ang="0">
                          <a:pos x="connsiteX0" y="connsiteY0"/>
                        </a:cxn>
                        <a:cxn ang="0">
                          <a:pos x="connsiteX1" y="connsiteY1"/>
                        </a:cxn>
                        <a:cxn ang="0">
                          <a:pos x="connsiteX2" y="connsiteY2"/>
                        </a:cxn>
                        <a:cxn ang="0">
                          <a:pos x="connsiteX3" y="connsiteY3"/>
                        </a:cxn>
                      </a:cxnLst>
                      <a:rect l="l" t="t" r="r" b="b"/>
                      <a:pathLst>
                        <a:path w="38605" h="31895">
                          <a:moveTo>
                            <a:pt x="890" y="31896"/>
                          </a:moveTo>
                          <a:cubicBezTo>
                            <a:pt x="-2139" y="14276"/>
                            <a:pt x="2817" y="0"/>
                            <a:pt x="11941" y="0"/>
                          </a:cubicBezTo>
                          <a:cubicBezTo>
                            <a:pt x="24644" y="0"/>
                            <a:pt x="35578" y="14276"/>
                            <a:pt x="38606" y="31896"/>
                          </a:cubicBezTo>
                          <a:lnTo>
                            <a:pt x="870" y="31896"/>
                          </a:ln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29" name="Freeform: Shape 1028">
                      <a:extLst>
                        <a:ext uri="{FF2B5EF4-FFF2-40B4-BE49-F238E27FC236}">
                          <a16:creationId xmlns:a16="http://schemas.microsoft.com/office/drawing/2014/main" id="{F277CE2A-1BF4-479F-A15C-5D6F23D6AE87}"/>
                        </a:ext>
                      </a:extLst>
                    </p:cNvPr>
                    <p:cNvSpPr/>
                    <p:nvPr/>
                  </p:nvSpPr>
                  <p:spPr>
                    <a:xfrm>
                      <a:off x="5308219" y="10640993"/>
                      <a:ext cx="101822" cy="8023"/>
                    </a:xfrm>
                    <a:custGeom>
                      <a:avLst/>
                      <a:gdLst>
                        <a:gd name="connsiteX0" fmla="*/ 97811 w 101822"/>
                        <a:gd name="connsiteY0" fmla="*/ 8023 h 8023"/>
                        <a:gd name="connsiteX1" fmla="*/ 4012 w 101822"/>
                        <a:gd name="connsiteY1" fmla="*/ 8023 h 8023"/>
                        <a:gd name="connsiteX2" fmla="*/ 0 w 101822"/>
                        <a:gd name="connsiteY2" fmla="*/ 4012 h 8023"/>
                        <a:gd name="connsiteX3" fmla="*/ 4012 w 101822"/>
                        <a:gd name="connsiteY3" fmla="*/ 0 h 8023"/>
                        <a:gd name="connsiteX4" fmla="*/ 97811 w 101822"/>
                        <a:gd name="connsiteY4" fmla="*/ 0 h 8023"/>
                        <a:gd name="connsiteX5" fmla="*/ 101823 w 101822"/>
                        <a:gd name="connsiteY5" fmla="*/ 4012 h 8023"/>
                        <a:gd name="connsiteX6" fmla="*/ 97811 w 101822"/>
                        <a:gd name="connsiteY6" fmla="*/ 8023 h 8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822" h="8023">
                          <a:moveTo>
                            <a:pt x="97811" y="8023"/>
                          </a:moveTo>
                          <a:lnTo>
                            <a:pt x="4012" y="8023"/>
                          </a:lnTo>
                          <a:cubicBezTo>
                            <a:pt x="1809" y="8023"/>
                            <a:pt x="0" y="6234"/>
                            <a:pt x="0" y="4012"/>
                          </a:cubicBezTo>
                          <a:cubicBezTo>
                            <a:pt x="0" y="1789"/>
                            <a:pt x="1790" y="0"/>
                            <a:pt x="4012" y="0"/>
                          </a:cubicBezTo>
                          <a:lnTo>
                            <a:pt x="97811" y="0"/>
                          </a:lnTo>
                          <a:cubicBezTo>
                            <a:pt x="100014" y="0"/>
                            <a:pt x="101823" y="1789"/>
                            <a:pt x="101823" y="4012"/>
                          </a:cubicBezTo>
                          <a:cubicBezTo>
                            <a:pt x="101823" y="6234"/>
                            <a:pt x="100034" y="8023"/>
                            <a:pt x="97811" y="8023"/>
                          </a:cubicBez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835" name="Graphic 10">
                  <a:extLst>
                    <a:ext uri="{FF2B5EF4-FFF2-40B4-BE49-F238E27FC236}">
                      <a16:creationId xmlns:a16="http://schemas.microsoft.com/office/drawing/2014/main" id="{9A6FA61C-2E90-41DB-8360-5F0D3205EC74}"/>
                    </a:ext>
                  </a:extLst>
                </p:cNvPr>
                <p:cNvGrpSpPr/>
                <p:nvPr/>
              </p:nvGrpSpPr>
              <p:grpSpPr>
                <a:xfrm>
                  <a:off x="3999857" y="10421435"/>
                  <a:ext cx="283115" cy="956799"/>
                  <a:chOff x="3999857" y="10421435"/>
                  <a:chExt cx="283115" cy="956799"/>
                </a:xfrm>
              </p:grpSpPr>
              <p:sp>
                <p:nvSpPr>
                  <p:cNvPr id="995" name="Freeform: Shape 994">
                    <a:extLst>
                      <a:ext uri="{FF2B5EF4-FFF2-40B4-BE49-F238E27FC236}">
                        <a16:creationId xmlns:a16="http://schemas.microsoft.com/office/drawing/2014/main" id="{E0DAA8B3-AD4F-46AF-AA51-5AF28D5A00E0}"/>
                      </a:ext>
                    </a:extLst>
                  </p:cNvPr>
                  <p:cNvSpPr/>
                  <p:nvPr/>
                </p:nvSpPr>
                <p:spPr>
                  <a:xfrm>
                    <a:off x="4029491" y="10842751"/>
                    <a:ext cx="154153" cy="504276"/>
                  </a:xfrm>
                  <a:custGeom>
                    <a:avLst/>
                    <a:gdLst>
                      <a:gd name="connsiteX0" fmla="*/ 37563 w 154153"/>
                      <a:gd name="connsiteY0" fmla="*/ 59 h 504276"/>
                      <a:gd name="connsiteX1" fmla="*/ 154154 w 154153"/>
                      <a:gd name="connsiteY1" fmla="*/ 0 h 504276"/>
                      <a:gd name="connsiteX2" fmla="*/ 78425 w 154153"/>
                      <a:gd name="connsiteY2" fmla="*/ 244056 h 504276"/>
                      <a:gd name="connsiteX3" fmla="*/ 83204 w 154153"/>
                      <a:gd name="connsiteY3" fmla="*/ 504277 h 504276"/>
                      <a:gd name="connsiteX4" fmla="*/ 47080 w 154153"/>
                      <a:gd name="connsiteY4" fmla="*/ 504277 h 504276"/>
                      <a:gd name="connsiteX5" fmla="*/ 5568 w 154153"/>
                      <a:gd name="connsiteY5" fmla="*/ 294102 h 504276"/>
                      <a:gd name="connsiteX6" fmla="*/ 4546 w 154153"/>
                      <a:gd name="connsiteY6" fmla="*/ 185810 h 504276"/>
                      <a:gd name="connsiteX7" fmla="*/ 37563 w 154153"/>
                      <a:gd name="connsiteY7" fmla="*/ 59 h 50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153" h="504276">
                        <a:moveTo>
                          <a:pt x="37563" y="59"/>
                        </a:moveTo>
                        <a:lnTo>
                          <a:pt x="154154" y="0"/>
                        </a:lnTo>
                        <a:cubicBezTo>
                          <a:pt x="142906" y="75748"/>
                          <a:pt x="106605" y="171022"/>
                          <a:pt x="78425" y="244056"/>
                        </a:cubicBezTo>
                        <a:cubicBezTo>
                          <a:pt x="92387" y="329263"/>
                          <a:pt x="92781" y="404165"/>
                          <a:pt x="83204" y="504277"/>
                        </a:cubicBezTo>
                        <a:lnTo>
                          <a:pt x="47080" y="504277"/>
                        </a:lnTo>
                        <a:lnTo>
                          <a:pt x="5568" y="294102"/>
                        </a:lnTo>
                        <a:cubicBezTo>
                          <a:pt x="-1491" y="258372"/>
                          <a:pt x="-1845" y="221658"/>
                          <a:pt x="4546" y="185810"/>
                        </a:cubicBezTo>
                        <a:lnTo>
                          <a:pt x="37563" y="59"/>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96" name="Freeform: Shape 995">
                    <a:extLst>
                      <a:ext uri="{FF2B5EF4-FFF2-40B4-BE49-F238E27FC236}">
                        <a16:creationId xmlns:a16="http://schemas.microsoft.com/office/drawing/2014/main" id="{1456EA28-998E-484F-AA05-2561BF26139F}"/>
                      </a:ext>
                    </a:extLst>
                  </p:cNvPr>
                  <p:cNvSpPr/>
                  <p:nvPr/>
                </p:nvSpPr>
                <p:spPr>
                  <a:xfrm>
                    <a:off x="4028787" y="11347027"/>
                    <a:ext cx="72247" cy="31207"/>
                  </a:xfrm>
                  <a:custGeom>
                    <a:avLst/>
                    <a:gdLst>
                      <a:gd name="connsiteX0" fmla="*/ 72247 w 72247"/>
                      <a:gd name="connsiteY0" fmla="*/ 0 h 31207"/>
                      <a:gd name="connsiteX1" fmla="*/ 47922 w 72247"/>
                      <a:gd name="connsiteY1" fmla="*/ 0 h 31207"/>
                      <a:gd name="connsiteX2" fmla="*/ 22162 w 72247"/>
                      <a:gd name="connsiteY2" fmla="*/ 17364 h 31207"/>
                      <a:gd name="connsiteX3" fmla="*/ 629 w 72247"/>
                      <a:gd name="connsiteY3" fmla="*/ 20884 h 31207"/>
                      <a:gd name="connsiteX4" fmla="*/ 0 w 72247"/>
                      <a:gd name="connsiteY4" fmla="*/ 31208 h 31207"/>
                      <a:gd name="connsiteX5" fmla="*/ 70301 w 72247"/>
                      <a:gd name="connsiteY5" fmla="*/ 31208 h 31207"/>
                      <a:gd name="connsiteX6" fmla="*/ 72247 w 72247"/>
                      <a:gd name="connsiteY6" fmla="*/ 0 h 3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247" h="31207">
                        <a:moveTo>
                          <a:pt x="72247" y="0"/>
                        </a:moveTo>
                        <a:lnTo>
                          <a:pt x="47922" y="0"/>
                        </a:lnTo>
                        <a:lnTo>
                          <a:pt x="22162" y="17364"/>
                        </a:lnTo>
                        <a:lnTo>
                          <a:pt x="629" y="20884"/>
                        </a:lnTo>
                        <a:lnTo>
                          <a:pt x="0" y="31208"/>
                        </a:lnTo>
                        <a:lnTo>
                          <a:pt x="70301" y="31208"/>
                        </a:lnTo>
                        <a:lnTo>
                          <a:pt x="72247"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97" name="Freeform: Shape 996">
                    <a:extLst>
                      <a:ext uri="{FF2B5EF4-FFF2-40B4-BE49-F238E27FC236}">
                        <a16:creationId xmlns:a16="http://schemas.microsoft.com/office/drawing/2014/main" id="{28588D7F-BEDF-46BA-A4BA-CA20CB8878F0}"/>
                      </a:ext>
                    </a:extLst>
                  </p:cNvPr>
                  <p:cNvSpPr/>
                  <p:nvPr/>
                </p:nvSpPr>
                <p:spPr>
                  <a:xfrm>
                    <a:off x="4001689" y="10581999"/>
                    <a:ext cx="108960" cy="185770"/>
                  </a:xfrm>
                  <a:custGeom>
                    <a:avLst/>
                    <a:gdLst>
                      <a:gd name="connsiteX0" fmla="*/ 2851 w 108960"/>
                      <a:gd name="connsiteY0" fmla="*/ 177099 h 185770"/>
                      <a:gd name="connsiteX1" fmla="*/ 30952 w 108960"/>
                      <a:gd name="connsiteY1" fmla="*/ 185771 h 185770"/>
                      <a:gd name="connsiteX2" fmla="*/ 108961 w 108960"/>
                      <a:gd name="connsiteY2" fmla="*/ 38975 h 185770"/>
                      <a:gd name="connsiteX3" fmla="*/ 55080 w 108960"/>
                      <a:gd name="connsiteY3" fmla="*/ 0 h 185770"/>
                      <a:gd name="connsiteX4" fmla="*/ 0 w 108960"/>
                      <a:gd name="connsiteY4" fmla="*/ 165772 h 185770"/>
                      <a:gd name="connsiteX5" fmla="*/ 2851 w 108960"/>
                      <a:gd name="connsiteY5" fmla="*/ 177099 h 185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960" h="185770">
                        <a:moveTo>
                          <a:pt x="2851" y="177099"/>
                        </a:moveTo>
                        <a:lnTo>
                          <a:pt x="30952" y="185771"/>
                        </a:lnTo>
                        <a:cubicBezTo>
                          <a:pt x="30952" y="185771"/>
                          <a:pt x="86838" y="89257"/>
                          <a:pt x="108961" y="38975"/>
                        </a:cubicBezTo>
                        <a:lnTo>
                          <a:pt x="55080" y="0"/>
                        </a:lnTo>
                        <a:cubicBezTo>
                          <a:pt x="25151" y="17088"/>
                          <a:pt x="13883" y="112068"/>
                          <a:pt x="0" y="165772"/>
                        </a:cubicBezTo>
                        <a:lnTo>
                          <a:pt x="2851" y="177099"/>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98" name="Freeform: Shape 997">
                    <a:extLst>
                      <a:ext uri="{FF2B5EF4-FFF2-40B4-BE49-F238E27FC236}">
                        <a16:creationId xmlns:a16="http://schemas.microsoft.com/office/drawing/2014/main" id="{88E28F8F-CEAA-413F-AC4F-FAACC4604461}"/>
                      </a:ext>
                    </a:extLst>
                  </p:cNvPr>
                  <p:cNvSpPr/>
                  <p:nvPr/>
                </p:nvSpPr>
                <p:spPr>
                  <a:xfrm>
                    <a:off x="4104338" y="10842809"/>
                    <a:ext cx="115276" cy="504217"/>
                  </a:xfrm>
                  <a:custGeom>
                    <a:avLst/>
                    <a:gdLst>
                      <a:gd name="connsiteX0" fmla="*/ 112048 w 115276"/>
                      <a:gd name="connsiteY0" fmla="*/ 0 h 504217"/>
                      <a:gd name="connsiteX1" fmla="*/ 111813 w 115276"/>
                      <a:gd name="connsiteY1" fmla="*/ 232199 h 504217"/>
                      <a:gd name="connsiteX2" fmla="*/ 99325 w 115276"/>
                      <a:gd name="connsiteY2" fmla="*/ 504218 h 504217"/>
                      <a:gd name="connsiteX3" fmla="*/ 63202 w 115276"/>
                      <a:gd name="connsiteY3" fmla="*/ 504218 h 504217"/>
                      <a:gd name="connsiteX4" fmla="*/ 23932 w 115276"/>
                      <a:gd name="connsiteY4" fmla="*/ 240005 h 504217"/>
                      <a:gd name="connsiteX5" fmla="*/ 0 w 115276"/>
                      <a:gd name="connsiteY5" fmla="*/ 20 h 504217"/>
                      <a:gd name="connsiteX6" fmla="*/ 112048 w 115276"/>
                      <a:gd name="connsiteY6" fmla="*/ 20 h 50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276" h="504217">
                        <a:moveTo>
                          <a:pt x="112048" y="0"/>
                        </a:moveTo>
                        <a:cubicBezTo>
                          <a:pt x="118479" y="74293"/>
                          <a:pt x="113622" y="157395"/>
                          <a:pt x="111813" y="232199"/>
                        </a:cubicBezTo>
                        <a:cubicBezTo>
                          <a:pt x="109748" y="318467"/>
                          <a:pt x="116867" y="403595"/>
                          <a:pt x="99325" y="504218"/>
                        </a:cubicBezTo>
                        <a:lnTo>
                          <a:pt x="63202" y="504218"/>
                        </a:lnTo>
                        <a:lnTo>
                          <a:pt x="23932" y="240005"/>
                        </a:lnTo>
                        <a:lnTo>
                          <a:pt x="0" y="20"/>
                        </a:lnTo>
                        <a:lnTo>
                          <a:pt x="112048" y="20"/>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99" name="Freeform: Shape 998">
                    <a:extLst>
                      <a:ext uri="{FF2B5EF4-FFF2-40B4-BE49-F238E27FC236}">
                        <a16:creationId xmlns:a16="http://schemas.microsoft.com/office/drawing/2014/main" id="{519B2C59-1545-4DFB-8A73-41789F10F8A8}"/>
                      </a:ext>
                    </a:extLst>
                  </p:cNvPr>
                  <p:cNvSpPr/>
                  <p:nvPr/>
                </p:nvSpPr>
                <p:spPr>
                  <a:xfrm>
                    <a:off x="4126638" y="11347027"/>
                    <a:ext cx="74233" cy="31207"/>
                  </a:xfrm>
                  <a:custGeom>
                    <a:avLst/>
                    <a:gdLst>
                      <a:gd name="connsiteX0" fmla="*/ 72247 w 74233"/>
                      <a:gd name="connsiteY0" fmla="*/ 0 h 31207"/>
                      <a:gd name="connsiteX1" fmla="*/ 47922 w 74233"/>
                      <a:gd name="connsiteY1" fmla="*/ 0 h 31207"/>
                      <a:gd name="connsiteX2" fmla="*/ 22162 w 74233"/>
                      <a:gd name="connsiteY2" fmla="*/ 17364 h 31207"/>
                      <a:gd name="connsiteX3" fmla="*/ 649 w 74233"/>
                      <a:gd name="connsiteY3" fmla="*/ 20884 h 31207"/>
                      <a:gd name="connsiteX4" fmla="*/ 0 w 74233"/>
                      <a:gd name="connsiteY4" fmla="*/ 31208 h 31207"/>
                      <a:gd name="connsiteX5" fmla="*/ 74234 w 74233"/>
                      <a:gd name="connsiteY5" fmla="*/ 31208 h 31207"/>
                      <a:gd name="connsiteX6" fmla="*/ 72247 w 74233"/>
                      <a:gd name="connsiteY6" fmla="*/ 0 h 3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233" h="31207">
                        <a:moveTo>
                          <a:pt x="72247" y="0"/>
                        </a:moveTo>
                        <a:lnTo>
                          <a:pt x="47922" y="0"/>
                        </a:lnTo>
                        <a:lnTo>
                          <a:pt x="22162" y="17364"/>
                        </a:lnTo>
                        <a:lnTo>
                          <a:pt x="649" y="20884"/>
                        </a:lnTo>
                        <a:lnTo>
                          <a:pt x="0" y="31208"/>
                        </a:lnTo>
                        <a:lnTo>
                          <a:pt x="74234" y="31208"/>
                        </a:lnTo>
                        <a:lnTo>
                          <a:pt x="72247"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00" name="Freeform: Shape 999">
                    <a:extLst>
                      <a:ext uri="{FF2B5EF4-FFF2-40B4-BE49-F238E27FC236}">
                        <a16:creationId xmlns:a16="http://schemas.microsoft.com/office/drawing/2014/main" id="{61D28CE0-78CE-4BAF-901B-0AD6CC6906F3}"/>
                      </a:ext>
                    </a:extLst>
                  </p:cNvPr>
                  <p:cNvSpPr/>
                  <p:nvPr/>
                </p:nvSpPr>
                <p:spPr>
                  <a:xfrm>
                    <a:off x="4053289" y="10562281"/>
                    <a:ext cx="195019" cy="339856"/>
                  </a:xfrm>
                  <a:custGeom>
                    <a:avLst/>
                    <a:gdLst>
                      <a:gd name="connsiteX0" fmla="*/ 3481 w 195019"/>
                      <a:gd name="connsiteY0" fmla="*/ 19698 h 339856"/>
                      <a:gd name="connsiteX1" fmla="*/ 194915 w 195019"/>
                      <a:gd name="connsiteY1" fmla="*/ 19698 h 339856"/>
                      <a:gd name="connsiteX2" fmla="*/ 171573 w 195019"/>
                      <a:gd name="connsiteY2" fmla="*/ 339856 h 339856"/>
                      <a:gd name="connsiteX3" fmla="*/ 0 w 195019"/>
                      <a:gd name="connsiteY3" fmla="*/ 339856 h 339856"/>
                      <a:gd name="connsiteX4" fmla="*/ 3500 w 195019"/>
                      <a:gd name="connsiteY4" fmla="*/ 19698 h 339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019" h="339856">
                        <a:moveTo>
                          <a:pt x="3481" y="19698"/>
                        </a:moveTo>
                        <a:cubicBezTo>
                          <a:pt x="56654" y="-4705"/>
                          <a:pt x="136786" y="-8363"/>
                          <a:pt x="194915" y="19698"/>
                        </a:cubicBezTo>
                        <a:cubicBezTo>
                          <a:pt x="196842" y="79459"/>
                          <a:pt x="171573" y="339856"/>
                          <a:pt x="171573" y="339856"/>
                        </a:cubicBezTo>
                        <a:lnTo>
                          <a:pt x="0" y="339856"/>
                        </a:lnTo>
                        <a:cubicBezTo>
                          <a:pt x="0" y="339856"/>
                          <a:pt x="1750" y="55389"/>
                          <a:pt x="3500" y="19698"/>
                        </a:cubicBezTo>
                        <a:close/>
                      </a:path>
                    </a:pathLst>
                  </a:custGeom>
                  <a:solidFill>
                    <a:srgbClr val="E0C48B"/>
                  </a:solidFill>
                  <a:ln w="878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01" name="Freeform: Shape 1000">
                    <a:extLst>
                      <a:ext uri="{FF2B5EF4-FFF2-40B4-BE49-F238E27FC236}">
                        <a16:creationId xmlns:a16="http://schemas.microsoft.com/office/drawing/2014/main" id="{1A28E7AF-718E-4540-AAAD-646544BC9335}"/>
                      </a:ext>
                    </a:extLst>
                  </p:cNvPr>
                  <p:cNvSpPr/>
                  <p:nvPr/>
                </p:nvSpPr>
                <p:spPr>
                  <a:xfrm>
                    <a:off x="4030122" y="10625595"/>
                    <a:ext cx="139523" cy="171828"/>
                  </a:xfrm>
                  <a:custGeom>
                    <a:avLst/>
                    <a:gdLst>
                      <a:gd name="connsiteX0" fmla="*/ 32783 w 139523"/>
                      <a:gd name="connsiteY0" fmla="*/ 171829 h 171828"/>
                      <a:gd name="connsiteX1" fmla="*/ 134212 w 139523"/>
                      <a:gd name="connsiteY1" fmla="*/ 171829 h 171828"/>
                      <a:gd name="connsiteX2" fmla="*/ 139443 w 139523"/>
                      <a:gd name="connsiteY2" fmla="*/ 165614 h 171828"/>
                      <a:gd name="connsiteX3" fmla="*/ 113957 w 139523"/>
                      <a:gd name="connsiteY3" fmla="*/ 6214 h 171828"/>
                      <a:gd name="connsiteX4" fmla="*/ 106741 w 139523"/>
                      <a:gd name="connsiteY4" fmla="*/ 0 h 171828"/>
                      <a:gd name="connsiteX5" fmla="*/ 5311 w 139523"/>
                      <a:gd name="connsiteY5" fmla="*/ 0 h 171828"/>
                      <a:gd name="connsiteX6" fmla="*/ 80 w 139523"/>
                      <a:gd name="connsiteY6" fmla="*/ 6214 h 171828"/>
                      <a:gd name="connsiteX7" fmla="*/ 25565 w 139523"/>
                      <a:gd name="connsiteY7" fmla="*/ 165614 h 171828"/>
                      <a:gd name="connsiteX8" fmla="*/ 32783 w 139523"/>
                      <a:gd name="connsiteY8" fmla="*/ 171829 h 17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523" h="171828">
                        <a:moveTo>
                          <a:pt x="32783" y="171829"/>
                        </a:moveTo>
                        <a:lnTo>
                          <a:pt x="134212" y="171829"/>
                        </a:lnTo>
                        <a:cubicBezTo>
                          <a:pt x="137653" y="171829"/>
                          <a:pt x="139993" y="169036"/>
                          <a:pt x="139443" y="165614"/>
                        </a:cubicBezTo>
                        <a:lnTo>
                          <a:pt x="113957" y="6214"/>
                        </a:lnTo>
                        <a:cubicBezTo>
                          <a:pt x="113407" y="2773"/>
                          <a:pt x="110182" y="0"/>
                          <a:pt x="106741" y="0"/>
                        </a:cubicBezTo>
                        <a:lnTo>
                          <a:pt x="5311" y="0"/>
                        </a:lnTo>
                        <a:cubicBezTo>
                          <a:pt x="1870" y="0"/>
                          <a:pt x="-470" y="2792"/>
                          <a:pt x="80" y="6214"/>
                        </a:cubicBezTo>
                        <a:lnTo>
                          <a:pt x="25565" y="165614"/>
                        </a:lnTo>
                        <a:cubicBezTo>
                          <a:pt x="26116" y="169056"/>
                          <a:pt x="29341" y="171829"/>
                          <a:pt x="32783" y="171829"/>
                        </a:cubicBezTo>
                        <a:close/>
                      </a:path>
                    </a:pathLst>
                  </a:custGeom>
                  <a:solidFill>
                    <a:srgbClr val="B3C9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002" name="Graphic 10">
                    <a:extLst>
                      <a:ext uri="{FF2B5EF4-FFF2-40B4-BE49-F238E27FC236}">
                        <a16:creationId xmlns:a16="http://schemas.microsoft.com/office/drawing/2014/main" id="{6DF69C0F-6BF8-405A-93DE-A9A27A7C20D3}"/>
                      </a:ext>
                    </a:extLst>
                  </p:cNvPr>
                  <p:cNvGrpSpPr/>
                  <p:nvPr/>
                </p:nvGrpSpPr>
                <p:grpSpPr>
                  <a:xfrm>
                    <a:off x="4106231" y="10446442"/>
                    <a:ext cx="75633" cy="135085"/>
                    <a:chOff x="4106231" y="10446442"/>
                    <a:chExt cx="75633" cy="135085"/>
                  </a:xfrm>
                </p:grpSpPr>
                <p:sp>
                  <p:nvSpPr>
                    <p:cNvPr id="1012" name="Freeform: Shape 1011">
                      <a:extLst>
                        <a:ext uri="{FF2B5EF4-FFF2-40B4-BE49-F238E27FC236}">
                          <a16:creationId xmlns:a16="http://schemas.microsoft.com/office/drawing/2014/main" id="{0E5B6BC7-7D65-4B7A-8BD5-500FB1447439}"/>
                        </a:ext>
                      </a:extLst>
                    </p:cNvPr>
                    <p:cNvSpPr/>
                    <p:nvPr/>
                  </p:nvSpPr>
                  <p:spPr>
                    <a:xfrm>
                      <a:off x="4125084" y="10514766"/>
                      <a:ext cx="48315" cy="66761"/>
                    </a:xfrm>
                    <a:custGeom>
                      <a:avLst/>
                      <a:gdLst>
                        <a:gd name="connsiteX0" fmla="*/ 6293 w 48315"/>
                        <a:gd name="connsiteY0" fmla="*/ 14650 h 66761"/>
                        <a:gd name="connsiteX1" fmla="*/ 0 w 48315"/>
                        <a:gd name="connsiteY1" fmla="*/ 66761 h 66761"/>
                        <a:gd name="connsiteX2" fmla="*/ 48316 w 48315"/>
                        <a:gd name="connsiteY2" fmla="*/ 48237 h 66761"/>
                        <a:gd name="connsiteX3" fmla="*/ 36222 w 48315"/>
                        <a:gd name="connsiteY3" fmla="*/ 0 h 66761"/>
                        <a:gd name="connsiteX4" fmla="*/ 6293 w 48315"/>
                        <a:gd name="connsiteY4" fmla="*/ 14650 h 66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15" h="66761">
                          <a:moveTo>
                            <a:pt x="6293" y="14650"/>
                          </a:moveTo>
                          <a:lnTo>
                            <a:pt x="0" y="66761"/>
                          </a:lnTo>
                          <a:lnTo>
                            <a:pt x="48316" y="48237"/>
                          </a:lnTo>
                          <a:lnTo>
                            <a:pt x="36222" y="0"/>
                          </a:lnTo>
                          <a:lnTo>
                            <a:pt x="6293" y="14650"/>
                          </a:lnTo>
                          <a:close/>
                        </a:path>
                      </a:pathLst>
                    </a:custGeom>
                    <a:solidFill>
                      <a:srgbClr val="F4ACC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13" name="Freeform: Shape 1012">
                      <a:extLst>
                        <a:ext uri="{FF2B5EF4-FFF2-40B4-BE49-F238E27FC236}">
                          <a16:creationId xmlns:a16="http://schemas.microsoft.com/office/drawing/2014/main" id="{97829A9A-C845-4412-B2E6-568F6AC71A17}"/>
                        </a:ext>
                      </a:extLst>
                    </p:cNvPr>
                    <p:cNvSpPr/>
                    <p:nvPr/>
                  </p:nvSpPr>
                  <p:spPr>
                    <a:xfrm>
                      <a:off x="4113619" y="10453826"/>
                      <a:ext cx="59760" cy="83097"/>
                    </a:xfrm>
                    <a:custGeom>
                      <a:avLst/>
                      <a:gdLst>
                        <a:gd name="connsiteX0" fmla="*/ 20 w 59760"/>
                        <a:gd name="connsiteY0" fmla="*/ 71304 h 83097"/>
                        <a:gd name="connsiteX1" fmla="*/ 23322 w 59760"/>
                        <a:gd name="connsiteY1" fmla="*/ 80959 h 83097"/>
                        <a:gd name="connsiteX2" fmla="*/ 48041 w 59760"/>
                        <a:gd name="connsiteY2" fmla="*/ 65089 h 83097"/>
                        <a:gd name="connsiteX3" fmla="*/ 59761 w 59760"/>
                        <a:gd name="connsiteY3" fmla="*/ 29910 h 83097"/>
                        <a:gd name="connsiteX4" fmla="*/ 45956 w 59760"/>
                        <a:gd name="connsiteY4" fmla="*/ 0 h 83097"/>
                        <a:gd name="connsiteX5" fmla="*/ 236 w 59760"/>
                        <a:gd name="connsiteY5" fmla="*/ 2812 h 83097"/>
                        <a:gd name="connsiteX6" fmla="*/ 0 w 59760"/>
                        <a:gd name="connsiteY6" fmla="*/ 71304 h 8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60" h="83097">
                          <a:moveTo>
                            <a:pt x="20" y="71304"/>
                          </a:moveTo>
                          <a:cubicBezTo>
                            <a:pt x="-157" y="79543"/>
                            <a:pt x="7945" y="86858"/>
                            <a:pt x="23322" y="80959"/>
                          </a:cubicBezTo>
                          <a:lnTo>
                            <a:pt x="48041" y="65089"/>
                          </a:lnTo>
                          <a:lnTo>
                            <a:pt x="59761" y="29910"/>
                          </a:lnTo>
                          <a:lnTo>
                            <a:pt x="45956" y="0"/>
                          </a:lnTo>
                          <a:lnTo>
                            <a:pt x="236" y="2812"/>
                          </a:lnTo>
                          <a:lnTo>
                            <a:pt x="0" y="71304"/>
                          </a:lnTo>
                          <a:close/>
                        </a:path>
                      </a:pathLst>
                    </a:custGeom>
                    <a:solidFill>
                      <a:srgbClr val="F4ACC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14" name="Freeform: Shape 1013">
                      <a:extLst>
                        <a:ext uri="{FF2B5EF4-FFF2-40B4-BE49-F238E27FC236}">
                          <a16:creationId xmlns:a16="http://schemas.microsoft.com/office/drawing/2014/main" id="{8ADC74F1-E469-43AB-9FBB-5AEE47039567}"/>
                        </a:ext>
                      </a:extLst>
                    </p:cNvPr>
                    <p:cNvSpPr/>
                    <p:nvPr/>
                  </p:nvSpPr>
                  <p:spPr>
                    <a:xfrm>
                      <a:off x="4106231" y="10446442"/>
                      <a:ext cx="75633" cy="76071"/>
                    </a:xfrm>
                    <a:custGeom>
                      <a:avLst/>
                      <a:gdLst>
                        <a:gd name="connsiteX0" fmla="*/ 7919 w 75633"/>
                        <a:gd name="connsiteY0" fmla="*/ 108 h 76071"/>
                        <a:gd name="connsiteX1" fmla="*/ 52007 w 75633"/>
                        <a:gd name="connsiteY1" fmla="*/ 108 h 76071"/>
                        <a:gd name="connsiteX2" fmla="*/ 73697 w 75633"/>
                        <a:gd name="connsiteY2" fmla="*/ 36251 h 76071"/>
                        <a:gd name="connsiteX3" fmla="*/ 65458 w 75633"/>
                        <a:gd name="connsiteY3" fmla="*/ 62641 h 76071"/>
                        <a:gd name="connsiteX4" fmla="*/ 55743 w 75633"/>
                        <a:gd name="connsiteY4" fmla="*/ 76072 h 76071"/>
                        <a:gd name="connsiteX5" fmla="*/ 54760 w 75633"/>
                        <a:gd name="connsiteY5" fmla="*/ 73535 h 76071"/>
                        <a:gd name="connsiteX6" fmla="*/ 55390 w 75633"/>
                        <a:gd name="connsiteY6" fmla="*/ 53202 h 76071"/>
                        <a:gd name="connsiteX7" fmla="*/ 55429 w 75633"/>
                        <a:gd name="connsiteY7" fmla="*/ 53104 h 76071"/>
                        <a:gd name="connsiteX8" fmla="*/ 54150 w 75633"/>
                        <a:gd name="connsiteY8" fmla="*/ 42701 h 76071"/>
                        <a:gd name="connsiteX9" fmla="*/ 45931 w 75633"/>
                        <a:gd name="connsiteY9" fmla="*/ 49190 h 76071"/>
                        <a:gd name="connsiteX10" fmla="*/ 44869 w 75633"/>
                        <a:gd name="connsiteY10" fmla="*/ 53497 h 76071"/>
                        <a:gd name="connsiteX11" fmla="*/ 39795 w 75633"/>
                        <a:gd name="connsiteY11" fmla="*/ 32613 h 76071"/>
                        <a:gd name="connsiteX12" fmla="*/ 20505 w 75633"/>
                        <a:gd name="connsiteY12" fmla="*/ 27461 h 76071"/>
                        <a:gd name="connsiteX13" fmla="*/ 388 w 75633"/>
                        <a:gd name="connsiteY13" fmla="*/ 8859 h 76071"/>
                        <a:gd name="connsiteX14" fmla="*/ 7919 w 75633"/>
                        <a:gd name="connsiteY14" fmla="*/ 127 h 76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33" h="76071">
                          <a:moveTo>
                            <a:pt x="7919" y="108"/>
                          </a:moveTo>
                          <a:lnTo>
                            <a:pt x="52007" y="108"/>
                          </a:lnTo>
                          <a:cubicBezTo>
                            <a:pt x="71632" y="-109"/>
                            <a:pt x="79675" y="14463"/>
                            <a:pt x="73697" y="36251"/>
                          </a:cubicBezTo>
                          <a:lnTo>
                            <a:pt x="65458" y="62641"/>
                          </a:lnTo>
                          <a:cubicBezTo>
                            <a:pt x="63236" y="69759"/>
                            <a:pt x="62783" y="73594"/>
                            <a:pt x="55743" y="76072"/>
                          </a:cubicBezTo>
                          <a:lnTo>
                            <a:pt x="54760" y="73535"/>
                          </a:lnTo>
                          <a:cubicBezTo>
                            <a:pt x="52223" y="66947"/>
                            <a:pt x="52656" y="59711"/>
                            <a:pt x="55390" y="53202"/>
                          </a:cubicBezTo>
                          <a:lnTo>
                            <a:pt x="55429" y="53104"/>
                          </a:lnTo>
                          <a:cubicBezTo>
                            <a:pt x="57356" y="48443"/>
                            <a:pt x="56786" y="43783"/>
                            <a:pt x="54150" y="42701"/>
                          </a:cubicBezTo>
                          <a:cubicBezTo>
                            <a:pt x="51516" y="41620"/>
                            <a:pt x="47838" y="44530"/>
                            <a:pt x="45931" y="49190"/>
                          </a:cubicBezTo>
                          <a:cubicBezTo>
                            <a:pt x="45321" y="50665"/>
                            <a:pt x="44987" y="52140"/>
                            <a:pt x="44869" y="53497"/>
                          </a:cubicBezTo>
                          <a:cubicBezTo>
                            <a:pt x="41349" y="53812"/>
                            <a:pt x="39795" y="46280"/>
                            <a:pt x="39795" y="32613"/>
                          </a:cubicBezTo>
                          <a:lnTo>
                            <a:pt x="20505" y="27461"/>
                          </a:lnTo>
                          <a:cubicBezTo>
                            <a:pt x="11144" y="24964"/>
                            <a:pt x="3613" y="18002"/>
                            <a:pt x="388" y="8859"/>
                          </a:cubicBezTo>
                          <a:cubicBezTo>
                            <a:pt x="-1323" y="4021"/>
                            <a:pt x="2885" y="-856"/>
                            <a:pt x="7919" y="127"/>
                          </a:cubicBezTo>
                          <a:close/>
                        </a:path>
                      </a:pathLst>
                    </a:custGeom>
                    <a:solidFill>
                      <a:srgbClr val="37384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1003" name="Freeform: Shape 1002">
                    <a:extLst>
                      <a:ext uri="{FF2B5EF4-FFF2-40B4-BE49-F238E27FC236}">
                        <a16:creationId xmlns:a16="http://schemas.microsoft.com/office/drawing/2014/main" id="{553C2CC2-387E-4B18-9633-1A1D3489740A}"/>
                      </a:ext>
                    </a:extLst>
                  </p:cNvPr>
                  <p:cNvSpPr/>
                  <p:nvPr/>
                </p:nvSpPr>
                <p:spPr>
                  <a:xfrm>
                    <a:off x="4201074" y="10581979"/>
                    <a:ext cx="81898" cy="185436"/>
                  </a:xfrm>
                  <a:custGeom>
                    <a:avLst/>
                    <a:gdLst>
                      <a:gd name="connsiteX0" fmla="*/ 55074 w 81898"/>
                      <a:gd name="connsiteY0" fmla="*/ 185436 h 185436"/>
                      <a:gd name="connsiteX1" fmla="*/ 81680 w 81898"/>
                      <a:gd name="connsiteY1" fmla="*/ 172930 h 185436"/>
                      <a:gd name="connsiteX2" fmla="*/ 47130 w 81898"/>
                      <a:gd name="connsiteY2" fmla="*/ 0 h 185436"/>
                      <a:gd name="connsiteX3" fmla="*/ 3868 w 81898"/>
                      <a:gd name="connsiteY3" fmla="*/ 91951 h 185436"/>
                      <a:gd name="connsiteX4" fmla="*/ 32125 w 81898"/>
                      <a:gd name="connsiteY4" fmla="*/ 175643 h 185436"/>
                      <a:gd name="connsiteX5" fmla="*/ 55074 w 81898"/>
                      <a:gd name="connsiteY5" fmla="*/ 185436 h 185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898" h="185436">
                        <a:moveTo>
                          <a:pt x="55074" y="185436"/>
                        </a:moveTo>
                        <a:lnTo>
                          <a:pt x="81680" y="172930"/>
                        </a:lnTo>
                        <a:cubicBezTo>
                          <a:pt x="81680" y="172930"/>
                          <a:pt x="86832" y="22457"/>
                          <a:pt x="47130" y="0"/>
                        </a:cubicBezTo>
                        <a:cubicBezTo>
                          <a:pt x="10376" y="14080"/>
                          <a:pt x="-8718" y="54667"/>
                          <a:pt x="3868" y="91951"/>
                        </a:cubicBezTo>
                        <a:lnTo>
                          <a:pt x="32125" y="175643"/>
                        </a:lnTo>
                        <a:lnTo>
                          <a:pt x="55074" y="185436"/>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04" name="Freeform: Shape 1003">
                    <a:extLst>
                      <a:ext uri="{FF2B5EF4-FFF2-40B4-BE49-F238E27FC236}">
                        <a16:creationId xmlns:a16="http://schemas.microsoft.com/office/drawing/2014/main" id="{DC58FF37-FEC8-4DA3-A300-95CADFE3EBE6}"/>
                      </a:ext>
                    </a:extLst>
                  </p:cNvPr>
                  <p:cNvSpPr/>
                  <p:nvPr/>
                </p:nvSpPr>
                <p:spPr>
                  <a:xfrm>
                    <a:off x="4165436" y="10736660"/>
                    <a:ext cx="117318" cy="47434"/>
                  </a:xfrm>
                  <a:custGeom>
                    <a:avLst/>
                    <a:gdLst>
                      <a:gd name="connsiteX0" fmla="*/ 102196 w 117318"/>
                      <a:gd name="connsiteY0" fmla="*/ 0 h 47434"/>
                      <a:gd name="connsiteX1" fmla="*/ 117318 w 117318"/>
                      <a:gd name="connsiteY1" fmla="*/ 18249 h 47434"/>
                      <a:gd name="connsiteX2" fmla="*/ 113661 w 117318"/>
                      <a:gd name="connsiteY2" fmla="*/ 36438 h 47434"/>
                      <a:gd name="connsiteX3" fmla="*/ 95904 w 117318"/>
                      <a:gd name="connsiteY3" fmla="*/ 47372 h 47434"/>
                      <a:gd name="connsiteX4" fmla="*/ 0 w 117318"/>
                      <a:gd name="connsiteY4" fmla="*/ 24305 h 47434"/>
                      <a:gd name="connsiteX5" fmla="*/ 1809 w 117318"/>
                      <a:gd name="connsiteY5" fmla="*/ 5742 h 47434"/>
                      <a:gd name="connsiteX6" fmla="*/ 102196 w 117318"/>
                      <a:gd name="connsiteY6" fmla="*/ 20 h 47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318" h="47434">
                        <a:moveTo>
                          <a:pt x="102196" y="0"/>
                        </a:moveTo>
                        <a:lnTo>
                          <a:pt x="117318" y="18249"/>
                        </a:lnTo>
                        <a:cubicBezTo>
                          <a:pt x="116905" y="25131"/>
                          <a:pt x="115726" y="31247"/>
                          <a:pt x="113661" y="36438"/>
                        </a:cubicBezTo>
                        <a:cubicBezTo>
                          <a:pt x="110810" y="43596"/>
                          <a:pt x="103573" y="48021"/>
                          <a:pt x="95904" y="47372"/>
                        </a:cubicBezTo>
                        <a:cubicBezTo>
                          <a:pt x="66387" y="44855"/>
                          <a:pt x="31955" y="35711"/>
                          <a:pt x="0" y="24305"/>
                        </a:cubicBezTo>
                        <a:lnTo>
                          <a:pt x="1809" y="5742"/>
                        </a:lnTo>
                        <a:lnTo>
                          <a:pt x="102196" y="20"/>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05" name="Freeform: Shape 1004">
                    <a:extLst>
                      <a:ext uri="{FF2B5EF4-FFF2-40B4-BE49-F238E27FC236}">
                        <a16:creationId xmlns:a16="http://schemas.microsoft.com/office/drawing/2014/main" id="{F7A341E8-F66D-4276-83B8-7EBF80CB1258}"/>
                      </a:ext>
                    </a:extLst>
                  </p:cNvPr>
                  <p:cNvSpPr/>
                  <p:nvPr/>
                </p:nvSpPr>
                <p:spPr>
                  <a:xfrm>
                    <a:off x="3999857" y="10745608"/>
                    <a:ext cx="49852" cy="38378"/>
                  </a:xfrm>
                  <a:custGeom>
                    <a:avLst/>
                    <a:gdLst>
                      <a:gd name="connsiteX0" fmla="*/ 1832 w 49852"/>
                      <a:gd name="connsiteY0" fmla="*/ 2143 h 38378"/>
                      <a:gd name="connsiteX1" fmla="*/ 44878 w 49852"/>
                      <a:gd name="connsiteY1" fmla="*/ 0 h 38378"/>
                      <a:gd name="connsiteX2" fmla="*/ 49852 w 49852"/>
                      <a:gd name="connsiteY2" fmla="*/ 12566 h 38378"/>
                      <a:gd name="connsiteX3" fmla="*/ 34908 w 49852"/>
                      <a:gd name="connsiteY3" fmla="*/ 31070 h 38378"/>
                      <a:gd name="connsiteX4" fmla="*/ 7987 w 49852"/>
                      <a:gd name="connsiteY4" fmla="*/ 34550 h 38378"/>
                      <a:gd name="connsiteX5" fmla="*/ 141 w 49852"/>
                      <a:gd name="connsiteY5" fmla="*/ 16420 h 38378"/>
                      <a:gd name="connsiteX6" fmla="*/ 1852 w 49852"/>
                      <a:gd name="connsiteY6" fmla="*/ 2163 h 38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852" h="38378">
                        <a:moveTo>
                          <a:pt x="1832" y="2143"/>
                        </a:moveTo>
                        <a:lnTo>
                          <a:pt x="44878" y="0"/>
                        </a:lnTo>
                        <a:lnTo>
                          <a:pt x="49852" y="12566"/>
                        </a:lnTo>
                        <a:lnTo>
                          <a:pt x="34908" y="31070"/>
                        </a:lnTo>
                        <a:cubicBezTo>
                          <a:pt x="28300" y="39250"/>
                          <a:pt x="16443" y="40784"/>
                          <a:pt x="7987" y="34550"/>
                        </a:cubicBezTo>
                        <a:cubicBezTo>
                          <a:pt x="2304" y="30362"/>
                          <a:pt x="-705" y="23440"/>
                          <a:pt x="141" y="16420"/>
                        </a:cubicBezTo>
                        <a:lnTo>
                          <a:pt x="1852" y="2163"/>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06" name="Freeform: Shape 1005">
                    <a:extLst>
                      <a:ext uri="{FF2B5EF4-FFF2-40B4-BE49-F238E27FC236}">
                        <a16:creationId xmlns:a16="http://schemas.microsoft.com/office/drawing/2014/main" id="{BB8D13AA-E084-4519-ADF6-912850E951F1}"/>
                      </a:ext>
                    </a:extLst>
                  </p:cNvPr>
                  <p:cNvSpPr/>
                  <p:nvPr/>
                </p:nvSpPr>
                <p:spPr>
                  <a:xfrm>
                    <a:off x="4151474" y="10705473"/>
                    <a:ext cx="21926" cy="55178"/>
                  </a:xfrm>
                  <a:custGeom>
                    <a:avLst/>
                    <a:gdLst>
                      <a:gd name="connsiteX0" fmla="*/ 21926 w 21926"/>
                      <a:gd name="connsiteY0" fmla="*/ 47824 h 55178"/>
                      <a:gd name="connsiteX1" fmla="*/ 21926 w 21926"/>
                      <a:gd name="connsiteY1" fmla="*/ 21926 h 55178"/>
                      <a:gd name="connsiteX2" fmla="*/ 0 w 21926"/>
                      <a:gd name="connsiteY2" fmla="*/ 0 h 55178"/>
                      <a:gd name="connsiteX3" fmla="*/ 0 w 21926"/>
                      <a:gd name="connsiteY3" fmla="*/ 22929 h 55178"/>
                      <a:gd name="connsiteX4" fmla="*/ 7217 w 21926"/>
                      <a:gd name="connsiteY4" fmla="*/ 35160 h 55178"/>
                      <a:gd name="connsiteX5" fmla="*/ 7217 w 21926"/>
                      <a:gd name="connsiteY5" fmla="*/ 47824 h 55178"/>
                      <a:gd name="connsiteX6" fmla="*/ 14572 w 21926"/>
                      <a:gd name="connsiteY6" fmla="*/ 55179 h 55178"/>
                      <a:gd name="connsiteX7" fmla="*/ 21926 w 21926"/>
                      <a:gd name="connsiteY7" fmla="*/ 47824 h 55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26" h="55178">
                        <a:moveTo>
                          <a:pt x="21926" y="47824"/>
                        </a:moveTo>
                        <a:lnTo>
                          <a:pt x="21926" y="21926"/>
                        </a:lnTo>
                        <a:lnTo>
                          <a:pt x="0" y="0"/>
                        </a:lnTo>
                        <a:lnTo>
                          <a:pt x="0" y="22929"/>
                        </a:lnTo>
                        <a:lnTo>
                          <a:pt x="7217" y="35160"/>
                        </a:lnTo>
                        <a:lnTo>
                          <a:pt x="7217" y="47824"/>
                        </a:lnTo>
                        <a:cubicBezTo>
                          <a:pt x="7217" y="51875"/>
                          <a:pt x="10501" y="55179"/>
                          <a:pt x="14572" y="55179"/>
                        </a:cubicBezTo>
                        <a:cubicBezTo>
                          <a:pt x="18642" y="55179"/>
                          <a:pt x="21926" y="51895"/>
                          <a:pt x="21926" y="47824"/>
                        </a:cubicBezTo>
                        <a:close/>
                      </a:path>
                    </a:pathLst>
                  </a:custGeom>
                  <a:solidFill>
                    <a:srgbClr val="F4ACC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07" name="Freeform: Shape 1006">
                    <a:extLst>
                      <a:ext uri="{FF2B5EF4-FFF2-40B4-BE49-F238E27FC236}">
                        <a16:creationId xmlns:a16="http://schemas.microsoft.com/office/drawing/2014/main" id="{CFB9BB62-08C1-459F-B008-35EE0A05316E}"/>
                      </a:ext>
                    </a:extLst>
                  </p:cNvPr>
                  <p:cNvSpPr/>
                  <p:nvPr/>
                </p:nvSpPr>
                <p:spPr>
                  <a:xfrm>
                    <a:off x="4033821" y="10703801"/>
                    <a:ext cx="21670" cy="57149"/>
                  </a:xfrm>
                  <a:custGeom>
                    <a:avLst/>
                    <a:gdLst>
                      <a:gd name="connsiteX0" fmla="*/ 5349 w 21670"/>
                      <a:gd name="connsiteY0" fmla="*/ 51324 h 57149"/>
                      <a:gd name="connsiteX1" fmla="*/ 0 w 21670"/>
                      <a:gd name="connsiteY1" fmla="*/ 25977 h 57149"/>
                      <a:gd name="connsiteX2" fmla="*/ 16931 w 21670"/>
                      <a:gd name="connsiteY2" fmla="*/ 0 h 57149"/>
                      <a:gd name="connsiteX3" fmla="*/ 21670 w 21670"/>
                      <a:gd name="connsiteY3" fmla="*/ 22437 h 57149"/>
                      <a:gd name="connsiteX4" fmla="*/ 17128 w 21670"/>
                      <a:gd name="connsiteY4" fmla="*/ 35888 h 57149"/>
                      <a:gd name="connsiteX5" fmla="*/ 19743 w 21670"/>
                      <a:gd name="connsiteY5" fmla="*/ 48276 h 57149"/>
                      <a:gd name="connsiteX6" fmla="*/ 14060 w 21670"/>
                      <a:gd name="connsiteY6" fmla="*/ 56988 h 57149"/>
                      <a:gd name="connsiteX7" fmla="*/ 5349 w 21670"/>
                      <a:gd name="connsiteY7" fmla="*/ 51305 h 5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70" h="57149">
                        <a:moveTo>
                          <a:pt x="5349" y="51324"/>
                        </a:moveTo>
                        <a:lnTo>
                          <a:pt x="0" y="25977"/>
                        </a:lnTo>
                        <a:lnTo>
                          <a:pt x="16931" y="0"/>
                        </a:lnTo>
                        <a:lnTo>
                          <a:pt x="21670" y="22437"/>
                        </a:lnTo>
                        <a:lnTo>
                          <a:pt x="17128" y="35888"/>
                        </a:lnTo>
                        <a:lnTo>
                          <a:pt x="19743" y="48276"/>
                        </a:lnTo>
                        <a:cubicBezTo>
                          <a:pt x="20589" y="52249"/>
                          <a:pt x="18032" y="56142"/>
                          <a:pt x="14060" y="56988"/>
                        </a:cubicBezTo>
                        <a:cubicBezTo>
                          <a:pt x="10088" y="57833"/>
                          <a:pt x="6194" y="55277"/>
                          <a:pt x="5349" y="51305"/>
                        </a:cubicBezTo>
                        <a:close/>
                      </a:path>
                    </a:pathLst>
                  </a:custGeom>
                  <a:solidFill>
                    <a:srgbClr val="F4ACC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008" name="Graphic 10">
                    <a:extLst>
                      <a:ext uri="{FF2B5EF4-FFF2-40B4-BE49-F238E27FC236}">
                        <a16:creationId xmlns:a16="http://schemas.microsoft.com/office/drawing/2014/main" id="{700268DA-B2A4-4AAB-B2BF-6ED15F0F1210}"/>
                      </a:ext>
                    </a:extLst>
                  </p:cNvPr>
                  <p:cNvGrpSpPr/>
                  <p:nvPr/>
                </p:nvGrpSpPr>
                <p:grpSpPr>
                  <a:xfrm>
                    <a:off x="4092429" y="10421435"/>
                    <a:ext cx="97544" cy="60269"/>
                    <a:chOff x="4092429" y="10421435"/>
                    <a:chExt cx="97544" cy="60269"/>
                  </a:xfrm>
                </p:grpSpPr>
                <p:sp>
                  <p:nvSpPr>
                    <p:cNvPr id="1009" name="Freeform: Shape 1008">
                      <a:extLst>
                        <a:ext uri="{FF2B5EF4-FFF2-40B4-BE49-F238E27FC236}">
                          <a16:creationId xmlns:a16="http://schemas.microsoft.com/office/drawing/2014/main" id="{F1FCA648-FD99-4279-9247-CBEEF9458B49}"/>
                        </a:ext>
                      </a:extLst>
                    </p:cNvPr>
                    <p:cNvSpPr/>
                    <p:nvPr/>
                  </p:nvSpPr>
                  <p:spPr>
                    <a:xfrm>
                      <a:off x="4101152" y="10421435"/>
                      <a:ext cx="86458" cy="51838"/>
                    </a:xfrm>
                    <a:custGeom>
                      <a:avLst/>
                      <a:gdLst>
                        <a:gd name="connsiteX0" fmla="*/ 85186 w 86458"/>
                        <a:gd name="connsiteY0" fmla="*/ 51839 h 51838"/>
                        <a:gd name="connsiteX1" fmla="*/ 57637 w 86458"/>
                        <a:gd name="connsiteY1" fmla="*/ 1733 h 51838"/>
                        <a:gd name="connsiteX2" fmla="*/ 0 w 86458"/>
                        <a:gd name="connsiteY2" fmla="*/ 31604 h 51838"/>
                        <a:gd name="connsiteX3" fmla="*/ 85186 w 86458"/>
                        <a:gd name="connsiteY3" fmla="*/ 51839 h 51838"/>
                      </a:gdLst>
                      <a:ahLst/>
                      <a:cxnLst>
                        <a:cxn ang="0">
                          <a:pos x="connsiteX0" y="connsiteY0"/>
                        </a:cxn>
                        <a:cxn ang="0">
                          <a:pos x="connsiteX1" y="connsiteY1"/>
                        </a:cxn>
                        <a:cxn ang="0">
                          <a:pos x="connsiteX2" y="connsiteY2"/>
                        </a:cxn>
                        <a:cxn ang="0">
                          <a:pos x="connsiteX3" y="connsiteY3"/>
                        </a:cxn>
                      </a:cxnLst>
                      <a:rect l="l" t="t" r="r" b="b"/>
                      <a:pathLst>
                        <a:path w="86458" h="51838">
                          <a:moveTo>
                            <a:pt x="85186" y="51839"/>
                          </a:moveTo>
                          <a:cubicBezTo>
                            <a:pt x="90594" y="29067"/>
                            <a:pt x="78265" y="6630"/>
                            <a:pt x="57637" y="1733"/>
                          </a:cubicBezTo>
                          <a:cubicBezTo>
                            <a:pt x="28966" y="-5071"/>
                            <a:pt x="5408" y="8832"/>
                            <a:pt x="0" y="31604"/>
                          </a:cubicBezTo>
                          <a:lnTo>
                            <a:pt x="85186" y="51839"/>
                          </a:ln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10" name="Freeform: Shape 1009">
                      <a:extLst>
                        <a:ext uri="{FF2B5EF4-FFF2-40B4-BE49-F238E27FC236}">
                          <a16:creationId xmlns:a16="http://schemas.microsoft.com/office/drawing/2014/main" id="{E5898389-3412-4293-BFAC-A1AD40A9F52E}"/>
                        </a:ext>
                      </a:extLst>
                    </p:cNvPr>
                    <p:cNvSpPr/>
                    <p:nvPr/>
                  </p:nvSpPr>
                  <p:spPr>
                    <a:xfrm>
                      <a:off x="4144198" y="10434169"/>
                      <a:ext cx="40478" cy="38593"/>
                    </a:xfrm>
                    <a:custGeom>
                      <a:avLst/>
                      <a:gdLst>
                        <a:gd name="connsiteX0" fmla="*/ 39978 w 40478"/>
                        <a:gd name="connsiteY0" fmla="*/ 38594 h 38593"/>
                        <a:gd name="connsiteX1" fmla="*/ 26646 w 40478"/>
                        <a:gd name="connsiteY1" fmla="*/ 484 h 38593"/>
                        <a:gd name="connsiteX2" fmla="*/ 0 w 40478"/>
                        <a:gd name="connsiteY2" fmla="*/ 29096 h 38593"/>
                        <a:gd name="connsiteX3" fmla="*/ 39978 w 40478"/>
                        <a:gd name="connsiteY3" fmla="*/ 38594 h 38593"/>
                      </a:gdLst>
                      <a:ahLst/>
                      <a:cxnLst>
                        <a:cxn ang="0">
                          <a:pos x="connsiteX0" y="connsiteY0"/>
                        </a:cxn>
                        <a:cxn ang="0">
                          <a:pos x="connsiteX1" y="connsiteY1"/>
                        </a:cxn>
                        <a:cxn ang="0">
                          <a:pos x="connsiteX2" y="connsiteY2"/>
                        </a:cxn>
                        <a:cxn ang="0">
                          <a:pos x="connsiteX3" y="connsiteY3"/>
                        </a:cxn>
                      </a:cxnLst>
                      <a:rect l="l" t="t" r="r" b="b"/>
                      <a:pathLst>
                        <a:path w="40478" h="38593">
                          <a:moveTo>
                            <a:pt x="39978" y="38594"/>
                          </a:moveTo>
                          <a:cubicBezTo>
                            <a:pt x="42298" y="19853"/>
                            <a:pt x="36320" y="2785"/>
                            <a:pt x="26646" y="484"/>
                          </a:cubicBezTo>
                          <a:cubicBezTo>
                            <a:pt x="13175" y="-2721"/>
                            <a:pt x="2320" y="10356"/>
                            <a:pt x="0" y="29096"/>
                          </a:cubicBezTo>
                          <a:lnTo>
                            <a:pt x="39978" y="38594"/>
                          </a:ln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011" name="Freeform: Shape 1010">
                      <a:extLst>
                        <a:ext uri="{FF2B5EF4-FFF2-40B4-BE49-F238E27FC236}">
                          <a16:creationId xmlns:a16="http://schemas.microsoft.com/office/drawing/2014/main" id="{448B0FA5-FAB1-462D-A48F-8E9EE1C2B06D}"/>
                        </a:ext>
                      </a:extLst>
                    </p:cNvPr>
                    <p:cNvSpPr/>
                    <p:nvPr/>
                  </p:nvSpPr>
                  <p:spPr>
                    <a:xfrm rot="-9998399">
                      <a:off x="4092070" y="10462069"/>
                      <a:ext cx="98263" cy="8396"/>
                    </a:xfrm>
                    <a:custGeom>
                      <a:avLst/>
                      <a:gdLst>
                        <a:gd name="connsiteX0" fmla="*/ 94232 w 98263"/>
                        <a:gd name="connsiteY0" fmla="*/ 0 h 8396"/>
                        <a:gd name="connsiteX1" fmla="*/ 98263 w 98263"/>
                        <a:gd name="connsiteY1" fmla="*/ 4031 h 8396"/>
                        <a:gd name="connsiteX2" fmla="*/ 98263 w 98263"/>
                        <a:gd name="connsiteY2" fmla="*/ 4366 h 8396"/>
                        <a:gd name="connsiteX3" fmla="*/ 94232 w 98263"/>
                        <a:gd name="connsiteY3" fmla="*/ 8397 h 8396"/>
                        <a:gd name="connsiteX4" fmla="*/ 4031 w 98263"/>
                        <a:gd name="connsiteY4" fmla="*/ 8397 h 8396"/>
                        <a:gd name="connsiteX5" fmla="*/ -1 w 98263"/>
                        <a:gd name="connsiteY5" fmla="*/ 4366 h 8396"/>
                        <a:gd name="connsiteX6" fmla="*/ -1 w 98263"/>
                        <a:gd name="connsiteY6" fmla="*/ 4031 h 8396"/>
                        <a:gd name="connsiteX7" fmla="*/ 4031 w 98263"/>
                        <a:gd name="connsiteY7" fmla="*/ 0 h 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63" h="8396">
                          <a:moveTo>
                            <a:pt x="94232" y="0"/>
                          </a:moveTo>
                          <a:cubicBezTo>
                            <a:pt x="96458" y="0"/>
                            <a:pt x="98263" y="1805"/>
                            <a:pt x="98263" y="4031"/>
                          </a:cubicBezTo>
                          <a:lnTo>
                            <a:pt x="98263" y="4366"/>
                          </a:lnTo>
                          <a:cubicBezTo>
                            <a:pt x="98263" y="6592"/>
                            <a:pt x="96459" y="8397"/>
                            <a:pt x="94232" y="8397"/>
                          </a:cubicBezTo>
                          <a:lnTo>
                            <a:pt x="4031" y="8397"/>
                          </a:lnTo>
                          <a:cubicBezTo>
                            <a:pt x="1805" y="8397"/>
                            <a:pt x="-1" y="6592"/>
                            <a:pt x="-1" y="4366"/>
                          </a:cubicBezTo>
                          <a:lnTo>
                            <a:pt x="-1" y="4031"/>
                          </a:lnTo>
                          <a:cubicBezTo>
                            <a:pt x="-1" y="1805"/>
                            <a:pt x="1804" y="0"/>
                            <a:pt x="4031" y="0"/>
                          </a:cubicBez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836" name="Graphic 10">
                  <a:extLst>
                    <a:ext uri="{FF2B5EF4-FFF2-40B4-BE49-F238E27FC236}">
                      <a16:creationId xmlns:a16="http://schemas.microsoft.com/office/drawing/2014/main" id="{66D08FA6-B34A-4C0B-8BE9-8AC575EF9016}"/>
                    </a:ext>
                  </a:extLst>
                </p:cNvPr>
                <p:cNvGrpSpPr/>
                <p:nvPr/>
              </p:nvGrpSpPr>
              <p:grpSpPr>
                <a:xfrm>
                  <a:off x="3335416" y="10425762"/>
                  <a:ext cx="470906" cy="952473"/>
                  <a:chOff x="3335416" y="10425762"/>
                  <a:chExt cx="470906" cy="952473"/>
                </a:xfrm>
              </p:grpSpPr>
              <p:sp>
                <p:nvSpPr>
                  <p:cNvPr id="975" name="Freeform: Shape 974">
                    <a:extLst>
                      <a:ext uri="{FF2B5EF4-FFF2-40B4-BE49-F238E27FC236}">
                        <a16:creationId xmlns:a16="http://schemas.microsoft.com/office/drawing/2014/main" id="{F51F26EB-E8CF-49B2-A37D-6A41B74809EA}"/>
                      </a:ext>
                    </a:extLst>
                  </p:cNvPr>
                  <p:cNvSpPr/>
                  <p:nvPr/>
                </p:nvSpPr>
                <p:spPr>
                  <a:xfrm>
                    <a:off x="3443453" y="10842751"/>
                    <a:ext cx="195583" cy="504276"/>
                  </a:xfrm>
                  <a:custGeom>
                    <a:avLst/>
                    <a:gdLst>
                      <a:gd name="connsiteX0" fmla="*/ 0 w 195583"/>
                      <a:gd name="connsiteY0" fmla="*/ 20 h 504276"/>
                      <a:gd name="connsiteX1" fmla="*/ 116591 w 195583"/>
                      <a:gd name="connsiteY1" fmla="*/ 78 h 504276"/>
                      <a:gd name="connsiteX2" fmla="*/ 159263 w 195583"/>
                      <a:gd name="connsiteY2" fmla="*/ 240064 h 504276"/>
                      <a:gd name="connsiteX3" fmla="*/ 195583 w 195583"/>
                      <a:gd name="connsiteY3" fmla="*/ 504277 h 504276"/>
                      <a:gd name="connsiteX4" fmla="*/ 152892 w 195583"/>
                      <a:gd name="connsiteY4" fmla="*/ 504277 h 504276"/>
                      <a:gd name="connsiteX5" fmla="*/ 81215 w 195583"/>
                      <a:gd name="connsiteY5" fmla="*/ 242975 h 504276"/>
                      <a:gd name="connsiteX6" fmla="*/ 0 w 195583"/>
                      <a:gd name="connsiteY6" fmla="*/ 0 h 50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583" h="504276">
                        <a:moveTo>
                          <a:pt x="0" y="20"/>
                        </a:moveTo>
                        <a:lnTo>
                          <a:pt x="116591" y="78"/>
                        </a:lnTo>
                        <a:lnTo>
                          <a:pt x="159263" y="240064"/>
                        </a:lnTo>
                        <a:lnTo>
                          <a:pt x="195583" y="504277"/>
                        </a:lnTo>
                        <a:lnTo>
                          <a:pt x="152892" y="504277"/>
                        </a:lnTo>
                        <a:cubicBezTo>
                          <a:pt x="112697" y="403693"/>
                          <a:pt x="93269" y="328299"/>
                          <a:pt x="81215" y="242975"/>
                        </a:cubicBezTo>
                        <a:cubicBezTo>
                          <a:pt x="53153" y="170098"/>
                          <a:pt x="11209" y="75394"/>
                          <a:pt x="0" y="0"/>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976" name="Graphic 10">
                    <a:extLst>
                      <a:ext uri="{FF2B5EF4-FFF2-40B4-BE49-F238E27FC236}">
                        <a16:creationId xmlns:a16="http://schemas.microsoft.com/office/drawing/2014/main" id="{99D51267-5A82-4F95-AA0D-479774263DEC}"/>
                      </a:ext>
                    </a:extLst>
                  </p:cNvPr>
                  <p:cNvGrpSpPr/>
                  <p:nvPr/>
                </p:nvGrpSpPr>
                <p:grpSpPr>
                  <a:xfrm>
                    <a:off x="3516428" y="10581979"/>
                    <a:ext cx="289894" cy="192016"/>
                    <a:chOff x="3516428" y="10581979"/>
                    <a:chExt cx="289894" cy="192016"/>
                  </a:xfrm>
                </p:grpSpPr>
                <p:sp>
                  <p:nvSpPr>
                    <p:cNvPr id="993" name="Freeform: Shape 992">
                      <a:extLst>
                        <a:ext uri="{FF2B5EF4-FFF2-40B4-BE49-F238E27FC236}">
                          <a16:creationId xmlns:a16="http://schemas.microsoft.com/office/drawing/2014/main" id="{087C027B-34F1-42E8-92DD-009D276B34C0}"/>
                        </a:ext>
                      </a:extLst>
                    </p:cNvPr>
                    <p:cNvSpPr/>
                    <p:nvPr/>
                  </p:nvSpPr>
                  <p:spPr>
                    <a:xfrm>
                      <a:off x="3516428" y="10581979"/>
                      <a:ext cx="242011" cy="192016"/>
                    </a:xfrm>
                    <a:custGeom>
                      <a:avLst/>
                      <a:gdLst>
                        <a:gd name="connsiteX0" fmla="*/ 53881 w 242011"/>
                        <a:gd name="connsiteY0" fmla="*/ 0 h 192016"/>
                        <a:gd name="connsiteX1" fmla="*/ 111340 w 242011"/>
                        <a:gd name="connsiteY1" fmla="*/ 138930 h 192016"/>
                        <a:gd name="connsiteX2" fmla="*/ 242011 w 242011"/>
                        <a:gd name="connsiteY2" fmla="*/ 152223 h 192016"/>
                        <a:gd name="connsiteX3" fmla="*/ 241775 w 242011"/>
                        <a:gd name="connsiteY3" fmla="*/ 166578 h 192016"/>
                        <a:gd name="connsiteX4" fmla="*/ 109571 w 242011"/>
                        <a:gd name="connsiteY4" fmla="*/ 191827 h 192016"/>
                        <a:gd name="connsiteX5" fmla="*/ 66014 w 242011"/>
                        <a:gd name="connsiteY5" fmla="*/ 164749 h 192016"/>
                        <a:gd name="connsiteX6" fmla="*/ 0 w 242011"/>
                        <a:gd name="connsiteY6" fmla="*/ 38995 h 192016"/>
                        <a:gd name="connsiteX7" fmla="*/ 53881 w 242011"/>
                        <a:gd name="connsiteY7" fmla="*/ 20 h 192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011" h="192016">
                          <a:moveTo>
                            <a:pt x="53881" y="0"/>
                          </a:moveTo>
                          <a:cubicBezTo>
                            <a:pt x="85383" y="21021"/>
                            <a:pt x="97851" y="89316"/>
                            <a:pt x="111340" y="138930"/>
                          </a:cubicBezTo>
                          <a:lnTo>
                            <a:pt x="242011" y="152223"/>
                          </a:lnTo>
                          <a:lnTo>
                            <a:pt x="241775" y="166578"/>
                          </a:lnTo>
                          <a:cubicBezTo>
                            <a:pt x="215366" y="176764"/>
                            <a:pt x="155133" y="194010"/>
                            <a:pt x="109571" y="191827"/>
                          </a:cubicBezTo>
                          <a:cubicBezTo>
                            <a:pt x="91381" y="190962"/>
                            <a:pt x="74981" y="180599"/>
                            <a:pt x="66014" y="164749"/>
                          </a:cubicBezTo>
                          <a:cubicBezTo>
                            <a:pt x="48336" y="133483"/>
                            <a:pt x="15692" y="74627"/>
                            <a:pt x="0" y="38995"/>
                          </a:cubicBezTo>
                          <a:lnTo>
                            <a:pt x="53881" y="20"/>
                          </a:lnTo>
                          <a:close/>
                        </a:path>
                      </a:pathLst>
                    </a:custGeom>
                    <a:solidFill>
                      <a:srgbClr val="E0C48B"/>
                    </a:solidFill>
                    <a:ln w="878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94" name="Freeform: Shape 993">
                      <a:extLst>
                        <a:ext uri="{FF2B5EF4-FFF2-40B4-BE49-F238E27FC236}">
                          <a16:creationId xmlns:a16="http://schemas.microsoft.com/office/drawing/2014/main" id="{0DE59A69-6625-423A-8AE0-74F40D55CD2B}"/>
                        </a:ext>
                      </a:extLst>
                    </p:cNvPr>
                    <p:cNvSpPr/>
                    <p:nvPr/>
                  </p:nvSpPr>
                  <p:spPr>
                    <a:xfrm>
                      <a:off x="3757908" y="10724822"/>
                      <a:ext cx="48414" cy="30853"/>
                    </a:xfrm>
                    <a:custGeom>
                      <a:avLst/>
                      <a:gdLst>
                        <a:gd name="connsiteX0" fmla="*/ 315 w 48414"/>
                        <a:gd name="connsiteY0" fmla="*/ 23735 h 30853"/>
                        <a:gd name="connsiteX1" fmla="*/ 26154 w 48414"/>
                        <a:gd name="connsiteY1" fmla="*/ 23381 h 30853"/>
                        <a:gd name="connsiteX2" fmla="*/ 41355 w 48414"/>
                        <a:gd name="connsiteY2" fmla="*/ 30854 h 30853"/>
                        <a:gd name="connsiteX3" fmla="*/ 42180 w 48414"/>
                        <a:gd name="connsiteY3" fmla="*/ 25859 h 30853"/>
                        <a:gd name="connsiteX4" fmla="*/ 35632 w 48414"/>
                        <a:gd name="connsiteY4" fmla="*/ 10914 h 30853"/>
                        <a:gd name="connsiteX5" fmla="*/ 27707 w 48414"/>
                        <a:gd name="connsiteY5" fmla="*/ 5703 h 30853"/>
                        <a:gd name="connsiteX6" fmla="*/ 46153 w 48414"/>
                        <a:gd name="connsiteY6" fmla="*/ 3422 h 30853"/>
                        <a:gd name="connsiteX7" fmla="*/ 48414 w 48414"/>
                        <a:gd name="connsiteY7" fmla="*/ 0 h 30853"/>
                        <a:gd name="connsiteX8" fmla="*/ 19802 w 48414"/>
                        <a:gd name="connsiteY8" fmla="*/ 492 h 30853"/>
                        <a:gd name="connsiteX9" fmla="*/ 0 w 48414"/>
                        <a:gd name="connsiteY9" fmla="*/ 10226 h 30853"/>
                        <a:gd name="connsiteX10" fmla="*/ 334 w 48414"/>
                        <a:gd name="connsiteY10" fmla="*/ 23735 h 3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414" h="30853">
                          <a:moveTo>
                            <a:pt x="315" y="23735"/>
                          </a:moveTo>
                          <a:lnTo>
                            <a:pt x="26154" y="23381"/>
                          </a:lnTo>
                          <a:lnTo>
                            <a:pt x="41355" y="30854"/>
                          </a:lnTo>
                          <a:lnTo>
                            <a:pt x="42180" y="25859"/>
                          </a:lnTo>
                          <a:cubicBezTo>
                            <a:pt x="43144" y="20019"/>
                            <a:pt x="40568" y="14178"/>
                            <a:pt x="35632" y="10914"/>
                          </a:cubicBezTo>
                          <a:lnTo>
                            <a:pt x="27707" y="5703"/>
                          </a:lnTo>
                          <a:lnTo>
                            <a:pt x="46153" y="3422"/>
                          </a:lnTo>
                          <a:lnTo>
                            <a:pt x="48414" y="0"/>
                          </a:lnTo>
                          <a:lnTo>
                            <a:pt x="19802" y="492"/>
                          </a:lnTo>
                          <a:lnTo>
                            <a:pt x="0" y="10226"/>
                          </a:lnTo>
                          <a:lnTo>
                            <a:pt x="334" y="23735"/>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977" name="Freeform: Shape 976">
                    <a:extLst>
                      <a:ext uri="{FF2B5EF4-FFF2-40B4-BE49-F238E27FC236}">
                        <a16:creationId xmlns:a16="http://schemas.microsoft.com/office/drawing/2014/main" id="{E4D06474-7029-4E60-B6B4-9AF2ABAEDEE0}"/>
                      </a:ext>
                    </a:extLst>
                  </p:cNvPr>
                  <p:cNvSpPr/>
                  <p:nvPr/>
                </p:nvSpPr>
                <p:spPr>
                  <a:xfrm>
                    <a:off x="3407605" y="10842790"/>
                    <a:ext cx="97456" cy="504217"/>
                  </a:xfrm>
                  <a:custGeom>
                    <a:avLst/>
                    <a:gdLst>
                      <a:gd name="connsiteX0" fmla="*/ 3106 w 97456"/>
                      <a:gd name="connsiteY0" fmla="*/ 19 h 504217"/>
                      <a:gd name="connsiteX1" fmla="*/ 97456 w 97456"/>
                      <a:gd name="connsiteY1" fmla="*/ 19 h 504217"/>
                      <a:gd name="connsiteX2" fmla="*/ 83357 w 97456"/>
                      <a:gd name="connsiteY2" fmla="*/ 240005 h 504217"/>
                      <a:gd name="connsiteX3" fmla="*/ 60153 w 97456"/>
                      <a:gd name="connsiteY3" fmla="*/ 504218 h 504217"/>
                      <a:gd name="connsiteX4" fmla="*/ 17461 w 97456"/>
                      <a:gd name="connsiteY4" fmla="*/ 504218 h 504217"/>
                      <a:gd name="connsiteX5" fmla="*/ 3126 w 97456"/>
                      <a:gd name="connsiteY5" fmla="*/ 0 h 50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456" h="504217">
                        <a:moveTo>
                          <a:pt x="3106" y="19"/>
                        </a:moveTo>
                        <a:lnTo>
                          <a:pt x="97456" y="19"/>
                        </a:lnTo>
                        <a:lnTo>
                          <a:pt x="83357" y="240005"/>
                        </a:lnTo>
                        <a:lnTo>
                          <a:pt x="60153" y="504218"/>
                        </a:lnTo>
                        <a:lnTo>
                          <a:pt x="17461" y="504218"/>
                        </a:lnTo>
                        <a:cubicBezTo>
                          <a:pt x="-158" y="403083"/>
                          <a:pt x="-3423" y="75630"/>
                          <a:pt x="3126" y="0"/>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78" name="Freeform: Shape 977">
                    <a:extLst>
                      <a:ext uri="{FF2B5EF4-FFF2-40B4-BE49-F238E27FC236}">
                        <a16:creationId xmlns:a16="http://schemas.microsoft.com/office/drawing/2014/main" id="{95B22443-E808-405B-93CD-53360C48F74F}"/>
                      </a:ext>
                    </a:extLst>
                  </p:cNvPr>
                  <p:cNvSpPr/>
                  <p:nvPr/>
                </p:nvSpPr>
                <p:spPr>
                  <a:xfrm>
                    <a:off x="3382655" y="10562513"/>
                    <a:ext cx="191488" cy="342573"/>
                  </a:xfrm>
                  <a:custGeom>
                    <a:avLst/>
                    <a:gdLst>
                      <a:gd name="connsiteX0" fmla="*/ 183721 w 191488"/>
                      <a:gd name="connsiteY0" fmla="*/ 21433 h 342573"/>
                      <a:gd name="connsiteX1" fmla="*/ 66816 w 191488"/>
                      <a:gd name="connsiteY1" fmla="*/ 844 h 342573"/>
                      <a:gd name="connsiteX2" fmla="*/ 153 w 191488"/>
                      <a:gd name="connsiteY2" fmla="*/ 23399 h 342573"/>
                      <a:gd name="connsiteX3" fmla="*/ 20014 w 191488"/>
                      <a:gd name="connsiteY3" fmla="*/ 206810 h 342573"/>
                      <a:gd name="connsiteX4" fmla="*/ 21371 w 191488"/>
                      <a:gd name="connsiteY4" fmla="*/ 342574 h 342573"/>
                      <a:gd name="connsiteX5" fmla="*/ 191489 w 191488"/>
                      <a:gd name="connsiteY5" fmla="*/ 342574 h 342573"/>
                      <a:gd name="connsiteX6" fmla="*/ 183721 w 191488"/>
                      <a:gd name="connsiteY6" fmla="*/ 21413 h 342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488" h="342573">
                        <a:moveTo>
                          <a:pt x="183721" y="21433"/>
                        </a:moveTo>
                        <a:cubicBezTo>
                          <a:pt x="151039" y="6429"/>
                          <a:pt x="106223" y="-2951"/>
                          <a:pt x="66816" y="844"/>
                        </a:cubicBezTo>
                        <a:cubicBezTo>
                          <a:pt x="42117" y="3223"/>
                          <a:pt x="22551" y="12584"/>
                          <a:pt x="153" y="23399"/>
                        </a:cubicBezTo>
                        <a:cubicBezTo>
                          <a:pt x="-1774" y="83160"/>
                          <a:pt x="15039" y="159497"/>
                          <a:pt x="20014" y="206810"/>
                        </a:cubicBezTo>
                        <a:cubicBezTo>
                          <a:pt x="23574" y="240633"/>
                          <a:pt x="21371" y="342574"/>
                          <a:pt x="21371" y="342574"/>
                        </a:cubicBezTo>
                        <a:lnTo>
                          <a:pt x="191489" y="342574"/>
                        </a:lnTo>
                        <a:cubicBezTo>
                          <a:pt x="191489" y="342574"/>
                          <a:pt x="185471" y="57104"/>
                          <a:pt x="183721" y="21413"/>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79" name="Freeform: Shape 978">
                    <a:extLst>
                      <a:ext uri="{FF2B5EF4-FFF2-40B4-BE49-F238E27FC236}">
                        <a16:creationId xmlns:a16="http://schemas.microsoft.com/office/drawing/2014/main" id="{DB5E3350-6824-4EF4-82E2-A707935732CC}"/>
                      </a:ext>
                    </a:extLst>
                  </p:cNvPr>
                  <p:cNvSpPr/>
                  <p:nvPr/>
                </p:nvSpPr>
                <p:spPr>
                  <a:xfrm>
                    <a:off x="3378768" y="10563357"/>
                    <a:ext cx="195355" cy="341749"/>
                  </a:xfrm>
                  <a:custGeom>
                    <a:avLst/>
                    <a:gdLst>
                      <a:gd name="connsiteX0" fmla="*/ 191540 w 195355"/>
                      <a:gd name="connsiteY0" fmla="*/ 18622 h 341749"/>
                      <a:gd name="connsiteX1" fmla="*/ 117779 w 195355"/>
                      <a:gd name="connsiteY1" fmla="*/ 0 h 341749"/>
                      <a:gd name="connsiteX2" fmla="*/ 120375 w 195355"/>
                      <a:gd name="connsiteY2" fmla="*/ 4936 h 341749"/>
                      <a:gd name="connsiteX3" fmla="*/ 145270 w 195355"/>
                      <a:gd name="connsiteY3" fmla="*/ 105421 h 341749"/>
                      <a:gd name="connsiteX4" fmla="*/ 145270 w 195355"/>
                      <a:gd name="connsiteY4" fmla="*/ 341750 h 341749"/>
                      <a:gd name="connsiteX5" fmla="*/ 195355 w 195355"/>
                      <a:gd name="connsiteY5" fmla="*/ 341750 h 341749"/>
                      <a:gd name="connsiteX6" fmla="*/ 191521 w 195355"/>
                      <a:gd name="connsiteY6" fmla="*/ 18622 h 341749"/>
                      <a:gd name="connsiteX7" fmla="*/ 23900 w 195355"/>
                      <a:gd name="connsiteY7" fmla="*/ 205966 h 341749"/>
                      <a:gd name="connsiteX8" fmla="*/ 25257 w 195355"/>
                      <a:gd name="connsiteY8" fmla="*/ 341730 h 341749"/>
                      <a:gd name="connsiteX9" fmla="*/ 104053 w 195355"/>
                      <a:gd name="connsiteY9" fmla="*/ 341730 h 341749"/>
                      <a:gd name="connsiteX10" fmla="*/ 104053 w 195355"/>
                      <a:gd name="connsiteY10" fmla="*/ 146186 h 341749"/>
                      <a:gd name="connsiteX11" fmla="*/ 70722 w 195355"/>
                      <a:gd name="connsiteY11" fmla="*/ 0 h 341749"/>
                      <a:gd name="connsiteX12" fmla="*/ 126 w 195355"/>
                      <a:gd name="connsiteY12" fmla="*/ 18622 h 341749"/>
                      <a:gd name="connsiteX13" fmla="*/ 23920 w 195355"/>
                      <a:gd name="connsiteY13" fmla="*/ 205966 h 34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5355" h="341749">
                        <a:moveTo>
                          <a:pt x="191540" y="18622"/>
                        </a:moveTo>
                        <a:cubicBezTo>
                          <a:pt x="170244" y="8849"/>
                          <a:pt x="144601" y="2419"/>
                          <a:pt x="117779" y="0"/>
                        </a:cubicBezTo>
                        <a:lnTo>
                          <a:pt x="120375" y="4936"/>
                        </a:lnTo>
                        <a:cubicBezTo>
                          <a:pt x="136716" y="35907"/>
                          <a:pt x="145270" y="70399"/>
                          <a:pt x="145270" y="105421"/>
                        </a:cubicBezTo>
                        <a:lnTo>
                          <a:pt x="145270" y="341750"/>
                        </a:lnTo>
                        <a:lnTo>
                          <a:pt x="195355" y="341750"/>
                        </a:lnTo>
                        <a:cubicBezTo>
                          <a:pt x="195355" y="341750"/>
                          <a:pt x="193271" y="54313"/>
                          <a:pt x="191521" y="18622"/>
                        </a:cubicBezTo>
                        <a:close/>
                        <a:moveTo>
                          <a:pt x="23900" y="205966"/>
                        </a:moveTo>
                        <a:cubicBezTo>
                          <a:pt x="27460" y="239789"/>
                          <a:pt x="25257" y="341730"/>
                          <a:pt x="25257" y="341730"/>
                        </a:cubicBezTo>
                        <a:lnTo>
                          <a:pt x="104053" y="341730"/>
                        </a:lnTo>
                        <a:lnTo>
                          <a:pt x="104053" y="146186"/>
                        </a:lnTo>
                        <a:cubicBezTo>
                          <a:pt x="104053" y="95570"/>
                          <a:pt x="92667" y="45602"/>
                          <a:pt x="70722" y="0"/>
                        </a:cubicBezTo>
                        <a:cubicBezTo>
                          <a:pt x="45846" y="2281"/>
                          <a:pt x="21501" y="8298"/>
                          <a:pt x="126" y="18622"/>
                        </a:cubicBezTo>
                        <a:cubicBezTo>
                          <a:pt x="-1801" y="78383"/>
                          <a:pt x="18945" y="158653"/>
                          <a:pt x="23920" y="205966"/>
                        </a:cubicBezTo>
                        <a:close/>
                      </a:path>
                    </a:pathLst>
                  </a:custGeom>
                  <a:solidFill>
                    <a:srgbClr val="E0C48B"/>
                  </a:solidFill>
                  <a:ln w="878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80" name="Freeform: Shape 979">
                    <a:extLst>
                      <a:ext uri="{FF2B5EF4-FFF2-40B4-BE49-F238E27FC236}">
                        <a16:creationId xmlns:a16="http://schemas.microsoft.com/office/drawing/2014/main" id="{013F5676-516C-4E7A-A014-30FDB95C5DA5}"/>
                      </a:ext>
                    </a:extLst>
                  </p:cNvPr>
                  <p:cNvSpPr/>
                  <p:nvPr/>
                </p:nvSpPr>
                <p:spPr>
                  <a:xfrm>
                    <a:off x="3337717" y="10831835"/>
                    <a:ext cx="171828" cy="139522"/>
                  </a:xfrm>
                  <a:custGeom>
                    <a:avLst/>
                    <a:gdLst>
                      <a:gd name="connsiteX0" fmla="*/ 0 w 171828"/>
                      <a:gd name="connsiteY0" fmla="*/ 106741 h 139522"/>
                      <a:gd name="connsiteX1" fmla="*/ 0 w 171828"/>
                      <a:gd name="connsiteY1" fmla="*/ 5311 h 139522"/>
                      <a:gd name="connsiteX2" fmla="*/ 6214 w 171828"/>
                      <a:gd name="connsiteY2" fmla="*/ 80 h 139522"/>
                      <a:gd name="connsiteX3" fmla="*/ 165615 w 171828"/>
                      <a:gd name="connsiteY3" fmla="*/ 25565 h 139522"/>
                      <a:gd name="connsiteX4" fmla="*/ 171829 w 171828"/>
                      <a:gd name="connsiteY4" fmla="*/ 32782 h 139522"/>
                      <a:gd name="connsiteX5" fmla="*/ 171829 w 171828"/>
                      <a:gd name="connsiteY5" fmla="*/ 134212 h 139522"/>
                      <a:gd name="connsiteX6" fmla="*/ 165615 w 171828"/>
                      <a:gd name="connsiteY6" fmla="*/ 139443 h 139522"/>
                      <a:gd name="connsiteX7" fmla="*/ 6214 w 171828"/>
                      <a:gd name="connsiteY7" fmla="*/ 113957 h 139522"/>
                      <a:gd name="connsiteX8" fmla="*/ 0 w 171828"/>
                      <a:gd name="connsiteY8" fmla="*/ 106741 h 139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828" h="139522">
                        <a:moveTo>
                          <a:pt x="0" y="106741"/>
                        </a:moveTo>
                        <a:lnTo>
                          <a:pt x="0" y="5311"/>
                        </a:lnTo>
                        <a:cubicBezTo>
                          <a:pt x="0" y="1870"/>
                          <a:pt x="2792" y="-470"/>
                          <a:pt x="6214" y="80"/>
                        </a:cubicBezTo>
                        <a:lnTo>
                          <a:pt x="165615" y="25565"/>
                        </a:lnTo>
                        <a:cubicBezTo>
                          <a:pt x="169056" y="26116"/>
                          <a:pt x="171829" y="29341"/>
                          <a:pt x="171829" y="32782"/>
                        </a:cubicBezTo>
                        <a:lnTo>
                          <a:pt x="171829" y="134212"/>
                        </a:lnTo>
                        <a:cubicBezTo>
                          <a:pt x="171829" y="137653"/>
                          <a:pt x="169036" y="139993"/>
                          <a:pt x="165615" y="139443"/>
                        </a:cubicBezTo>
                        <a:lnTo>
                          <a:pt x="6214" y="113957"/>
                        </a:lnTo>
                        <a:cubicBezTo>
                          <a:pt x="2773" y="113407"/>
                          <a:pt x="0" y="110182"/>
                          <a:pt x="0" y="106741"/>
                        </a:cubicBezTo>
                        <a:close/>
                      </a:path>
                    </a:pathLst>
                  </a:custGeom>
                  <a:solidFill>
                    <a:srgbClr val="B3C9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81" name="Freeform: Shape 980">
                    <a:extLst>
                      <a:ext uri="{FF2B5EF4-FFF2-40B4-BE49-F238E27FC236}">
                        <a16:creationId xmlns:a16="http://schemas.microsoft.com/office/drawing/2014/main" id="{3D538918-B07D-4088-975B-C0569AA108C3}"/>
                      </a:ext>
                    </a:extLst>
                  </p:cNvPr>
                  <p:cNvSpPr/>
                  <p:nvPr/>
                </p:nvSpPr>
                <p:spPr>
                  <a:xfrm>
                    <a:off x="3449470" y="10514766"/>
                    <a:ext cx="52543" cy="66761"/>
                  </a:xfrm>
                  <a:custGeom>
                    <a:avLst/>
                    <a:gdLst>
                      <a:gd name="connsiteX0" fmla="*/ 46251 w 52543"/>
                      <a:gd name="connsiteY0" fmla="*/ 14650 h 66761"/>
                      <a:gd name="connsiteX1" fmla="*/ 52544 w 52543"/>
                      <a:gd name="connsiteY1" fmla="*/ 66761 h 66761"/>
                      <a:gd name="connsiteX2" fmla="*/ 0 w 52543"/>
                      <a:gd name="connsiteY2" fmla="*/ 48591 h 66761"/>
                      <a:gd name="connsiteX3" fmla="*/ 16321 w 52543"/>
                      <a:gd name="connsiteY3" fmla="*/ 0 h 66761"/>
                      <a:gd name="connsiteX4" fmla="*/ 46251 w 52543"/>
                      <a:gd name="connsiteY4" fmla="*/ 14650 h 66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43" h="66761">
                        <a:moveTo>
                          <a:pt x="46251" y="14650"/>
                        </a:moveTo>
                        <a:lnTo>
                          <a:pt x="52544" y="66761"/>
                        </a:lnTo>
                        <a:lnTo>
                          <a:pt x="0" y="48591"/>
                        </a:lnTo>
                        <a:lnTo>
                          <a:pt x="16321" y="0"/>
                        </a:lnTo>
                        <a:lnTo>
                          <a:pt x="46251" y="1465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82" name="Freeform: Shape 981">
                    <a:extLst>
                      <a:ext uri="{FF2B5EF4-FFF2-40B4-BE49-F238E27FC236}">
                        <a16:creationId xmlns:a16="http://schemas.microsoft.com/office/drawing/2014/main" id="{6BEF3B66-C564-478C-8114-4457BD3D1A0A}"/>
                      </a:ext>
                    </a:extLst>
                  </p:cNvPr>
                  <p:cNvSpPr/>
                  <p:nvPr/>
                </p:nvSpPr>
                <p:spPr>
                  <a:xfrm>
                    <a:off x="3453718" y="10453826"/>
                    <a:ext cx="59760" cy="83097"/>
                  </a:xfrm>
                  <a:custGeom>
                    <a:avLst/>
                    <a:gdLst>
                      <a:gd name="connsiteX0" fmla="*/ 59741 w 59760"/>
                      <a:gd name="connsiteY0" fmla="*/ 71304 h 83097"/>
                      <a:gd name="connsiteX1" fmla="*/ 36438 w 59760"/>
                      <a:gd name="connsiteY1" fmla="*/ 80959 h 83097"/>
                      <a:gd name="connsiteX2" fmla="*/ 11720 w 59760"/>
                      <a:gd name="connsiteY2" fmla="*/ 65089 h 83097"/>
                      <a:gd name="connsiteX3" fmla="*/ 0 w 59760"/>
                      <a:gd name="connsiteY3" fmla="*/ 29910 h 83097"/>
                      <a:gd name="connsiteX4" fmla="*/ 13805 w 59760"/>
                      <a:gd name="connsiteY4" fmla="*/ 0 h 83097"/>
                      <a:gd name="connsiteX5" fmla="*/ 59525 w 59760"/>
                      <a:gd name="connsiteY5" fmla="*/ 2812 h 83097"/>
                      <a:gd name="connsiteX6" fmla="*/ 59760 w 59760"/>
                      <a:gd name="connsiteY6" fmla="*/ 71304 h 8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60" h="83097">
                        <a:moveTo>
                          <a:pt x="59741" y="71304"/>
                        </a:moveTo>
                        <a:cubicBezTo>
                          <a:pt x="59918" y="79543"/>
                          <a:pt x="51816" y="86858"/>
                          <a:pt x="36438" y="80959"/>
                        </a:cubicBezTo>
                        <a:lnTo>
                          <a:pt x="11720" y="65089"/>
                        </a:lnTo>
                        <a:lnTo>
                          <a:pt x="0" y="29910"/>
                        </a:lnTo>
                        <a:lnTo>
                          <a:pt x="13805" y="0"/>
                        </a:lnTo>
                        <a:lnTo>
                          <a:pt x="59525" y="2812"/>
                        </a:lnTo>
                        <a:lnTo>
                          <a:pt x="59760" y="71304"/>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83" name="Freeform: Shape 982">
                    <a:extLst>
                      <a:ext uri="{FF2B5EF4-FFF2-40B4-BE49-F238E27FC236}">
                        <a16:creationId xmlns:a16="http://schemas.microsoft.com/office/drawing/2014/main" id="{431133EC-1E15-4560-B652-5BA37FCE64D3}"/>
                      </a:ext>
                    </a:extLst>
                  </p:cNvPr>
                  <p:cNvSpPr/>
                  <p:nvPr/>
                </p:nvSpPr>
                <p:spPr>
                  <a:xfrm>
                    <a:off x="3445214" y="10446431"/>
                    <a:ext cx="75191" cy="90509"/>
                  </a:xfrm>
                  <a:custGeom>
                    <a:avLst/>
                    <a:gdLst>
                      <a:gd name="connsiteX0" fmla="*/ 23626 w 75191"/>
                      <a:gd name="connsiteY0" fmla="*/ 119 h 90509"/>
                      <a:gd name="connsiteX1" fmla="*/ 67714 w 75191"/>
                      <a:gd name="connsiteY1" fmla="*/ 119 h 90509"/>
                      <a:gd name="connsiteX2" fmla="*/ 74714 w 75191"/>
                      <a:gd name="connsiteY2" fmla="*/ 8653 h 90509"/>
                      <a:gd name="connsiteX3" fmla="*/ 68048 w 75191"/>
                      <a:gd name="connsiteY3" fmla="*/ 24994 h 90509"/>
                      <a:gd name="connsiteX4" fmla="*/ 28916 w 75191"/>
                      <a:gd name="connsiteY4" fmla="*/ 35416 h 90509"/>
                      <a:gd name="connsiteX5" fmla="*/ 35641 w 75191"/>
                      <a:gd name="connsiteY5" fmla="*/ 40097 h 90509"/>
                      <a:gd name="connsiteX6" fmla="*/ 39948 w 75191"/>
                      <a:gd name="connsiteY6" fmla="*/ 60528 h 90509"/>
                      <a:gd name="connsiteX7" fmla="*/ 48443 w 75191"/>
                      <a:gd name="connsiteY7" fmla="*/ 67371 h 90509"/>
                      <a:gd name="connsiteX8" fmla="*/ 67930 w 75191"/>
                      <a:gd name="connsiteY8" fmla="*/ 67214 h 90509"/>
                      <a:gd name="connsiteX9" fmla="*/ 68225 w 75191"/>
                      <a:gd name="connsiteY9" fmla="*/ 79524 h 90509"/>
                      <a:gd name="connsiteX10" fmla="*/ 44352 w 75191"/>
                      <a:gd name="connsiteY10" fmla="*/ 87685 h 90509"/>
                      <a:gd name="connsiteX11" fmla="*/ 28463 w 75191"/>
                      <a:gd name="connsiteY11" fmla="*/ 56163 h 90509"/>
                      <a:gd name="connsiteX12" fmla="*/ 29624 w 75191"/>
                      <a:gd name="connsiteY12" fmla="*/ 49044 h 90509"/>
                      <a:gd name="connsiteX13" fmla="*/ 21483 w 75191"/>
                      <a:gd name="connsiteY13" fmla="*/ 42732 h 90509"/>
                      <a:gd name="connsiteX14" fmla="*/ 20204 w 75191"/>
                      <a:gd name="connsiteY14" fmla="*/ 53134 h 90509"/>
                      <a:gd name="connsiteX15" fmla="*/ 20244 w 75191"/>
                      <a:gd name="connsiteY15" fmla="*/ 53233 h 90509"/>
                      <a:gd name="connsiteX16" fmla="*/ 20578 w 75191"/>
                      <a:gd name="connsiteY16" fmla="*/ 74313 h 90509"/>
                      <a:gd name="connsiteX17" fmla="*/ 19890 w 75191"/>
                      <a:gd name="connsiteY17" fmla="*/ 76102 h 90509"/>
                      <a:gd name="connsiteX18" fmla="*/ 10176 w 75191"/>
                      <a:gd name="connsiteY18" fmla="*/ 62671 h 90509"/>
                      <a:gd name="connsiteX19" fmla="*/ 1936 w 75191"/>
                      <a:gd name="connsiteY19" fmla="*/ 36282 h 90509"/>
                      <a:gd name="connsiteX20" fmla="*/ 23626 w 75191"/>
                      <a:gd name="connsiteY20" fmla="*/ 138 h 9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191" h="90509">
                        <a:moveTo>
                          <a:pt x="23626" y="119"/>
                        </a:moveTo>
                        <a:lnTo>
                          <a:pt x="67714" y="119"/>
                        </a:lnTo>
                        <a:cubicBezTo>
                          <a:pt x="72610" y="-825"/>
                          <a:pt x="76602" y="4032"/>
                          <a:pt x="74714" y="8653"/>
                        </a:cubicBezTo>
                        <a:lnTo>
                          <a:pt x="68048" y="24994"/>
                        </a:lnTo>
                        <a:lnTo>
                          <a:pt x="28916" y="35416"/>
                        </a:lnTo>
                        <a:lnTo>
                          <a:pt x="35641" y="40097"/>
                        </a:lnTo>
                        <a:lnTo>
                          <a:pt x="39948" y="60528"/>
                        </a:lnTo>
                        <a:cubicBezTo>
                          <a:pt x="40793" y="64540"/>
                          <a:pt x="44352" y="67411"/>
                          <a:pt x="48443" y="67371"/>
                        </a:cubicBezTo>
                        <a:lnTo>
                          <a:pt x="67930" y="67214"/>
                        </a:lnTo>
                        <a:lnTo>
                          <a:pt x="68225" y="79524"/>
                        </a:lnTo>
                        <a:cubicBezTo>
                          <a:pt x="67891" y="87763"/>
                          <a:pt x="59317" y="94548"/>
                          <a:pt x="44352" y="87685"/>
                        </a:cubicBezTo>
                        <a:cubicBezTo>
                          <a:pt x="32790" y="81726"/>
                          <a:pt x="26379" y="69004"/>
                          <a:pt x="28463" y="56163"/>
                        </a:cubicBezTo>
                        <a:lnTo>
                          <a:pt x="29624" y="49044"/>
                        </a:lnTo>
                        <a:cubicBezTo>
                          <a:pt x="27677" y="44482"/>
                          <a:pt x="24078" y="41650"/>
                          <a:pt x="21483" y="42732"/>
                        </a:cubicBezTo>
                        <a:cubicBezTo>
                          <a:pt x="18847" y="43813"/>
                          <a:pt x="18277" y="48474"/>
                          <a:pt x="20204" y="53134"/>
                        </a:cubicBezTo>
                        <a:lnTo>
                          <a:pt x="20244" y="53233"/>
                        </a:lnTo>
                        <a:cubicBezTo>
                          <a:pt x="23075" y="59958"/>
                          <a:pt x="23193" y="67509"/>
                          <a:pt x="20578" y="74313"/>
                        </a:cubicBezTo>
                        <a:lnTo>
                          <a:pt x="19890" y="76102"/>
                        </a:lnTo>
                        <a:cubicBezTo>
                          <a:pt x="12850" y="73625"/>
                          <a:pt x="12398" y="69790"/>
                          <a:pt x="10176" y="62671"/>
                        </a:cubicBezTo>
                        <a:lnTo>
                          <a:pt x="1936" y="36282"/>
                        </a:lnTo>
                        <a:cubicBezTo>
                          <a:pt x="-4042" y="14513"/>
                          <a:pt x="4001" y="-78"/>
                          <a:pt x="23626" y="138"/>
                        </a:cubicBezTo>
                        <a:close/>
                      </a:path>
                    </a:pathLst>
                  </a:custGeom>
                  <a:solidFill>
                    <a:srgbClr val="37384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984" name="Graphic 10">
                    <a:extLst>
                      <a:ext uri="{FF2B5EF4-FFF2-40B4-BE49-F238E27FC236}">
                        <a16:creationId xmlns:a16="http://schemas.microsoft.com/office/drawing/2014/main" id="{6C0781A4-C19B-49BF-9512-C74CB4285DEB}"/>
                      </a:ext>
                    </a:extLst>
                  </p:cNvPr>
                  <p:cNvGrpSpPr/>
                  <p:nvPr/>
                </p:nvGrpSpPr>
                <p:grpSpPr>
                  <a:xfrm>
                    <a:off x="3335416" y="10580448"/>
                    <a:ext cx="96696" cy="384470"/>
                    <a:chOff x="3335416" y="10580448"/>
                    <a:chExt cx="96696" cy="384470"/>
                  </a:xfrm>
                </p:grpSpPr>
                <p:sp>
                  <p:nvSpPr>
                    <p:cNvPr id="991" name="Freeform: Shape 990">
                      <a:extLst>
                        <a:ext uri="{FF2B5EF4-FFF2-40B4-BE49-F238E27FC236}">
                          <a16:creationId xmlns:a16="http://schemas.microsoft.com/office/drawing/2014/main" id="{6EBE6EBE-F4C3-49D1-B359-7C3FCDFB2414}"/>
                        </a:ext>
                      </a:extLst>
                    </p:cNvPr>
                    <p:cNvSpPr/>
                    <p:nvPr/>
                  </p:nvSpPr>
                  <p:spPr>
                    <a:xfrm>
                      <a:off x="3335416" y="10580448"/>
                      <a:ext cx="96696" cy="350202"/>
                    </a:xfrm>
                    <a:custGeom>
                      <a:avLst/>
                      <a:gdLst>
                        <a:gd name="connsiteX0" fmla="*/ 43478 w 96696"/>
                        <a:gd name="connsiteY0" fmla="*/ 1531 h 350202"/>
                        <a:gd name="connsiteX1" fmla="*/ 96572 w 96696"/>
                        <a:gd name="connsiteY1" fmla="*/ 58637 h 350202"/>
                        <a:gd name="connsiteX2" fmla="*/ 49338 w 96696"/>
                        <a:gd name="connsiteY2" fmla="*/ 177725 h 350202"/>
                        <a:gd name="connsiteX3" fmla="*/ 57283 w 96696"/>
                        <a:gd name="connsiteY3" fmla="*/ 346466 h 350202"/>
                        <a:gd name="connsiteX4" fmla="*/ 43419 w 96696"/>
                        <a:gd name="connsiteY4" fmla="*/ 350203 h 350202"/>
                        <a:gd name="connsiteX5" fmla="*/ 0 w 96696"/>
                        <a:gd name="connsiteY5" fmla="*/ 172455 h 350202"/>
                        <a:gd name="connsiteX6" fmla="*/ 43478 w 96696"/>
                        <a:gd name="connsiteY6" fmla="*/ 1551 h 35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696" h="350202">
                          <a:moveTo>
                            <a:pt x="43478" y="1531"/>
                          </a:moveTo>
                          <a:cubicBezTo>
                            <a:pt x="64873" y="-7082"/>
                            <a:pt x="99011" y="21825"/>
                            <a:pt x="96572" y="58637"/>
                          </a:cubicBezTo>
                          <a:cubicBezTo>
                            <a:pt x="94448" y="90592"/>
                            <a:pt x="49338" y="177725"/>
                            <a:pt x="49338" y="177725"/>
                          </a:cubicBezTo>
                          <a:lnTo>
                            <a:pt x="57283" y="346466"/>
                          </a:lnTo>
                          <a:lnTo>
                            <a:pt x="43419" y="350203"/>
                          </a:lnTo>
                          <a:cubicBezTo>
                            <a:pt x="33488" y="337067"/>
                            <a:pt x="5998" y="222068"/>
                            <a:pt x="0" y="172455"/>
                          </a:cubicBezTo>
                          <a:cubicBezTo>
                            <a:pt x="0" y="172455"/>
                            <a:pt x="18819" y="15493"/>
                            <a:pt x="43478" y="1551"/>
                          </a:cubicBezTo>
                          <a:close/>
                        </a:path>
                      </a:pathLst>
                    </a:custGeom>
                    <a:solidFill>
                      <a:srgbClr val="E0C48B"/>
                    </a:solidFill>
                    <a:ln w="878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92" name="Freeform: Shape 991">
                      <a:extLst>
                        <a:ext uri="{FF2B5EF4-FFF2-40B4-BE49-F238E27FC236}">
                          <a16:creationId xmlns:a16="http://schemas.microsoft.com/office/drawing/2014/main" id="{01DD7946-2ADA-4E6C-94C6-C80C846EF0B3}"/>
                        </a:ext>
                      </a:extLst>
                    </p:cNvPr>
                    <p:cNvSpPr/>
                    <p:nvPr/>
                  </p:nvSpPr>
                  <p:spPr>
                    <a:xfrm>
                      <a:off x="3378835" y="10926895"/>
                      <a:ext cx="43380" cy="38024"/>
                    </a:xfrm>
                    <a:custGeom>
                      <a:avLst/>
                      <a:gdLst>
                        <a:gd name="connsiteX0" fmla="*/ 13864 w 43380"/>
                        <a:gd name="connsiteY0" fmla="*/ 20 h 38024"/>
                        <a:gd name="connsiteX1" fmla="*/ 27884 w 43380"/>
                        <a:gd name="connsiteY1" fmla="*/ 20687 h 38024"/>
                        <a:gd name="connsiteX2" fmla="*/ 43380 w 43380"/>
                        <a:gd name="connsiteY2" fmla="*/ 31817 h 38024"/>
                        <a:gd name="connsiteX3" fmla="*/ 34098 w 43380"/>
                        <a:gd name="connsiteY3" fmla="*/ 36340 h 38024"/>
                        <a:gd name="connsiteX4" fmla="*/ 17285 w 43380"/>
                        <a:gd name="connsiteY4" fmla="*/ 35003 h 38024"/>
                        <a:gd name="connsiteX5" fmla="*/ 8436 w 43380"/>
                        <a:gd name="connsiteY5" fmla="*/ 28789 h 38024"/>
                        <a:gd name="connsiteX6" fmla="*/ 0 w 43380"/>
                        <a:gd name="connsiteY6" fmla="*/ 3736 h 38024"/>
                        <a:gd name="connsiteX7" fmla="*/ 13864 w 43380"/>
                        <a:gd name="connsiteY7" fmla="*/ 0 h 38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380" h="38024">
                          <a:moveTo>
                            <a:pt x="13864" y="20"/>
                          </a:moveTo>
                          <a:lnTo>
                            <a:pt x="27884" y="20687"/>
                          </a:lnTo>
                          <a:lnTo>
                            <a:pt x="43380" y="31817"/>
                          </a:lnTo>
                          <a:lnTo>
                            <a:pt x="34098" y="36340"/>
                          </a:lnTo>
                          <a:cubicBezTo>
                            <a:pt x="28671" y="38995"/>
                            <a:pt x="22221" y="38484"/>
                            <a:pt x="17285" y="35003"/>
                          </a:cubicBezTo>
                          <a:lnTo>
                            <a:pt x="8436" y="28789"/>
                          </a:lnTo>
                          <a:lnTo>
                            <a:pt x="0" y="3736"/>
                          </a:lnTo>
                          <a:lnTo>
                            <a:pt x="13864" y="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985" name="Freeform: Shape 984">
                    <a:extLst>
                      <a:ext uri="{FF2B5EF4-FFF2-40B4-BE49-F238E27FC236}">
                        <a16:creationId xmlns:a16="http://schemas.microsoft.com/office/drawing/2014/main" id="{10F75677-3F49-497A-9D00-6603DE613C64}"/>
                      </a:ext>
                    </a:extLst>
                  </p:cNvPr>
                  <p:cNvSpPr/>
                  <p:nvPr/>
                </p:nvSpPr>
                <p:spPr>
                  <a:xfrm>
                    <a:off x="3431281" y="11347027"/>
                    <a:ext cx="76180" cy="31207"/>
                  </a:xfrm>
                  <a:custGeom>
                    <a:avLst/>
                    <a:gdLst>
                      <a:gd name="connsiteX0" fmla="*/ 0 w 76180"/>
                      <a:gd name="connsiteY0" fmla="*/ 0 h 31207"/>
                      <a:gd name="connsiteX1" fmla="*/ 28258 w 76180"/>
                      <a:gd name="connsiteY1" fmla="*/ 0 h 31207"/>
                      <a:gd name="connsiteX2" fmla="*/ 54018 w 76180"/>
                      <a:gd name="connsiteY2" fmla="*/ 17364 h 31207"/>
                      <a:gd name="connsiteX3" fmla="*/ 75551 w 76180"/>
                      <a:gd name="connsiteY3" fmla="*/ 20884 h 31207"/>
                      <a:gd name="connsiteX4" fmla="*/ 76180 w 76180"/>
                      <a:gd name="connsiteY4" fmla="*/ 31208 h 31207"/>
                      <a:gd name="connsiteX5" fmla="*/ 1947 w 76180"/>
                      <a:gd name="connsiteY5" fmla="*/ 31208 h 31207"/>
                      <a:gd name="connsiteX6" fmla="*/ 0 w 76180"/>
                      <a:gd name="connsiteY6" fmla="*/ 0 h 3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80" h="31207">
                        <a:moveTo>
                          <a:pt x="0" y="0"/>
                        </a:moveTo>
                        <a:lnTo>
                          <a:pt x="28258" y="0"/>
                        </a:lnTo>
                        <a:lnTo>
                          <a:pt x="54018" y="17364"/>
                        </a:lnTo>
                        <a:lnTo>
                          <a:pt x="75551" y="20884"/>
                        </a:lnTo>
                        <a:lnTo>
                          <a:pt x="76180" y="31208"/>
                        </a:lnTo>
                        <a:lnTo>
                          <a:pt x="1947" y="31208"/>
                        </a:lnTo>
                        <a:lnTo>
                          <a:pt x="0"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86" name="Freeform: Shape 985">
                    <a:extLst>
                      <a:ext uri="{FF2B5EF4-FFF2-40B4-BE49-F238E27FC236}">
                        <a16:creationId xmlns:a16="http://schemas.microsoft.com/office/drawing/2014/main" id="{AE03CD1A-B25C-4130-BA6D-7A65A5654E2A}"/>
                      </a:ext>
                    </a:extLst>
                  </p:cNvPr>
                  <p:cNvSpPr/>
                  <p:nvPr/>
                </p:nvSpPr>
                <p:spPr>
                  <a:xfrm>
                    <a:off x="3601162" y="11347027"/>
                    <a:ext cx="76200" cy="31207"/>
                  </a:xfrm>
                  <a:custGeom>
                    <a:avLst/>
                    <a:gdLst>
                      <a:gd name="connsiteX0" fmla="*/ 0 w 76200"/>
                      <a:gd name="connsiteY0" fmla="*/ 0 h 31207"/>
                      <a:gd name="connsiteX1" fmla="*/ 28278 w 76200"/>
                      <a:gd name="connsiteY1" fmla="*/ 0 h 31207"/>
                      <a:gd name="connsiteX2" fmla="*/ 54018 w 76200"/>
                      <a:gd name="connsiteY2" fmla="*/ 17364 h 31207"/>
                      <a:gd name="connsiteX3" fmla="*/ 75551 w 76200"/>
                      <a:gd name="connsiteY3" fmla="*/ 20884 h 31207"/>
                      <a:gd name="connsiteX4" fmla="*/ 76200 w 76200"/>
                      <a:gd name="connsiteY4" fmla="*/ 31208 h 31207"/>
                      <a:gd name="connsiteX5" fmla="*/ 1947 w 76200"/>
                      <a:gd name="connsiteY5" fmla="*/ 31208 h 31207"/>
                      <a:gd name="connsiteX6" fmla="*/ 0 w 76200"/>
                      <a:gd name="connsiteY6" fmla="*/ 0 h 3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31207">
                        <a:moveTo>
                          <a:pt x="0" y="0"/>
                        </a:moveTo>
                        <a:lnTo>
                          <a:pt x="28278" y="0"/>
                        </a:lnTo>
                        <a:lnTo>
                          <a:pt x="54018" y="17364"/>
                        </a:lnTo>
                        <a:lnTo>
                          <a:pt x="75551" y="20884"/>
                        </a:lnTo>
                        <a:lnTo>
                          <a:pt x="76200" y="31208"/>
                        </a:lnTo>
                        <a:lnTo>
                          <a:pt x="1947" y="31208"/>
                        </a:lnTo>
                        <a:lnTo>
                          <a:pt x="0"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987" name="Graphic 10">
                    <a:extLst>
                      <a:ext uri="{FF2B5EF4-FFF2-40B4-BE49-F238E27FC236}">
                        <a16:creationId xmlns:a16="http://schemas.microsoft.com/office/drawing/2014/main" id="{0BCBCA61-1793-409F-8171-49645A7D7B47}"/>
                      </a:ext>
                    </a:extLst>
                  </p:cNvPr>
                  <p:cNvGrpSpPr/>
                  <p:nvPr/>
                </p:nvGrpSpPr>
                <p:grpSpPr>
                  <a:xfrm>
                    <a:off x="3435005" y="10425762"/>
                    <a:ext cx="97544" cy="60269"/>
                    <a:chOff x="3435005" y="10425762"/>
                    <a:chExt cx="97544" cy="60269"/>
                  </a:xfrm>
                </p:grpSpPr>
                <p:sp>
                  <p:nvSpPr>
                    <p:cNvPr id="988" name="Freeform: Shape 987">
                      <a:extLst>
                        <a:ext uri="{FF2B5EF4-FFF2-40B4-BE49-F238E27FC236}">
                          <a16:creationId xmlns:a16="http://schemas.microsoft.com/office/drawing/2014/main" id="{30F1B6A5-E2D8-45F2-9380-7F7CB240467D}"/>
                        </a:ext>
                      </a:extLst>
                    </p:cNvPr>
                    <p:cNvSpPr/>
                    <p:nvPr/>
                  </p:nvSpPr>
                  <p:spPr>
                    <a:xfrm>
                      <a:off x="3437441" y="10425762"/>
                      <a:ext cx="86458" cy="51838"/>
                    </a:xfrm>
                    <a:custGeom>
                      <a:avLst/>
                      <a:gdLst>
                        <a:gd name="connsiteX0" fmla="*/ 1272 w 86458"/>
                        <a:gd name="connsiteY0" fmla="*/ 51838 h 51838"/>
                        <a:gd name="connsiteX1" fmla="*/ 28822 w 86458"/>
                        <a:gd name="connsiteY1" fmla="*/ 1733 h 51838"/>
                        <a:gd name="connsiteX2" fmla="*/ 86459 w 86458"/>
                        <a:gd name="connsiteY2" fmla="*/ 31604 h 51838"/>
                        <a:gd name="connsiteX3" fmla="*/ 1272 w 86458"/>
                        <a:gd name="connsiteY3" fmla="*/ 51838 h 51838"/>
                      </a:gdLst>
                      <a:ahLst/>
                      <a:cxnLst>
                        <a:cxn ang="0">
                          <a:pos x="connsiteX0" y="connsiteY0"/>
                        </a:cxn>
                        <a:cxn ang="0">
                          <a:pos x="connsiteX1" y="connsiteY1"/>
                        </a:cxn>
                        <a:cxn ang="0">
                          <a:pos x="connsiteX2" y="connsiteY2"/>
                        </a:cxn>
                        <a:cxn ang="0">
                          <a:pos x="connsiteX3" y="connsiteY3"/>
                        </a:cxn>
                      </a:cxnLst>
                      <a:rect l="l" t="t" r="r" b="b"/>
                      <a:pathLst>
                        <a:path w="86458" h="51838">
                          <a:moveTo>
                            <a:pt x="1272" y="51838"/>
                          </a:moveTo>
                          <a:cubicBezTo>
                            <a:pt x="-4136" y="29067"/>
                            <a:pt x="8194" y="6630"/>
                            <a:pt x="28822" y="1733"/>
                          </a:cubicBezTo>
                          <a:cubicBezTo>
                            <a:pt x="57493" y="-5071"/>
                            <a:pt x="81051" y="8832"/>
                            <a:pt x="86459" y="31604"/>
                          </a:cubicBezTo>
                          <a:lnTo>
                            <a:pt x="1272" y="51838"/>
                          </a:ln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89" name="Freeform: Shape 988">
                      <a:extLst>
                        <a:ext uri="{FF2B5EF4-FFF2-40B4-BE49-F238E27FC236}">
                          <a16:creationId xmlns:a16="http://schemas.microsoft.com/office/drawing/2014/main" id="{2FA987F2-93A7-4204-B784-5AB6D1C25130}"/>
                        </a:ext>
                      </a:extLst>
                    </p:cNvPr>
                    <p:cNvSpPr/>
                    <p:nvPr/>
                  </p:nvSpPr>
                  <p:spPr>
                    <a:xfrm>
                      <a:off x="3440377" y="10438495"/>
                      <a:ext cx="40477" cy="38593"/>
                    </a:xfrm>
                    <a:custGeom>
                      <a:avLst/>
                      <a:gdLst>
                        <a:gd name="connsiteX0" fmla="*/ 500 w 40477"/>
                        <a:gd name="connsiteY0" fmla="*/ 38594 h 38593"/>
                        <a:gd name="connsiteX1" fmla="*/ 13832 w 40477"/>
                        <a:gd name="connsiteY1" fmla="*/ 484 h 38593"/>
                        <a:gd name="connsiteX2" fmla="*/ 40478 w 40477"/>
                        <a:gd name="connsiteY2" fmla="*/ 29096 h 38593"/>
                        <a:gd name="connsiteX3" fmla="*/ 500 w 40477"/>
                        <a:gd name="connsiteY3" fmla="*/ 38594 h 38593"/>
                      </a:gdLst>
                      <a:ahLst/>
                      <a:cxnLst>
                        <a:cxn ang="0">
                          <a:pos x="connsiteX0" y="connsiteY0"/>
                        </a:cxn>
                        <a:cxn ang="0">
                          <a:pos x="connsiteX1" y="connsiteY1"/>
                        </a:cxn>
                        <a:cxn ang="0">
                          <a:pos x="connsiteX2" y="connsiteY2"/>
                        </a:cxn>
                        <a:cxn ang="0">
                          <a:pos x="connsiteX3" y="connsiteY3"/>
                        </a:cxn>
                      </a:cxnLst>
                      <a:rect l="l" t="t" r="r" b="b"/>
                      <a:pathLst>
                        <a:path w="40477" h="38593">
                          <a:moveTo>
                            <a:pt x="500" y="38594"/>
                          </a:moveTo>
                          <a:cubicBezTo>
                            <a:pt x="-1820" y="19853"/>
                            <a:pt x="4158" y="2785"/>
                            <a:pt x="13832" y="484"/>
                          </a:cubicBezTo>
                          <a:cubicBezTo>
                            <a:pt x="27303" y="-2721"/>
                            <a:pt x="38177" y="10355"/>
                            <a:pt x="40478" y="29096"/>
                          </a:cubicBezTo>
                          <a:lnTo>
                            <a:pt x="500" y="38594"/>
                          </a:ln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90" name="Freeform: Shape 989">
                      <a:extLst>
                        <a:ext uri="{FF2B5EF4-FFF2-40B4-BE49-F238E27FC236}">
                          <a16:creationId xmlns:a16="http://schemas.microsoft.com/office/drawing/2014/main" id="{DA9A46C3-E6CE-42B5-BC7F-216A7036679E}"/>
                        </a:ext>
                      </a:extLst>
                    </p:cNvPr>
                    <p:cNvSpPr/>
                    <p:nvPr/>
                  </p:nvSpPr>
                  <p:spPr>
                    <a:xfrm rot="-801601">
                      <a:off x="3434645" y="10466396"/>
                      <a:ext cx="98263" cy="8396"/>
                    </a:xfrm>
                    <a:custGeom>
                      <a:avLst/>
                      <a:gdLst>
                        <a:gd name="connsiteX0" fmla="*/ 94232 w 98263"/>
                        <a:gd name="connsiteY0" fmla="*/ 0 h 8396"/>
                        <a:gd name="connsiteX1" fmla="*/ 98264 w 98263"/>
                        <a:gd name="connsiteY1" fmla="*/ 4031 h 8396"/>
                        <a:gd name="connsiteX2" fmla="*/ 98264 w 98263"/>
                        <a:gd name="connsiteY2" fmla="*/ 4365 h 8396"/>
                        <a:gd name="connsiteX3" fmla="*/ 94232 w 98263"/>
                        <a:gd name="connsiteY3" fmla="*/ 8397 h 8396"/>
                        <a:gd name="connsiteX4" fmla="*/ 4031 w 98263"/>
                        <a:gd name="connsiteY4" fmla="*/ 8397 h 8396"/>
                        <a:gd name="connsiteX5" fmla="*/ 0 w 98263"/>
                        <a:gd name="connsiteY5" fmla="*/ 4365 h 8396"/>
                        <a:gd name="connsiteX6" fmla="*/ 0 w 98263"/>
                        <a:gd name="connsiteY6" fmla="*/ 4031 h 8396"/>
                        <a:gd name="connsiteX7" fmla="*/ 4031 w 98263"/>
                        <a:gd name="connsiteY7" fmla="*/ 0 h 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263" h="8396">
                          <a:moveTo>
                            <a:pt x="94232" y="0"/>
                          </a:moveTo>
                          <a:cubicBezTo>
                            <a:pt x="96459" y="0"/>
                            <a:pt x="98264" y="1805"/>
                            <a:pt x="98264" y="4031"/>
                          </a:cubicBezTo>
                          <a:lnTo>
                            <a:pt x="98264" y="4365"/>
                          </a:lnTo>
                          <a:cubicBezTo>
                            <a:pt x="98264" y="6592"/>
                            <a:pt x="96459" y="8397"/>
                            <a:pt x="94232" y="8397"/>
                          </a:cubicBezTo>
                          <a:lnTo>
                            <a:pt x="4031" y="8397"/>
                          </a:lnTo>
                          <a:cubicBezTo>
                            <a:pt x="1805" y="8397"/>
                            <a:pt x="0" y="6592"/>
                            <a:pt x="0" y="4365"/>
                          </a:cubicBezTo>
                          <a:lnTo>
                            <a:pt x="0" y="4031"/>
                          </a:lnTo>
                          <a:cubicBezTo>
                            <a:pt x="0" y="1805"/>
                            <a:pt x="1805" y="0"/>
                            <a:pt x="4031" y="0"/>
                          </a:cubicBez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837" name="Graphic 10">
                  <a:extLst>
                    <a:ext uri="{FF2B5EF4-FFF2-40B4-BE49-F238E27FC236}">
                      <a16:creationId xmlns:a16="http://schemas.microsoft.com/office/drawing/2014/main" id="{7C99E449-3F63-4971-ADF7-D409AA7D2F17}"/>
                    </a:ext>
                  </a:extLst>
                </p:cNvPr>
                <p:cNvGrpSpPr/>
                <p:nvPr/>
              </p:nvGrpSpPr>
              <p:grpSpPr>
                <a:xfrm>
                  <a:off x="4267475" y="10456703"/>
                  <a:ext cx="357248" cy="921531"/>
                  <a:chOff x="4267475" y="10456703"/>
                  <a:chExt cx="357248" cy="921531"/>
                </a:xfrm>
              </p:grpSpPr>
              <p:sp>
                <p:nvSpPr>
                  <p:cNvPr id="956" name="Freeform: Shape 955">
                    <a:extLst>
                      <a:ext uri="{FF2B5EF4-FFF2-40B4-BE49-F238E27FC236}">
                        <a16:creationId xmlns:a16="http://schemas.microsoft.com/office/drawing/2014/main" id="{7E34BCCC-B5C6-4338-B10F-011C984904A2}"/>
                      </a:ext>
                    </a:extLst>
                  </p:cNvPr>
                  <p:cNvSpPr/>
                  <p:nvPr/>
                </p:nvSpPr>
                <p:spPr>
                  <a:xfrm>
                    <a:off x="4516526" y="10728106"/>
                    <a:ext cx="107898" cy="137690"/>
                  </a:xfrm>
                  <a:custGeom>
                    <a:avLst/>
                    <a:gdLst>
                      <a:gd name="connsiteX0" fmla="*/ 72051 w 107898"/>
                      <a:gd name="connsiteY0" fmla="*/ 20 h 137690"/>
                      <a:gd name="connsiteX1" fmla="*/ 0 w 107898"/>
                      <a:gd name="connsiteY1" fmla="*/ 126699 h 137690"/>
                      <a:gd name="connsiteX2" fmla="*/ 8377 w 107898"/>
                      <a:gd name="connsiteY2" fmla="*/ 137691 h 137690"/>
                      <a:gd name="connsiteX3" fmla="*/ 107899 w 107898"/>
                      <a:gd name="connsiteY3" fmla="*/ 11622 h 137690"/>
                      <a:gd name="connsiteX4" fmla="*/ 72051 w 107898"/>
                      <a:gd name="connsiteY4" fmla="*/ 0 h 137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898" h="137690">
                        <a:moveTo>
                          <a:pt x="72051" y="20"/>
                        </a:moveTo>
                        <a:lnTo>
                          <a:pt x="0" y="126699"/>
                        </a:lnTo>
                        <a:lnTo>
                          <a:pt x="8377" y="137691"/>
                        </a:lnTo>
                        <a:cubicBezTo>
                          <a:pt x="36891" y="117771"/>
                          <a:pt x="98323" y="56634"/>
                          <a:pt x="107899" y="11622"/>
                        </a:cubicBezTo>
                        <a:lnTo>
                          <a:pt x="72051" y="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57" name="Freeform: Shape 956">
                    <a:extLst>
                      <a:ext uri="{FF2B5EF4-FFF2-40B4-BE49-F238E27FC236}">
                        <a16:creationId xmlns:a16="http://schemas.microsoft.com/office/drawing/2014/main" id="{0B2849F6-54EC-47E6-9964-D118342390BB}"/>
                      </a:ext>
                    </a:extLst>
                  </p:cNvPr>
                  <p:cNvSpPr/>
                  <p:nvPr/>
                </p:nvSpPr>
                <p:spPr>
                  <a:xfrm>
                    <a:off x="4490411" y="10600857"/>
                    <a:ext cx="134311" cy="152940"/>
                  </a:xfrm>
                  <a:custGeom>
                    <a:avLst/>
                    <a:gdLst>
                      <a:gd name="connsiteX0" fmla="*/ 94115 w 134311"/>
                      <a:gd name="connsiteY0" fmla="*/ 143826 h 152940"/>
                      <a:gd name="connsiteX1" fmla="*/ 133817 w 134311"/>
                      <a:gd name="connsiteY1" fmla="*/ 132086 h 152940"/>
                      <a:gd name="connsiteX2" fmla="*/ 39368 w 134311"/>
                      <a:gd name="connsiteY2" fmla="*/ 0 h 152940"/>
                      <a:gd name="connsiteX3" fmla="*/ 0 w 134311"/>
                      <a:gd name="connsiteY3" fmla="*/ 39368 h 152940"/>
                      <a:gd name="connsiteX4" fmla="*/ 94115 w 134311"/>
                      <a:gd name="connsiteY4" fmla="*/ 143826 h 15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11" h="152940">
                        <a:moveTo>
                          <a:pt x="94115" y="143826"/>
                        </a:moveTo>
                        <a:cubicBezTo>
                          <a:pt x="110790" y="163156"/>
                          <a:pt x="138340" y="148133"/>
                          <a:pt x="133817" y="132086"/>
                        </a:cubicBezTo>
                        <a:cubicBezTo>
                          <a:pt x="113405" y="93446"/>
                          <a:pt x="77380" y="30519"/>
                          <a:pt x="39368" y="0"/>
                        </a:cubicBezTo>
                        <a:lnTo>
                          <a:pt x="0" y="39368"/>
                        </a:lnTo>
                        <a:lnTo>
                          <a:pt x="94115" y="143826"/>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58" name="Freeform: Shape 957">
                    <a:extLst>
                      <a:ext uri="{FF2B5EF4-FFF2-40B4-BE49-F238E27FC236}">
                        <a16:creationId xmlns:a16="http://schemas.microsoft.com/office/drawing/2014/main" id="{42EC884A-857E-4BF2-AD07-8B328CB1C608}"/>
                      </a:ext>
                    </a:extLst>
                  </p:cNvPr>
                  <p:cNvSpPr/>
                  <p:nvPr/>
                </p:nvSpPr>
                <p:spPr>
                  <a:xfrm>
                    <a:off x="4412462" y="10861038"/>
                    <a:ext cx="114787" cy="486736"/>
                  </a:xfrm>
                  <a:custGeom>
                    <a:avLst/>
                    <a:gdLst>
                      <a:gd name="connsiteX0" fmla="*/ 0 w 114787"/>
                      <a:gd name="connsiteY0" fmla="*/ 0 h 486736"/>
                      <a:gd name="connsiteX1" fmla="*/ 112029 w 114787"/>
                      <a:gd name="connsiteY1" fmla="*/ 0 h 486736"/>
                      <a:gd name="connsiteX2" fmla="*/ 100761 w 114787"/>
                      <a:gd name="connsiteY2" fmla="*/ 228836 h 486736"/>
                      <a:gd name="connsiteX3" fmla="*/ 86051 w 114787"/>
                      <a:gd name="connsiteY3" fmla="*/ 486736 h 486736"/>
                      <a:gd name="connsiteX4" fmla="*/ 48355 w 114787"/>
                      <a:gd name="connsiteY4" fmla="*/ 486736 h 486736"/>
                      <a:gd name="connsiteX5" fmla="*/ 0 w 114787"/>
                      <a:gd name="connsiteY5" fmla="*/ 0 h 48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787" h="486736">
                        <a:moveTo>
                          <a:pt x="0" y="0"/>
                        </a:moveTo>
                        <a:lnTo>
                          <a:pt x="112029" y="0"/>
                        </a:lnTo>
                        <a:cubicBezTo>
                          <a:pt x="122254" y="55375"/>
                          <a:pt x="100761" y="146933"/>
                          <a:pt x="100761" y="228836"/>
                        </a:cubicBezTo>
                        <a:cubicBezTo>
                          <a:pt x="103415" y="313629"/>
                          <a:pt x="109354" y="387489"/>
                          <a:pt x="86051" y="486736"/>
                        </a:cubicBezTo>
                        <a:lnTo>
                          <a:pt x="48355" y="486736"/>
                        </a:lnTo>
                        <a:lnTo>
                          <a:pt x="0" y="0"/>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59" name="Freeform: Shape 958">
                    <a:extLst>
                      <a:ext uri="{FF2B5EF4-FFF2-40B4-BE49-F238E27FC236}">
                        <a16:creationId xmlns:a16="http://schemas.microsoft.com/office/drawing/2014/main" id="{98A8C01D-EF07-4AD6-B781-2DCA7F57B3CE}"/>
                      </a:ext>
                    </a:extLst>
                  </p:cNvPr>
                  <p:cNvSpPr/>
                  <p:nvPr/>
                </p:nvSpPr>
                <p:spPr>
                  <a:xfrm>
                    <a:off x="4426443" y="11347775"/>
                    <a:ext cx="70123" cy="30460"/>
                  </a:xfrm>
                  <a:custGeom>
                    <a:avLst/>
                    <a:gdLst>
                      <a:gd name="connsiteX0" fmla="*/ 66171 w 70123"/>
                      <a:gd name="connsiteY0" fmla="*/ 0 h 30460"/>
                      <a:gd name="connsiteX1" fmla="*/ 42239 w 70123"/>
                      <a:gd name="connsiteY1" fmla="*/ 0 h 30460"/>
                      <a:gd name="connsiteX2" fmla="*/ 20333 w 70123"/>
                      <a:gd name="connsiteY2" fmla="*/ 16951 h 30460"/>
                      <a:gd name="connsiteX3" fmla="*/ 0 w 70123"/>
                      <a:gd name="connsiteY3" fmla="*/ 20392 h 30460"/>
                      <a:gd name="connsiteX4" fmla="*/ 1298 w 70123"/>
                      <a:gd name="connsiteY4" fmla="*/ 30460 h 30460"/>
                      <a:gd name="connsiteX5" fmla="*/ 70123 w 70123"/>
                      <a:gd name="connsiteY5" fmla="*/ 30460 h 30460"/>
                      <a:gd name="connsiteX6" fmla="*/ 66171 w 70123"/>
                      <a:gd name="connsiteY6" fmla="*/ 0 h 3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23" h="30460">
                        <a:moveTo>
                          <a:pt x="66171" y="0"/>
                        </a:moveTo>
                        <a:lnTo>
                          <a:pt x="42239" y="0"/>
                        </a:lnTo>
                        <a:lnTo>
                          <a:pt x="20333" y="16951"/>
                        </a:lnTo>
                        <a:lnTo>
                          <a:pt x="0" y="20392"/>
                        </a:lnTo>
                        <a:lnTo>
                          <a:pt x="1298" y="30460"/>
                        </a:lnTo>
                        <a:lnTo>
                          <a:pt x="70123" y="30460"/>
                        </a:lnTo>
                        <a:lnTo>
                          <a:pt x="66171"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60" name="Freeform: Shape 959">
                    <a:extLst>
                      <a:ext uri="{FF2B5EF4-FFF2-40B4-BE49-F238E27FC236}">
                        <a16:creationId xmlns:a16="http://schemas.microsoft.com/office/drawing/2014/main" id="{70B888D5-C228-406F-B24E-0DC76E546FEB}"/>
                      </a:ext>
                    </a:extLst>
                  </p:cNvPr>
                  <p:cNvSpPr/>
                  <p:nvPr/>
                </p:nvSpPr>
                <p:spPr>
                  <a:xfrm>
                    <a:off x="4306253" y="11347775"/>
                    <a:ext cx="70123" cy="30460"/>
                  </a:xfrm>
                  <a:custGeom>
                    <a:avLst/>
                    <a:gdLst>
                      <a:gd name="connsiteX0" fmla="*/ 66171 w 70123"/>
                      <a:gd name="connsiteY0" fmla="*/ 0 h 30460"/>
                      <a:gd name="connsiteX1" fmla="*/ 42239 w 70123"/>
                      <a:gd name="connsiteY1" fmla="*/ 0 h 30460"/>
                      <a:gd name="connsiteX2" fmla="*/ 20352 w 70123"/>
                      <a:gd name="connsiteY2" fmla="*/ 16951 h 30460"/>
                      <a:gd name="connsiteX3" fmla="*/ 0 w 70123"/>
                      <a:gd name="connsiteY3" fmla="*/ 20392 h 30460"/>
                      <a:gd name="connsiteX4" fmla="*/ 1317 w 70123"/>
                      <a:gd name="connsiteY4" fmla="*/ 30460 h 30460"/>
                      <a:gd name="connsiteX5" fmla="*/ 70123 w 70123"/>
                      <a:gd name="connsiteY5" fmla="*/ 30460 h 30460"/>
                      <a:gd name="connsiteX6" fmla="*/ 66171 w 70123"/>
                      <a:gd name="connsiteY6" fmla="*/ 0 h 3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23" h="30460">
                        <a:moveTo>
                          <a:pt x="66171" y="0"/>
                        </a:moveTo>
                        <a:lnTo>
                          <a:pt x="42239" y="0"/>
                        </a:lnTo>
                        <a:lnTo>
                          <a:pt x="20352" y="16951"/>
                        </a:lnTo>
                        <a:lnTo>
                          <a:pt x="0" y="20392"/>
                        </a:lnTo>
                        <a:lnTo>
                          <a:pt x="1317" y="30460"/>
                        </a:lnTo>
                        <a:lnTo>
                          <a:pt x="70123" y="30460"/>
                        </a:lnTo>
                        <a:lnTo>
                          <a:pt x="66171"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61" name="Freeform: Shape 960">
                    <a:extLst>
                      <a:ext uri="{FF2B5EF4-FFF2-40B4-BE49-F238E27FC236}">
                        <a16:creationId xmlns:a16="http://schemas.microsoft.com/office/drawing/2014/main" id="{3177AE6C-012A-42CB-8661-DC3923E37D60}"/>
                      </a:ext>
                    </a:extLst>
                  </p:cNvPr>
                  <p:cNvSpPr/>
                  <p:nvPr/>
                </p:nvSpPr>
                <p:spPr>
                  <a:xfrm>
                    <a:off x="4328061" y="10783836"/>
                    <a:ext cx="196920" cy="563938"/>
                  </a:xfrm>
                  <a:custGeom>
                    <a:avLst/>
                    <a:gdLst>
                      <a:gd name="connsiteX0" fmla="*/ 58679 w 196920"/>
                      <a:gd name="connsiteY0" fmla="*/ 0 h 563938"/>
                      <a:gd name="connsiteX1" fmla="*/ 164631 w 196920"/>
                      <a:gd name="connsiteY1" fmla="*/ 0 h 563938"/>
                      <a:gd name="connsiteX2" fmla="*/ 196921 w 196920"/>
                      <a:gd name="connsiteY2" fmla="*/ 77203 h 563938"/>
                      <a:gd name="connsiteX3" fmla="*/ 75335 w 196920"/>
                      <a:gd name="connsiteY3" fmla="*/ 306039 h 563938"/>
                      <a:gd name="connsiteX4" fmla="*/ 50243 w 196920"/>
                      <a:gd name="connsiteY4" fmla="*/ 563939 h 563938"/>
                      <a:gd name="connsiteX5" fmla="*/ 10580 w 196920"/>
                      <a:gd name="connsiteY5" fmla="*/ 563939 h 563938"/>
                      <a:gd name="connsiteX6" fmla="*/ 0 w 196920"/>
                      <a:gd name="connsiteY6" fmla="*/ 306019 h 563938"/>
                      <a:gd name="connsiteX7" fmla="*/ 58679 w 196920"/>
                      <a:gd name="connsiteY7" fmla="*/ 0 h 5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20" h="563938">
                        <a:moveTo>
                          <a:pt x="58679" y="0"/>
                        </a:moveTo>
                        <a:lnTo>
                          <a:pt x="164631" y="0"/>
                        </a:lnTo>
                        <a:cubicBezTo>
                          <a:pt x="164631" y="0"/>
                          <a:pt x="196921" y="46625"/>
                          <a:pt x="196921" y="77203"/>
                        </a:cubicBezTo>
                        <a:cubicBezTo>
                          <a:pt x="196921" y="150394"/>
                          <a:pt x="96769" y="238845"/>
                          <a:pt x="75335" y="306039"/>
                        </a:cubicBezTo>
                        <a:cubicBezTo>
                          <a:pt x="77990" y="390832"/>
                          <a:pt x="73546" y="464692"/>
                          <a:pt x="50243" y="563939"/>
                        </a:cubicBezTo>
                        <a:lnTo>
                          <a:pt x="10580" y="563939"/>
                        </a:lnTo>
                        <a:lnTo>
                          <a:pt x="0" y="306019"/>
                        </a:lnTo>
                        <a:cubicBezTo>
                          <a:pt x="0" y="306019"/>
                          <a:pt x="47116" y="25131"/>
                          <a:pt x="58679" y="0"/>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62" name="Freeform: Shape 961">
                    <a:extLst>
                      <a:ext uri="{FF2B5EF4-FFF2-40B4-BE49-F238E27FC236}">
                        <a16:creationId xmlns:a16="http://schemas.microsoft.com/office/drawing/2014/main" id="{57ADF351-DA26-42DC-9F37-31F2CE0BC22B}"/>
                      </a:ext>
                    </a:extLst>
                  </p:cNvPr>
                  <p:cNvSpPr/>
                  <p:nvPr/>
                </p:nvSpPr>
                <p:spPr>
                  <a:xfrm>
                    <a:off x="4426443" y="10538855"/>
                    <a:ext cx="30716" cy="44697"/>
                  </a:xfrm>
                  <a:custGeom>
                    <a:avLst/>
                    <a:gdLst>
                      <a:gd name="connsiteX0" fmla="*/ 0 w 30716"/>
                      <a:gd name="connsiteY0" fmla="*/ 11327 h 44697"/>
                      <a:gd name="connsiteX1" fmla="*/ 4071 w 30716"/>
                      <a:gd name="connsiteY1" fmla="*/ 43694 h 44697"/>
                      <a:gd name="connsiteX2" fmla="*/ 30716 w 30716"/>
                      <a:gd name="connsiteY2" fmla="*/ 44697 h 44697"/>
                      <a:gd name="connsiteX3" fmla="*/ 30500 w 30716"/>
                      <a:gd name="connsiteY3" fmla="*/ 0 h 44697"/>
                      <a:gd name="connsiteX4" fmla="*/ 0 w 30716"/>
                      <a:gd name="connsiteY4" fmla="*/ 11327 h 44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16" h="44697">
                        <a:moveTo>
                          <a:pt x="0" y="11327"/>
                        </a:moveTo>
                        <a:lnTo>
                          <a:pt x="4071" y="43694"/>
                        </a:lnTo>
                        <a:lnTo>
                          <a:pt x="30716" y="44697"/>
                        </a:lnTo>
                        <a:lnTo>
                          <a:pt x="30500" y="0"/>
                        </a:lnTo>
                        <a:lnTo>
                          <a:pt x="0" y="11327"/>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63" name="Freeform: Shape 962">
                    <a:extLst>
                      <a:ext uri="{FF2B5EF4-FFF2-40B4-BE49-F238E27FC236}">
                        <a16:creationId xmlns:a16="http://schemas.microsoft.com/office/drawing/2014/main" id="{0A1369A4-439B-4A57-9E10-9A32C67E4E67}"/>
                      </a:ext>
                    </a:extLst>
                  </p:cNvPr>
                  <p:cNvSpPr/>
                  <p:nvPr/>
                </p:nvSpPr>
                <p:spPr>
                  <a:xfrm>
                    <a:off x="4364187" y="10580964"/>
                    <a:ext cx="187636" cy="301272"/>
                  </a:xfrm>
                  <a:custGeom>
                    <a:avLst/>
                    <a:gdLst>
                      <a:gd name="connsiteX0" fmla="*/ 1040 w 187636"/>
                      <a:gd name="connsiteY0" fmla="*/ 301272 h 301272"/>
                      <a:gd name="connsiteX1" fmla="*/ 17145 w 187636"/>
                      <a:gd name="connsiteY1" fmla="*/ 21486 h 301272"/>
                      <a:gd name="connsiteX2" fmla="*/ 165593 w 187636"/>
                      <a:gd name="connsiteY2" fmla="*/ 19893 h 301272"/>
                      <a:gd name="connsiteX3" fmla="*/ 187637 w 187636"/>
                      <a:gd name="connsiteY3" fmla="*/ 301155 h 301272"/>
                      <a:gd name="connsiteX4" fmla="*/ 1060 w 187636"/>
                      <a:gd name="connsiteY4" fmla="*/ 301272 h 301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36" h="301272">
                        <a:moveTo>
                          <a:pt x="1040" y="301272"/>
                        </a:moveTo>
                        <a:cubicBezTo>
                          <a:pt x="1001" y="259682"/>
                          <a:pt x="-6059" y="47522"/>
                          <a:pt x="17145" y="21486"/>
                        </a:cubicBezTo>
                        <a:cubicBezTo>
                          <a:pt x="41942" y="-6340"/>
                          <a:pt x="108801" y="-7421"/>
                          <a:pt x="165593" y="19893"/>
                        </a:cubicBezTo>
                        <a:cubicBezTo>
                          <a:pt x="167540" y="78237"/>
                          <a:pt x="187637" y="301155"/>
                          <a:pt x="187637" y="301155"/>
                        </a:cubicBezTo>
                        <a:lnTo>
                          <a:pt x="1060" y="301272"/>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64" name="Freeform: Shape 963">
                    <a:extLst>
                      <a:ext uri="{FF2B5EF4-FFF2-40B4-BE49-F238E27FC236}">
                        <a16:creationId xmlns:a16="http://schemas.microsoft.com/office/drawing/2014/main" id="{92D4C31B-5AE3-4A08-921D-8FB609B8D785}"/>
                      </a:ext>
                    </a:extLst>
                  </p:cNvPr>
                  <p:cNvSpPr/>
                  <p:nvPr/>
                </p:nvSpPr>
                <p:spPr>
                  <a:xfrm>
                    <a:off x="4305762" y="10764781"/>
                    <a:ext cx="134858" cy="117279"/>
                  </a:xfrm>
                  <a:custGeom>
                    <a:avLst/>
                    <a:gdLst>
                      <a:gd name="connsiteX0" fmla="*/ 101567 w 134858"/>
                      <a:gd name="connsiteY0" fmla="*/ 20 h 117279"/>
                      <a:gd name="connsiteX1" fmla="*/ 0 w 134858"/>
                      <a:gd name="connsiteY1" fmla="*/ 94704 h 117279"/>
                      <a:gd name="connsiteX2" fmla="*/ 5349 w 134858"/>
                      <a:gd name="connsiteY2" fmla="*/ 117279 h 117279"/>
                      <a:gd name="connsiteX3" fmla="*/ 134859 w 134858"/>
                      <a:gd name="connsiteY3" fmla="*/ 13627 h 117279"/>
                      <a:gd name="connsiteX4" fmla="*/ 101567 w 134858"/>
                      <a:gd name="connsiteY4" fmla="*/ 0 h 117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858" h="117279">
                        <a:moveTo>
                          <a:pt x="101567" y="20"/>
                        </a:moveTo>
                        <a:lnTo>
                          <a:pt x="0" y="94704"/>
                        </a:lnTo>
                        <a:lnTo>
                          <a:pt x="5349" y="117279"/>
                        </a:lnTo>
                        <a:cubicBezTo>
                          <a:pt x="37952" y="105166"/>
                          <a:pt x="114290" y="54805"/>
                          <a:pt x="134859" y="13627"/>
                        </a:cubicBezTo>
                        <a:lnTo>
                          <a:pt x="101567" y="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65" name="Freeform: Shape 964">
                    <a:extLst>
                      <a:ext uri="{FF2B5EF4-FFF2-40B4-BE49-F238E27FC236}">
                        <a16:creationId xmlns:a16="http://schemas.microsoft.com/office/drawing/2014/main" id="{D889CAD5-6E50-4A2C-9726-9505457B4C15}"/>
                      </a:ext>
                    </a:extLst>
                  </p:cNvPr>
                  <p:cNvSpPr/>
                  <p:nvPr/>
                </p:nvSpPr>
                <p:spPr>
                  <a:xfrm>
                    <a:off x="4267475" y="10859485"/>
                    <a:ext cx="43635" cy="39171"/>
                  </a:xfrm>
                  <a:custGeom>
                    <a:avLst/>
                    <a:gdLst>
                      <a:gd name="connsiteX0" fmla="*/ 38287 w 43635"/>
                      <a:gd name="connsiteY0" fmla="*/ 0 h 39171"/>
                      <a:gd name="connsiteX1" fmla="*/ 24266 w 43635"/>
                      <a:gd name="connsiteY1" fmla="*/ 6116 h 39171"/>
                      <a:gd name="connsiteX2" fmla="*/ 3422 w 43635"/>
                      <a:gd name="connsiteY2" fmla="*/ 2281 h 39171"/>
                      <a:gd name="connsiteX3" fmla="*/ 1416 w 43635"/>
                      <a:gd name="connsiteY3" fmla="*/ 5919 h 39171"/>
                      <a:gd name="connsiteX4" fmla="*/ 13805 w 43635"/>
                      <a:gd name="connsiteY4" fmla="*/ 12369 h 39171"/>
                      <a:gd name="connsiteX5" fmla="*/ 0 w 43635"/>
                      <a:gd name="connsiteY5" fmla="*/ 37461 h 39171"/>
                      <a:gd name="connsiteX6" fmla="*/ 3107 w 43635"/>
                      <a:gd name="connsiteY6" fmla="*/ 39172 h 39171"/>
                      <a:gd name="connsiteX7" fmla="*/ 14513 w 43635"/>
                      <a:gd name="connsiteY7" fmla="*/ 32053 h 39171"/>
                      <a:gd name="connsiteX8" fmla="*/ 32446 w 43635"/>
                      <a:gd name="connsiteY8" fmla="*/ 34905 h 39171"/>
                      <a:gd name="connsiteX9" fmla="*/ 43636 w 43635"/>
                      <a:gd name="connsiteY9" fmla="*/ 22575 h 39171"/>
                      <a:gd name="connsiteX10" fmla="*/ 38287 w 43635"/>
                      <a:gd name="connsiteY10" fmla="*/ 0 h 3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635" h="39171">
                        <a:moveTo>
                          <a:pt x="38287" y="0"/>
                        </a:moveTo>
                        <a:lnTo>
                          <a:pt x="24266" y="6116"/>
                        </a:lnTo>
                        <a:lnTo>
                          <a:pt x="3422" y="2281"/>
                        </a:lnTo>
                        <a:lnTo>
                          <a:pt x="1416" y="5919"/>
                        </a:lnTo>
                        <a:lnTo>
                          <a:pt x="13805" y="12369"/>
                        </a:lnTo>
                        <a:lnTo>
                          <a:pt x="0" y="37461"/>
                        </a:lnTo>
                        <a:lnTo>
                          <a:pt x="3107" y="39172"/>
                        </a:lnTo>
                        <a:lnTo>
                          <a:pt x="14513" y="32053"/>
                        </a:lnTo>
                        <a:lnTo>
                          <a:pt x="32446" y="34905"/>
                        </a:lnTo>
                        <a:lnTo>
                          <a:pt x="43636" y="22575"/>
                        </a:lnTo>
                        <a:lnTo>
                          <a:pt x="38287" y="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66" name="Freeform: Shape 965">
                    <a:extLst>
                      <a:ext uri="{FF2B5EF4-FFF2-40B4-BE49-F238E27FC236}">
                        <a16:creationId xmlns:a16="http://schemas.microsoft.com/office/drawing/2014/main" id="{E7DBB2BF-2702-4FCC-AD96-F935082D0696}"/>
                      </a:ext>
                    </a:extLst>
                  </p:cNvPr>
                  <p:cNvSpPr/>
                  <p:nvPr/>
                </p:nvSpPr>
                <p:spPr>
                  <a:xfrm>
                    <a:off x="4387044" y="10602407"/>
                    <a:ext cx="61649" cy="190652"/>
                  </a:xfrm>
                  <a:custGeom>
                    <a:avLst/>
                    <a:gdLst>
                      <a:gd name="connsiteX0" fmla="*/ 14563 w 61649"/>
                      <a:gd name="connsiteY0" fmla="*/ 180898 h 190652"/>
                      <a:gd name="connsiteX1" fmla="*/ 53577 w 61649"/>
                      <a:gd name="connsiteY1" fmla="*/ 176021 h 190652"/>
                      <a:gd name="connsiteX2" fmla="*/ 60224 w 61649"/>
                      <a:gd name="connsiteY2" fmla="*/ 28400 h 190652"/>
                      <a:gd name="connsiteX3" fmla="*/ 28505 w 61649"/>
                      <a:gd name="connsiteY3" fmla="*/ 44 h 190652"/>
                      <a:gd name="connsiteX4" fmla="*/ 109 w 61649"/>
                      <a:gd name="connsiteY4" fmla="*/ 32667 h 190652"/>
                      <a:gd name="connsiteX5" fmla="*/ 14563 w 61649"/>
                      <a:gd name="connsiteY5" fmla="*/ 180879 h 190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49" h="190652">
                        <a:moveTo>
                          <a:pt x="14563" y="180898"/>
                        </a:moveTo>
                        <a:cubicBezTo>
                          <a:pt x="23156" y="189708"/>
                          <a:pt x="45338" y="199540"/>
                          <a:pt x="53577" y="176021"/>
                        </a:cubicBezTo>
                        <a:cubicBezTo>
                          <a:pt x="62819" y="142139"/>
                          <a:pt x="62682" y="70856"/>
                          <a:pt x="60224" y="28400"/>
                        </a:cubicBezTo>
                        <a:cubicBezTo>
                          <a:pt x="59260" y="11823"/>
                          <a:pt x="45082" y="-841"/>
                          <a:pt x="28505" y="44"/>
                        </a:cubicBezTo>
                        <a:cubicBezTo>
                          <a:pt x="11535" y="968"/>
                          <a:pt x="-1326" y="15736"/>
                          <a:pt x="109" y="32667"/>
                        </a:cubicBezTo>
                        <a:lnTo>
                          <a:pt x="14563" y="180879"/>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967" name="Graphic 10">
                    <a:extLst>
                      <a:ext uri="{FF2B5EF4-FFF2-40B4-BE49-F238E27FC236}">
                        <a16:creationId xmlns:a16="http://schemas.microsoft.com/office/drawing/2014/main" id="{AA0750DB-8839-437A-B2F2-5C187F049845}"/>
                      </a:ext>
                    </a:extLst>
                  </p:cNvPr>
                  <p:cNvGrpSpPr/>
                  <p:nvPr/>
                </p:nvGrpSpPr>
                <p:grpSpPr>
                  <a:xfrm>
                    <a:off x="4409382" y="10467737"/>
                    <a:ext cx="123000" cy="156935"/>
                    <a:chOff x="4409382" y="10467737"/>
                    <a:chExt cx="123000" cy="156935"/>
                  </a:xfrm>
                </p:grpSpPr>
                <p:sp>
                  <p:nvSpPr>
                    <p:cNvPr id="972" name="Freeform: Shape 971">
                      <a:extLst>
                        <a:ext uri="{FF2B5EF4-FFF2-40B4-BE49-F238E27FC236}">
                          <a16:creationId xmlns:a16="http://schemas.microsoft.com/office/drawing/2014/main" id="{10212F85-AB26-40C5-B945-18B8097A75CD}"/>
                        </a:ext>
                      </a:extLst>
                    </p:cNvPr>
                    <p:cNvSpPr/>
                    <p:nvPr/>
                  </p:nvSpPr>
                  <p:spPr>
                    <a:xfrm>
                      <a:off x="4409541" y="10477797"/>
                      <a:ext cx="62150" cy="79334"/>
                    </a:xfrm>
                    <a:custGeom>
                      <a:avLst/>
                      <a:gdLst>
                        <a:gd name="connsiteX0" fmla="*/ 89 w 62150"/>
                        <a:gd name="connsiteY0" fmla="*/ 66505 h 79334"/>
                        <a:gd name="connsiteX1" fmla="*/ 21799 w 62150"/>
                        <a:gd name="connsiteY1" fmla="*/ 78147 h 79334"/>
                        <a:gd name="connsiteX2" fmla="*/ 47343 w 62150"/>
                        <a:gd name="connsiteY2" fmla="*/ 65149 h 79334"/>
                        <a:gd name="connsiteX3" fmla="*/ 62150 w 62150"/>
                        <a:gd name="connsiteY3" fmla="*/ 32112 h 79334"/>
                        <a:gd name="connsiteX4" fmla="*/ 51649 w 62150"/>
                        <a:gd name="connsiteY4" fmla="*/ 1711 h 79334"/>
                        <a:gd name="connsiteX5" fmla="*/ 6971 w 62150"/>
                        <a:gd name="connsiteY5" fmla="*/ 0 h 79334"/>
                        <a:gd name="connsiteX6" fmla="*/ 89 w 62150"/>
                        <a:gd name="connsiteY6" fmla="*/ 66505 h 7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50" h="79334">
                          <a:moveTo>
                            <a:pt x="89" y="66505"/>
                          </a:moveTo>
                          <a:cubicBezTo>
                            <a:pt x="-894" y="74489"/>
                            <a:pt x="6283" y="82394"/>
                            <a:pt x="21799" y="78147"/>
                          </a:cubicBezTo>
                          <a:lnTo>
                            <a:pt x="47343" y="65149"/>
                          </a:lnTo>
                          <a:lnTo>
                            <a:pt x="62150" y="32112"/>
                          </a:lnTo>
                          <a:lnTo>
                            <a:pt x="51649" y="1711"/>
                          </a:lnTo>
                          <a:lnTo>
                            <a:pt x="6971" y="0"/>
                          </a:lnTo>
                          <a:lnTo>
                            <a:pt x="89" y="66505"/>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73" name="Freeform: Shape 972">
                      <a:extLst>
                        <a:ext uri="{FF2B5EF4-FFF2-40B4-BE49-F238E27FC236}">
                          <a16:creationId xmlns:a16="http://schemas.microsoft.com/office/drawing/2014/main" id="{F31D235D-7282-40D4-968D-FC15348AEEBB}"/>
                        </a:ext>
                      </a:extLst>
                    </p:cNvPr>
                    <p:cNvSpPr/>
                    <p:nvPr/>
                  </p:nvSpPr>
                  <p:spPr>
                    <a:xfrm>
                      <a:off x="4409382" y="10467737"/>
                      <a:ext cx="72064" cy="41778"/>
                    </a:xfrm>
                    <a:custGeom>
                      <a:avLst/>
                      <a:gdLst>
                        <a:gd name="connsiteX0" fmla="*/ 36175 w 72064"/>
                        <a:gd name="connsiteY0" fmla="*/ 34955 h 41778"/>
                        <a:gd name="connsiteX1" fmla="*/ 17926 w 72064"/>
                        <a:gd name="connsiteY1" fmla="*/ 28072 h 41778"/>
                        <a:gd name="connsiteX2" fmla="*/ 189 w 72064"/>
                        <a:gd name="connsiteY2" fmla="*/ 8034 h 41778"/>
                        <a:gd name="connsiteX3" fmla="*/ 8350 w 72064"/>
                        <a:gd name="connsiteY3" fmla="*/ 286 h 41778"/>
                        <a:gd name="connsiteX4" fmla="*/ 51179 w 72064"/>
                        <a:gd name="connsiteY4" fmla="*/ 4573 h 41778"/>
                        <a:gd name="connsiteX5" fmla="*/ 68740 w 72064"/>
                        <a:gd name="connsiteY5" fmla="*/ 41778 h 41778"/>
                        <a:gd name="connsiteX6" fmla="*/ 36155 w 72064"/>
                        <a:gd name="connsiteY6" fmla="*/ 34955 h 4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64" h="41778">
                          <a:moveTo>
                            <a:pt x="36175" y="34955"/>
                          </a:moveTo>
                          <a:lnTo>
                            <a:pt x="17926" y="28072"/>
                          </a:lnTo>
                          <a:cubicBezTo>
                            <a:pt x="9077" y="24729"/>
                            <a:pt x="2431" y="17237"/>
                            <a:pt x="189" y="8034"/>
                          </a:cubicBezTo>
                          <a:cubicBezTo>
                            <a:pt x="-991" y="3157"/>
                            <a:pt x="3552" y="-1169"/>
                            <a:pt x="8350" y="286"/>
                          </a:cubicBezTo>
                          <a:lnTo>
                            <a:pt x="51179" y="4573"/>
                          </a:lnTo>
                          <a:cubicBezTo>
                            <a:pt x="70273" y="6264"/>
                            <a:pt x="76664" y="21209"/>
                            <a:pt x="68740" y="41778"/>
                          </a:cubicBezTo>
                          <a:lnTo>
                            <a:pt x="36155" y="34955"/>
                          </a:lnTo>
                          <a:close/>
                        </a:path>
                      </a:pathLst>
                    </a:custGeom>
                    <a:solidFill>
                      <a:srgbClr val="37384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74" name="Freeform: Shape 973">
                      <a:extLst>
                        <a:ext uri="{FF2B5EF4-FFF2-40B4-BE49-F238E27FC236}">
                          <a16:creationId xmlns:a16="http://schemas.microsoft.com/office/drawing/2014/main" id="{7952A929-4388-41CA-BA8A-39546840B6FA}"/>
                        </a:ext>
                      </a:extLst>
                    </p:cNvPr>
                    <p:cNvSpPr/>
                    <p:nvPr/>
                  </p:nvSpPr>
                  <p:spPr>
                    <a:xfrm>
                      <a:off x="4433883" y="10498936"/>
                      <a:ext cx="98499" cy="125736"/>
                    </a:xfrm>
                    <a:custGeom>
                      <a:avLst/>
                      <a:gdLst>
                        <a:gd name="connsiteX0" fmla="*/ 44258 w 98499"/>
                        <a:gd name="connsiteY0" fmla="*/ 10580 h 125736"/>
                        <a:gd name="connsiteX1" fmla="*/ 70923 w 98499"/>
                        <a:gd name="connsiteY1" fmla="*/ 64893 h 125736"/>
                        <a:gd name="connsiteX2" fmla="*/ 89879 w 98499"/>
                        <a:gd name="connsiteY2" fmla="*/ 78973 h 125736"/>
                        <a:gd name="connsiteX3" fmla="*/ 97175 w 98499"/>
                        <a:gd name="connsiteY3" fmla="*/ 103534 h 125736"/>
                        <a:gd name="connsiteX4" fmla="*/ 54326 w 98499"/>
                        <a:gd name="connsiteY4" fmla="*/ 125420 h 125736"/>
                        <a:gd name="connsiteX5" fmla="*/ 1665 w 98499"/>
                        <a:gd name="connsiteY5" fmla="*/ 0 h 125736"/>
                        <a:gd name="connsiteX6" fmla="*/ 44277 w 98499"/>
                        <a:gd name="connsiteY6" fmla="*/ 10599 h 12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499" h="125736">
                          <a:moveTo>
                            <a:pt x="44258" y="10580"/>
                          </a:moveTo>
                          <a:cubicBezTo>
                            <a:pt x="37277" y="36084"/>
                            <a:pt x="54975" y="52288"/>
                            <a:pt x="70923" y="64893"/>
                          </a:cubicBezTo>
                          <a:lnTo>
                            <a:pt x="89879" y="78973"/>
                          </a:lnTo>
                          <a:cubicBezTo>
                            <a:pt x="97490" y="84616"/>
                            <a:pt x="100459" y="94626"/>
                            <a:pt x="97175" y="103534"/>
                          </a:cubicBezTo>
                          <a:cubicBezTo>
                            <a:pt x="93340" y="113877"/>
                            <a:pt x="80480" y="128036"/>
                            <a:pt x="54326" y="125420"/>
                          </a:cubicBezTo>
                          <a:cubicBezTo>
                            <a:pt x="21211" y="122117"/>
                            <a:pt x="-7283" y="89572"/>
                            <a:pt x="1665" y="0"/>
                          </a:cubicBezTo>
                          <a:lnTo>
                            <a:pt x="44277" y="10599"/>
                          </a:lnTo>
                          <a:close/>
                        </a:path>
                      </a:pathLst>
                    </a:custGeom>
                    <a:solidFill>
                      <a:srgbClr val="37384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968" name="Graphic 10">
                    <a:extLst>
                      <a:ext uri="{FF2B5EF4-FFF2-40B4-BE49-F238E27FC236}">
                        <a16:creationId xmlns:a16="http://schemas.microsoft.com/office/drawing/2014/main" id="{78B3D445-785B-4D7E-8F5B-B60557B7F78D}"/>
                      </a:ext>
                    </a:extLst>
                  </p:cNvPr>
                  <p:cNvGrpSpPr/>
                  <p:nvPr/>
                </p:nvGrpSpPr>
                <p:grpSpPr>
                  <a:xfrm>
                    <a:off x="4395370" y="10456703"/>
                    <a:ext cx="96204" cy="62785"/>
                    <a:chOff x="4395370" y="10456703"/>
                    <a:chExt cx="96204" cy="62785"/>
                  </a:xfrm>
                </p:grpSpPr>
                <p:sp>
                  <p:nvSpPr>
                    <p:cNvPr id="969" name="Freeform: Shape 968">
                      <a:extLst>
                        <a:ext uri="{FF2B5EF4-FFF2-40B4-BE49-F238E27FC236}">
                          <a16:creationId xmlns:a16="http://schemas.microsoft.com/office/drawing/2014/main" id="{EBC84E43-1FF7-419C-9B81-9E17ED9EE311}"/>
                        </a:ext>
                      </a:extLst>
                    </p:cNvPr>
                    <p:cNvSpPr/>
                    <p:nvPr/>
                  </p:nvSpPr>
                  <p:spPr>
                    <a:xfrm>
                      <a:off x="4403868" y="10456703"/>
                      <a:ext cx="87686" cy="55113"/>
                    </a:xfrm>
                    <a:custGeom>
                      <a:avLst/>
                      <a:gdLst>
                        <a:gd name="connsiteX0" fmla="*/ 85304 w 87686"/>
                        <a:gd name="connsiteY0" fmla="*/ 55113 h 55113"/>
                        <a:gd name="connsiteX1" fmla="*/ 61432 w 87686"/>
                        <a:gd name="connsiteY1" fmla="*/ 4182 h 55113"/>
                        <a:gd name="connsiteX2" fmla="*/ 0 w 87686"/>
                        <a:gd name="connsiteY2" fmla="*/ 24259 h 55113"/>
                        <a:gd name="connsiteX3" fmla="*/ 85304 w 87686"/>
                        <a:gd name="connsiteY3" fmla="*/ 55113 h 55113"/>
                      </a:gdLst>
                      <a:ahLst/>
                      <a:cxnLst>
                        <a:cxn ang="0">
                          <a:pos x="connsiteX0" y="connsiteY0"/>
                        </a:cxn>
                        <a:cxn ang="0">
                          <a:pos x="connsiteX1" y="connsiteY1"/>
                        </a:cxn>
                        <a:cxn ang="0">
                          <a:pos x="connsiteX2" y="connsiteY2"/>
                        </a:cxn>
                        <a:cxn ang="0">
                          <a:pos x="connsiteX3" y="connsiteY3"/>
                        </a:cxn>
                      </a:cxnLst>
                      <a:rect l="l" t="t" r="r" b="b"/>
                      <a:pathLst>
                        <a:path w="87686" h="55113">
                          <a:moveTo>
                            <a:pt x="85304" y="55113"/>
                          </a:moveTo>
                          <a:cubicBezTo>
                            <a:pt x="92777" y="34465"/>
                            <a:pt x="82080" y="11655"/>
                            <a:pt x="61432" y="4182"/>
                          </a:cubicBezTo>
                          <a:cubicBezTo>
                            <a:pt x="32722" y="-6201"/>
                            <a:pt x="7473" y="3592"/>
                            <a:pt x="0" y="24259"/>
                          </a:cubicBezTo>
                          <a:lnTo>
                            <a:pt x="85304" y="55113"/>
                          </a:ln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70" name="Freeform: Shape 969">
                      <a:extLst>
                        <a:ext uri="{FF2B5EF4-FFF2-40B4-BE49-F238E27FC236}">
                          <a16:creationId xmlns:a16="http://schemas.microsoft.com/office/drawing/2014/main" id="{25EF7839-3D6D-4D00-974A-E6CFF7DDFA26}"/>
                        </a:ext>
                      </a:extLst>
                    </p:cNvPr>
                    <p:cNvSpPr/>
                    <p:nvPr/>
                  </p:nvSpPr>
                  <p:spPr>
                    <a:xfrm>
                      <a:off x="4405303" y="10459519"/>
                      <a:ext cx="42244" cy="34795"/>
                    </a:xfrm>
                    <a:custGeom>
                      <a:avLst/>
                      <a:gdLst>
                        <a:gd name="connsiteX0" fmla="*/ 35475 w 42244"/>
                        <a:gd name="connsiteY0" fmla="*/ 34796 h 34795"/>
                        <a:gd name="connsiteX1" fmla="*/ 35927 w 42244"/>
                        <a:gd name="connsiteY1" fmla="*/ 1032 h 34795"/>
                        <a:gd name="connsiteX2" fmla="*/ 0 w 42244"/>
                        <a:gd name="connsiteY2" fmla="*/ 21955 h 34795"/>
                        <a:gd name="connsiteX3" fmla="*/ 35475 w 42244"/>
                        <a:gd name="connsiteY3" fmla="*/ 34796 h 34795"/>
                      </a:gdLst>
                      <a:ahLst/>
                      <a:cxnLst>
                        <a:cxn ang="0">
                          <a:pos x="connsiteX0" y="connsiteY0"/>
                        </a:cxn>
                        <a:cxn ang="0">
                          <a:pos x="connsiteX1" y="connsiteY1"/>
                        </a:cxn>
                        <a:cxn ang="0">
                          <a:pos x="connsiteX2" y="connsiteY2"/>
                        </a:cxn>
                        <a:cxn ang="0">
                          <a:pos x="connsiteX3" y="connsiteY3"/>
                        </a:cxn>
                      </a:cxnLst>
                      <a:rect l="l" t="t" r="r" b="b"/>
                      <a:pathLst>
                        <a:path w="42244" h="34795">
                          <a:moveTo>
                            <a:pt x="35475" y="34796"/>
                          </a:moveTo>
                          <a:cubicBezTo>
                            <a:pt x="44324" y="19261"/>
                            <a:pt x="44521" y="4139"/>
                            <a:pt x="35927" y="1032"/>
                          </a:cubicBezTo>
                          <a:cubicBezTo>
                            <a:pt x="23991" y="-3294"/>
                            <a:pt x="8829" y="6420"/>
                            <a:pt x="0" y="21955"/>
                          </a:cubicBezTo>
                          <a:lnTo>
                            <a:pt x="35475" y="34796"/>
                          </a:ln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71" name="Freeform: Shape 970">
                      <a:extLst>
                        <a:ext uri="{FF2B5EF4-FFF2-40B4-BE49-F238E27FC236}">
                          <a16:creationId xmlns:a16="http://schemas.microsoft.com/office/drawing/2014/main" id="{7232C833-7DF9-4CBB-B7D7-26E32F204371}"/>
                        </a:ext>
                      </a:extLst>
                    </p:cNvPr>
                    <p:cNvSpPr/>
                    <p:nvPr/>
                  </p:nvSpPr>
                  <p:spPr>
                    <a:xfrm>
                      <a:off x="4395370" y="10479583"/>
                      <a:ext cx="96204" cy="39905"/>
                    </a:xfrm>
                    <a:custGeom>
                      <a:avLst/>
                      <a:gdLst>
                        <a:gd name="connsiteX0" fmla="*/ 2638 w 96204"/>
                        <a:gd name="connsiteY0" fmla="*/ 7770 h 39905"/>
                        <a:gd name="connsiteX1" fmla="*/ 90834 w 96204"/>
                        <a:gd name="connsiteY1" fmla="*/ 39666 h 39905"/>
                        <a:gd name="connsiteX2" fmla="*/ 95966 w 96204"/>
                        <a:gd name="connsiteY2" fmla="*/ 37267 h 39905"/>
                        <a:gd name="connsiteX3" fmla="*/ 93567 w 96204"/>
                        <a:gd name="connsiteY3" fmla="*/ 32135 h 39905"/>
                        <a:gd name="connsiteX4" fmla="*/ 5371 w 96204"/>
                        <a:gd name="connsiteY4" fmla="*/ 239 h 39905"/>
                        <a:gd name="connsiteX5" fmla="*/ 239 w 96204"/>
                        <a:gd name="connsiteY5" fmla="*/ 2638 h 39905"/>
                        <a:gd name="connsiteX6" fmla="*/ 2638 w 96204"/>
                        <a:gd name="connsiteY6" fmla="*/ 7770 h 3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204" h="39905">
                          <a:moveTo>
                            <a:pt x="2638" y="7770"/>
                          </a:moveTo>
                          <a:lnTo>
                            <a:pt x="90834" y="39666"/>
                          </a:lnTo>
                          <a:cubicBezTo>
                            <a:pt x="92918" y="40414"/>
                            <a:pt x="95199" y="39352"/>
                            <a:pt x="95966" y="37267"/>
                          </a:cubicBezTo>
                          <a:cubicBezTo>
                            <a:pt x="96713" y="35183"/>
                            <a:pt x="95651" y="32902"/>
                            <a:pt x="93567" y="32135"/>
                          </a:cubicBezTo>
                          <a:lnTo>
                            <a:pt x="5371" y="239"/>
                          </a:lnTo>
                          <a:cubicBezTo>
                            <a:pt x="3287" y="-508"/>
                            <a:pt x="1006" y="554"/>
                            <a:pt x="239" y="2638"/>
                          </a:cubicBezTo>
                          <a:cubicBezTo>
                            <a:pt x="-508" y="4722"/>
                            <a:pt x="554" y="7023"/>
                            <a:pt x="2638" y="7770"/>
                          </a:cubicBez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838" name="Graphic 10">
                  <a:extLst>
                    <a:ext uri="{FF2B5EF4-FFF2-40B4-BE49-F238E27FC236}">
                      <a16:creationId xmlns:a16="http://schemas.microsoft.com/office/drawing/2014/main" id="{BC356B15-5EA0-4A73-978F-D2C8D2A597BC}"/>
                    </a:ext>
                  </a:extLst>
                </p:cNvPr>
                <p:cNvGrpSpPr/>
                <p:nvPr/>
              </p:nvGrpSpPr>
              <p:grpSpPr>
                <a:xfrm>
                  <a:off x="7129449" y="10425762"/>
                  <a:ext cx="470906" cy="952473"/>
                  <a:chOff x="7129449" y="10425762"/>
                  <a:chExt cx="470906" cy="952473"/>
                </a:xfrm>
              </p:grpSpPr>
              <p:sp>
                <p:nvSpPr>
                  <p:cNvPr id="936" name="Freeform: Shape 935">
                    <a:extLst>
                      <a:ext uri="{FF2B5EF4-FFF2-40B4-BE49-F238E27FC236}">
                        <a16:creationId xmlns:a16="http://schemas.microsoft.com/office/drawing/2014/main" id="{04EAB4B2-01C4-4F0D-B54F-26FCAACE187D}"/>
                      </a:ext>
                    </a:extLst>
                  </p:cNvPr>
                  <p:cNvSpPr/>
                  <p:nvPr/>
                </p:nvSpPr>
                <p:spPr>
                  <a:xfrm>
                    <a:off x="7296735" y="10842751"/>
                    <a:ext cx="195583" cy="504276"/>
                  </a:xfrm>
                  <a:custGeom>
                    <a:avLst/>
                    <a:gdLst>
                      <a:gd name="connsiteX0" fmla="*/ 195583 w 195583"/>
                      <a:gd name="connsiteY0" fmla="*/ 20 h 504276"/>
                      <a:gd name="connsiteX1" fmla="*/ 78992 w 195583"/>
                      <a:gd name="connsiteY1" fmla="*/ 78 h 504276"/>
                      <a:gd name="connsiteX2" fmla="*/ 36320 w 195583"/>
                      <a:gd name="connsiteY2" fmla="*/ 240064 h 504276"/>
                      <a:gd name="connsiteX3" fmla="*/ 0 w 195583"/>
                      <a:gd name="connsiteY3" fmla="*/ 504277 h 504276"/>
                      <a:gd name="connsiteX4" fmla="*/ 42692 w 195583"/>
                      <a:gd name="connsiteY4" fmla="*/ 504277 h 504276"/>
                      <a:gd name="connsiteX5" fmla="*/ 114369 w 195583"/>
                      <a:gd name="connsiteY5" fmla="*/ 242975 h 504276"/>
                      <a:gd name="connsiteX6" fmla="*/ 195583 w 195583"/>
                      <a:gd name="connsiteY6" fmla="*/ 0 h 50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583" h="504276">
                        <a:moveTo>
                          <a:pt x="195583" y="20"/>
                        </a:moveTo>
                        <a:lnTo>
                          <a:pt x="78992" y="78"/>
                        </a:lnTo>
                        <a:lnTo>
                          <a:pt x="36320" y="240064"/>
                        </a:lnTo>
                        <a:lnTo>
                          <a:pt x="0" y="504277"/>
                        </a:lnTo>
                        <a:lnTo>
                          <a:pt x="42692" y="504277"/>
                        </a:lnTo>
                        <a:cubicBezTo>
                          <a:pt x="82886" y="403693"/>
                          <a:pt x="102314" y="328299"/>
                          <a:pt x="114369" y="242975"/>
                        </a:cubicBezTo>
                        <a:cubicBezTo>
                          <a:pt x="142430" y="170098"/>
                          <a:pt x="184375" y="75394"/>
                          <a:pt x="195583" y="0"/>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937" name="Graphic 10">
                    <a:extLst>
                      <a:ext uri="{FF2B5EF4-FFF2-40B4-BE49-F238E27FC236}">
                        <a16:creationId xmlns:a16="http://schemas.microsoft.com/office/drawing/2014/main" id="{750323EC-F6B5-421B-B31F-38D3BA24126F}"/>
                      </a:ext>
                    </a:extLst>
                  </p:cNvPr>
                  <p:cNvGrpSpPr/>
                  <p:nvPr/>
                </p:nvGrpSpPr>
                <p:grpSpPr>
                  <a:xfrm>
                    <a:off x="7129449" y="10581979"/>
                    <a:ext cx="289894" cy="192126"/>
                    <a:chOff x="7129449" y="10581979"/>
                    <a:chExt cx="289894" cy="192126"/>
                  </a:xfrm>
                </p:grpSpPr>
                <p:sp>
                  <p:nvSpPr>
                    <p:cNvPr id="954" name="Freeform: Shape 953">
                      <a:extLst>
                        <a:ext uri="{FF2B5EF4-FFF2-40B4-BE49-F238E27FC236}">
                          <a16:creationId xmlns:a16="http://schemas.microsoft.com/office/drawing/2014/main" id="{F123335F-7928-4B1D-A166-04CE3E11A145}"/>
                        </a:ext>
                      </a:extLst>
                    </p:cNvPr>
                    <p:cNvSpPr/>
                    <p:nvPr/>
                  </p:nvSpPr>
                  <p:spPr>
                    <a:xfrm>
                      <a:off x="7129449" y="10724822"/>
                      <a:ext cx="48413" cy="30853"/>
                    </a:xfrm>
                    <a:custGeom>
                      <a:avLst/>
                      <a:gdLst>
                        <a:gd name="connsiteX0" fmla="*/ 48099 w 48413"/>
                        <a:gd name="connsiteY0" fmla="*/ 23735 h 30853"/>
                        <a:gd name="connsiteX1" fmla="*/ 22260 w 48413"/>
                        <a:gd name="connsiteY1" fmla="*/ 23381 h 30853"/>
                        <a:gd name="connsiteX2" fmla="*/ 7059 w 48413"/>
                        <a:gd name="connsiteY2" fmla="*/ 30854 h 30853"/>
                        <a:gd name="connsiteX3" fmla="*/ 6233 w 48413"/>
                        <a:gd name="connsiteY3" fmla="*/ 25859 h 30853"/>
                        <a:gd name="connsiteX4" fmla="*/ 12782 w 48413"/>
                        <a:gd name="connsiteY4" fmla="*/ 10914 h 30853"/>
                        <a:gd name="connsiteX5" fmla="*/ 20707 w 48413"/>
                        <a:gd name="connsiteY5" fmla="*/ 5703 h 30853"/>
                        <a:gd name="connsiteX6" fmla="*/ 2261 w 48413"/>
                        <a:gd name="connsiteY6" fmla="*/ 3422 h 30853"/>
                        <a:gd name="connsiteX7" fmla="*/ 0 w 48413"/>
                        <a:gd name="connsiteY7" fmla="*/ 0 h 30853"/>
                        <a:gd name="connsiteX8" fmla="*/ 28612 w 48413"/>
                        <a:gd name="connsiteY8" fmla="*/ 492 h 30853"/>
                        <a:gd name="connsiteX9" fmla="*/ 48414 w 48413"/>
                        <a:gd name="connsiteY9" fmla="*/ 10226 h 30853"/>
                        <a:gd name="connsiteX10" fmla="*/ 48080 w 48413"/>
                        <a:gd name="connsiteY10" fmla="*/ 23735 h 3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413" h="30853">
                          <a:moveTo>
                            <a:pt x="48099" y="23735"/>
                          </a:moveTo>
                          <a:lnTo>
                            <a:pt x="22260" y="23381"/>
                          </a:lnTo>
                          <a:lnTo>
                            <a:pt x="7059" y="30854"/>
                          </a:lnTo>
                          <a:lnTo>
                            <a:pt x="6233" y="25859"/>
                          </a:lnTo>
                          <a:cubicBezTo>
                            <a:pt x="5270" y="20019"/>
                            <a:pt x="7846" y="14178"/>
                            <a:pt x="12782" y="10914"/>
                          </a:cubicBezTo>
                          <a:lnTo>
                            <a:pt x="20707" y="5703"/>
                          </a:lnTo>
                          <a:lnTo>
                            <a:pt x="2261" y="3422"/>
                          </a:lnTo>
                          <a:lnTo>
                            <a:pt x="0" y="0"/>
                          </a:lnTo>
                          <a:lnTo>
                            <a:pt x="28612" y="492"/>
                          </a:lnTo>
                          <a:lnTo>
                            <a:pt x="48414" y="10226"/>
                          </a:lnTo>
                          <a:lnTo>
                            <a:pt x="48080" y="23735"/>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55" name="Freeform: Shape 954">
                      <a:extLst>
                        <a:ext uri="{FF2B5EF4-FFF2-40B4-BE49-F238E27FC236}">
                          <a16:creationId xmlns:a16="http://schemas.microsoft.com/office/drawing/2014/main" id="{E68F2693-95E1-4AFA-8E45-10D28BA66291}"/>
                        </a:ext>
                      </a:extLst>
                    </p:cNvPr>
                    <p:cNvSpPr/>
                    <p:nvPr/>
                  </p:nvSpPr>
                  <p:spPr>
                    <a:xfrm>
                      <a:off x="7177312" y="10581979"/>
                      <a:ext cx="242031" cy="192126"/>
                    </a:xfrm>
                    <a:custGeom>
                      <a:avLst/>
                      <a:gdLst>
                        <a:gd name="connsiteX0" fmla="*/ 188131 w 242031"/>
                        <a:gd name="connsiteY0" fmla="*/ 0 h 192126"/>
                        <a:gd name="connsiteX1" fmla="*/ 130671 w 242031"/>
                        <a:gd name="connsiteY1" fmla="*/ 138930 h 192126"/>
                        <a:gd name="connsiteX2" fmla="*/ 0 w 242031"/>
                        <a:gd name="connsiteY2" fmla="*/ 152223 h 192126"/>
                        <a:gd name="connsiteX3" fmla="*/ 0 w 242031"/>
                        <a:gd name="connsiteY3" fmla="*/ 173697 h 192126"/>
                        <a:gd name="connsiteX4" fmla="*/ 132460 w 242031"/>
                        <a:gd name="connsiteY4" fmla="*/ 191827 h 192126"/>
                        <a:gd name="connsiteX5" fmla="*/ 176017 w 242031"/>
                        <a:gd name="connsiteY5" fmla="*/ 164749 h 192126"/>
                        <a:gd name="connsiteX6" fmla="*/ 242031 w 242031"/>
                        <a:gd name="connsiteY6" fmla="*/ 38995 h 192126"/>
                        <a:gd name="connsiteX7" fmla="*/ 188150 w 242031"/>
                        <a:gd name="connsiteY7" fmla="*/ 20 h 192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031" h="192126">
                          <a:moveTo>
                            <a:pt x="188131" y="0"/>
                          </a:moveTo>
                          <a:cubicBezTo>
                            <a:pt x="156628" y="21021"/>
                            <a:pt x="144161" y="89316"/>
                            <a:pt x="130671" y="138930"/>
                          </a:cubicBezTo>
                          <a:lnTo>
                            <a:pt x="0" y="152223"/>
                          </a:lnTo>
                          <a:lnTo>
                            <a:pt x="0" y="173697"/>
                          </a:lnTo>
                          <a:cubicBezTo>
                            <a:pt x="26410" y="183883"/>
                            <a:pt x="86898" y="194010"/>
                            <a:pt x="132460" y="191827"/>
                          </a:cubicBezTo>
                          <a:cubicBezTo>
                            <a:pt x="150650" y="190962"/>
                            <a:pt x="167050" y="180599"/>
                            <a:pt x="176017" y="164749"/>
                          </a:cubicBezTo>
                          <a:cubicBezTo>
                            <a:pt x="193695" y="133483"/>
                            <a:pt x="226339" y="74627"/>
                            <a:pt x="242031" y="38995"/>
                          </a:cubicBezTo>
                          <a:lnTo>
                            <a:pt x="188150" y="20"/>
                          </a:ln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938" name="Freeform: Shape 937">
                    <a:extLst>
                      <a:ext uri="{FF2B5EF4-FFF2-40B4-BE49-F238E27FC236}">
                        <a16:creationId xmlns:a16="http://schemas.microsoft.com/office/drawing/2014/main" id="{F271E389-E3A5-422C-832A-C7F133E81797}"/>
                      </a:ext>
                    </a:extLst>
                  </p:cNvPr>
                  <p:cNvSpPr/>
                  <p:nvPr/>
                </p:nvSpPr>
                <p:spPr>
                  <a:xfrm>
                    <a:off x="7430689" y="10842790"/>
                    <a:ext cx="97456" cy="504217"/>
                  </a:xfrm>
                  <a:custGeom>
                    <a:avLst/>
                    <a:gdLst>
                      <a:gd name="connsiteX0" fmla="*/ 94350 w 97456"/>
                      <a:gd name="connsiteY0" fmla="*/ 19 h 504217"/>
                      <a:gd name="connsiteX1" fmla="*/ 0 w 97456"/>
                      <a:gd name="connsiteY1" fmla="*/ 19 h 504217"/>
                      <a:gd name="connsiteX2" fmla="*/ 14099 w 97456"/>
                      <a:gd name="connsiteY2" fmla="*/ 240005 h 504217"/>
                      <a:gd name="connsiteX3" fmla="*/ 37304 w 97456"/>
                      <a:gd name="connsiteY3" fmla="*/ 504218 h 504217"/>
                      <a:gd name="connsiteX4" fmla="*/ 79995 w 97456"/>
                      <a:gd name="connsiteY4" fmla="*/ 504218 h 504217"/>
                      <a:gd name="connsiteX5" fmla="*/ 94331 w 97456"/>
                      <a:gd name="connsiteY5" fmla="*/ 0 h 50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456" h="504217">
                        <a:moveTo>
                          <a:pt x="94350" y="19"/>
                        </a:moveTo>
                        <a:lnTo>
                          <a:pt x="0" y="19"/>
                        </a:lnTo>
                        <a:lnTo>
                          <a:pt x="14099" y="240005"/>
                        </a:lnTo>
                        <a:lnTo>
                          <a:pt x="37304" y="504218"/>
                        </a:lnTo>
                        <a:lnTo>
                          <a:pt x="79995" y="504218"/>
                        </a:lnTo>
                        <a:cubicBezTo>
                          <a:pt x="97615" y="403083"/>
                          <a:pt x="100879" y="75630"/>
                          <a:pt x="94331" y="0"/>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39" name="Freeform: Shape 938">
                    <a:extLst>
                      <a:ext uri="{FF2B5EF4-FFF2-40B4-BE49-F238E27FC236}">
                        <a16:creationId xmlns:a16="http://schemas.microsoft.com/office/drawing/2014/main" id="{F0A08FD3-74CD-4D25-8455-CCF007C3F032}"/>
                      </a:ext>
                    </a:extLst>
                  </p:cNvPr>
                  <p:cNvSpPr/>
                  <p:nvPr/>
                </p:nvSpPr>
                <p:spPr>
                  <a:xfrm>
                    <a:off x="7361608" y="10562513"/>
                    <a:ext cx="191488" cy="342573"/>
                  </a:xfrm>
                  <a:custGeom>
                    <a:avLst/>
                    <a:gdLst>
                      <a:gd name="connsiteX0" fmla="*/ 7767 w 191488"/>
                      <a:gd name="connsiteY0" fmla="*/ 21433 h 342573"/>
                      <a:gd name="connsiteX1" fmla="*/ 124673 w 191488"/>
                      <a:gd name="connsiteY1" fmla="*/ 844 h 342573"/>
                      <a:gd name="connsiteX2" fmla="*/ 191335 w 191488"/>
                      <a:gd name="connsiteY2" fmla="*/ 23399 h 342573"/>
                      <a:gd name="connsiteX3" fmla="*/ 171474 w 191488"/>
                      <a:gd name="connsiteY3" fmla="*/ 206810 h 342573"/>
                      <a:gd name="connsiteX4" fmla="*/ 170118 w 191488"/>
                      <a:gd name="connsiteY4" fmla="*/ 342574 h 342573"/>
                      <a:gd name="connsiteX5" fmla="*/ 0 w 191488"/>
                      <a:gd name="connsiteY5" fmla="*/ 342574 h 342573"/>
                      <a:gd name="connsiteX6" fmla="*/ 7767 w 191488"/>
                      <a:gd name="connsiteY6" fmla="*/ 21413 h 342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488" h="342573">
                        <a:moveTo>
                          <a:pt x="7767" y="21433"/>
                        </a:moveTo>
                        <a:cubicBezTo>
                          <a:pt x="40450" y="6429"/>
                          <a:pt x="85265" y="-2951"/>
                          <a:pt x="124673" y="844"/>
                        </a:cubicBezTo>
                        <a:cubicBezTo>
                          <a:pt x="149372" y="3223"/>
                          <a:pt x="168938" y="12584"/>
                          <a:pt x="191335" y="23399"/>
                        </a:cubicBezTo>
                        <a:cubicBezTo>
                          <a:pt x="193262" y="83160"/>
                          <a:pt x="176450" y="159497"/>
                          <a:pt x="171474" y="206810"/>
                        </a:cubicBezTo>
                        <a:cubicBezTo>
                          <a:pt x="167915" y="240633"/>
                          <a:pt x="170118" y="342574"/>
                          <a:pt x="170118" y="342574"/>
                        </a:cubicBezTo>
                        <a:lnTo>
                          <a:pt x="0" y="342574"/>
                        </a:lnTo>
                        <a:cubicBezTo>
                          <a:pt x="0" y="342574"/>
                          <a:pt x="6017" y="57104"/>
                          <a:pt x="7767" y="21413"/>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40" name="Freeform: Shape 939">
                    <a:extLst>
                      <a:ext uri="{FF2B5EF4-FFF2-40B4-BE49-F238E27FC236}">
                        <a16:creationId xmlns:a16="http://schemas.microsoft.com/office/drawing/2014/main" id="{329D2073-E909-4C69-A863-F87865ADFD52}"/>
                      </a:ext>
                    </a:extLst>
                  </p:cNvPr>
                  <p:cNvSpPr/>
                  <p:nvPr/>
                </p:nvSpPr>
                <p:spPr>
                  <a:xfrm>
                    <a:off x="7361588" y="10563357"/>
                    <a:ext cx="195413" cy="341749"/>
                  </a:xfrm>
                  <a:custGeom>
                    <a:avLst/>
                    <a:gdLst>
                      <a:gd name="connsiteX0" fmla="*/ 20 w 195413"/>
                      <a:gd name="connsiteY0" fmla="*/ 341750 h 341749"/>
                      <a:gd name="connsiteX1" fmla="*/ 50105 w 195413"/>
                      <a:gd name="connsiteY1" fmla="*/ 341750 h 341749"/>
                      <a:gd name="connsiteX2" fmla="*/ 50105 w 195413"/>
                      <a:gd name="connsiteY2" fmla="*/ 105421 h 341749"/>
                      <a:gd name="connsiteX3" fmla="*/ 75000 w 195413"/>
                      <a:gd name="connsiteY3" fmla="*/ 4936 h 341749"/>
                      <a:gd name="connsiteX4" fmla="*/ 77596 w 195413"/>
                      <a:gd name="connsiteY4" fmla="*/ 0 h 341749"/>
                      <a:gd name="connsiteX5" fmla="*/ 3834 w 195413"/>
                      <a:gd name="connsiteY5" fmla="*/ 18622 h 341749"/>
                      <a:gd name="connsiteX6" fmla="*/ 0 w 195413"/>
                      <a:gd name="connsiteY6" fmla="*/ 341750 h 341749"/>
                      <a:gd name="connsiteX7" fmla="*/ 195268 w 195413"/>
                      <a:gd name="connsiteY7" fmla="*/ 18622 h 341749"/>
                      <a:gd name="connsiteX8" fmla="*/ 124673 w 195413"/>
                      <a:gd name="connsiteY8" fmla="*/ 0 h 341749"/>
                      <a:gd name="connsiteX9" fmla="*/ 91342 w 195413"/>
                      <a:gd name="connsiteY9" fmla="*/ 146186 h 341749"/>
                      <a:gd name="connsiteX10" fmla="*/ 91342 w 195413"/>
                      <a:gd name="connsiteY10" fmla="*/ 341730 h 341749"/>
                      <a:gd name="connsiteX11" fmla="*/ 170137 w 195413"/>
                      <a:gd name="connsiteY11" fmla="*/ 341730 h 341749"/>
                      <a:gd name="connsiteX12" fmla="*/ 171494 w 195413"/>
                      <a:gd name="connsiteY12" fmla="*/ 205966 h 341749"/>
                      <a:gd name="connsiteX13" fmla="*/ 195288 w 195413"/>
                      <a:gd name="connsiteY13" fmla="*/ 18622 h 34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5413" h="341749">
                        <a:moveTo>
                          <a:pt x="20" y="341750"/>
                        </a:moveTo>
                        <a:lnTo>
                          <a:pt x="50105" y="341750"/>
                        </a:lnTo>
                        <a:lnTo>
                          <a:pt x="50105" y="105421"/>
                        </a:lnTo>
                        <a:cubicBezTo>
                          <a:pt x="50105" y="70399"/>
                          <a:pt x="58659" y="35907"/>
                          <a:pt x="75000" y="4936"/>
                        </a:cubicBezTo>
                        <a:lnTo>
                          <a:pt x="77596" y="0"/>
                        </a:lnTo>
                        <a:cubicBezTo>
                          <a:pt x="50773" y="2419"/>
                          <a:pt x="25151" y="8849"/>
                          <a:pt x="3834" y="18622"/>
                        </a:cubicBezTo>
                        <a:cubicBezTo>
                          <a:pt x="2084" y="54313"/>
                          <a:pt x="0" y="341750"/>
                          <a:pt x="0" y="341750"/>
                        </a:cubicBezTo>
                        <a:close/>
                        <a:moveTo>
                          <a:pt x="195268" y="18622"/>
                        </a:moveTo>
                        <a:cubicBezTo>
                          <a:pt x="173893" y="8298"/>
                          <a:pt x="149548" y="2301"/>
                          <a:pt x="124673" y="0"/>
                        </a:cubicBezTo>
                        <a:cubicBezTo>
                          <a:pt x="102727" y="45602"/>
                          <a:pt x="91342" y="95570"/>
                          <a:pt x="91342" y="146186"/>
                        </a:cubicBezTo>
                        <a:lnTo>
                          <a:pt x="91342" y="341730"/>
                        </a:lnTo>
                        <a:lnTo>
                          <a:pt x="170137" y="341730"/>
                        </a:lnTo>
                        <a:cubicBezTo>
                          <a:pt x="170137" y="341730"/>
                          <a:pt x="167935" y="239789"/>
                          <a:pt x="171494" y="205966"/>
                        </a:cubicBezTo>
                        <a:cubicBezTo>
                          <a:pt x="176469" y="158634"/>
                          <a:pt x="197215" y="78383"/>
                          <a:pt x="195288" y="18622"/>
                        </a:cubicBezTo>
                        <a:close/>
                      </a:path>
                    </a:pathLst>
                  </a:custGeom>
                  <a:solidFill>
                    <a:srgbClr val="E0C48B"/>
                  </a:solidFill>
                  <a:ln w="878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41" name="Freeform: Shape 940">
                    <a:extLst>
                      <a:ext uri="{FF2B5EF4-FFF2-40B4-BE49-F238E27FC236}">
                        <a16:creationId xmlns:a16="http://schemas.microsoft.com/office/drawing/2014/main" id="{CBE6E246-6D73-4E11-9C9A-D28E79E06F7F}"/>
                      </a:ext>
                    </a:extLst>
                  </p:cNvPr>
                  <p:cNvSpPr/>
                  <p:nvPr/>
                </p:nvSpPr>
                <p:spPr>
                  <a:xfrm>
                    <a:off x="7426225" y="10831835"/>
                    <a:ext cx="171828" cy="139522"/>
                  </a:xfrm>
                  <a:custGeom>
                    <a:avLst/>
                    <a:gdLst>
                      <a:gd name="connsiteX0" fmla="*/ 171829 w 171828"/>
                      <a:gd name="connsiteY0" fmla="*/ 106741 h 139522"/>
                      <a:gd name="connsiteX1" fmla="*/ 171829 w 171828"/>
                      <a:gd name="connsiteY1" fmla="*/ 5311 h 139522"/>
                      <a:gd name="connsiteX2" fmla="*/ 165615 w 171828"/>
                      <a:gd name="connsiteY2" fmla="*/ 80 h 139522"/>
                      <a:gd name="connsiteX3" fmla="*/ 6214 w 171828"/>
                      <a:gd name="connsiteY3" fmla="*/ 25565 h 139522"/>
                      <a:gd name="connsiteX4" fmla="*/ 0 w 171828"/>
                      <a:gd name="connsiteY4" fmla="*/ 32782 h 139522"/>
                      <a:gd name="connsiteX5" fmla="*/ 0 w 171828"/>
                      <a:gd name="connsiteY5" fmla="*/ 134212 h 139522"/>
                      <a:gd name="connsiteX6" fmla="*/ 6214 w 171828"/>
                      <a:gd name="connsiteY6" fmla="*/ 139443 h 139522"/>
                      <a:gd name="connsiteX7" fmla="*/ 165615 w 171828"/>
                      <a:gd name="connsiteY7" fmla="*/ 113957 h 139522"/>
                      <a:gd name="connsiteX8" fmla="*/ 171829 w 171828"/>
                      <a:gd name="connsiteY8" fmla="*/ 106741 h 139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828" h="139522">
                        <a:moveTo>
                          <a:pt x="171829" y="106741"/>
                        </a:moveTo>
                        <a:lnTo>
                          <a:pt x="171829" y="5311"/>
                        </a:lnTo>
                        <a:cubicBezTo>
                          <a:pt x="171829" y="1870"/>
                          <a:pt x="169036" y="-470"/>
                          <a:pt x="165615" y="80"/>
                        </a:cubicBezTo>
                        <a:lnTo>
                          <a:pt x="6214" y="25565"/>
                        </a:lnTo>
                        <a:cubicBezTo>
                          <a:pt x="2773" y="26116"/>
                          <a:pt x="0" y="29341"/>
                          <a:pt x="0" y="32782"/>
                        </a:cubicBezTo>
                        <a:lnTo>
                          <a:pt x="0" y="134212"/>
                        </a:lnTo>
                        <a:cubicBezTo>
                          <a:pt x="0" y="137653"/>
                          <a:pt x="2792" y="139993"/>
                          <a:pt x="6214" y="139443"/>
                        </a:cubicBezTo>
                        <a:lnTo>
                          <a:pt x="165615" y="113957"/>
                        </a:lnTo>
                        <a:cubicBezTo>
                          <a:pt x="169056" y="113407"/>
                          <a:pt x="171829" y="110182"/>
                          <a:pt x="171829" y="106741"/>
                        </a:cubicBezTo>
                        <a:close/>
                      </a:path>
                    </a:pathLst>
                  </a:custGeom>
                  <a:solidFill>
                    <a:srgbClr val="B3C9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42" name="Freeform: Shape 941">
                    <a:extLst>
                      <a:ext uri="{FF2B5EF4-FFF2-40B4-BE49-F238E27FC236}">
                        <a16:creationId xmlns:a16="http://schemas.microsoft.com/office/drawing/2014/main" id="{E866F7C3-AAAF-4201-82FA-139A0AD6F4FC}"/>
                      </a:ext>
                    </a:extLst>
                  </p:cNvPr>
                  <p:cNvSpPr/>
                  <p:nvPr/>
                </p:nvSpPr>
                <p:spPr>
                  <a:xfrm>
                    <a:off x="7433757" y="10514766"/>
                    <a:ext cx="52523" cy="66761"/>
                  </a:xfrm>
                  <a:custGeom>
                    <a:avLst/>
                    <a:gdLst>
                      <a:gd name="connsiteX0" fmla="*/ 6293 w 52523"/>
                      <a:gd name="connsiteY0" fmla="*/ 14650 h 66761"/>
                      <a:gd name="connsiteX1" fmla="*/ 0 w 52523"/>
                      <a:gd name="connsiteY1" fmla="*/ 66761 h 66761"/>
                      <a:gd name="connsiteX2" fmla="*/ 52524 w 52523"/>
                      <a:gd name="connsiteY2" fmla="*/ 48591 h 66761"/>
                      <a:gd name="connsiteX3" fmla="*/ 36202 w 52523"/>
                      <a:gd name="connsiteY3" fmla="*/ 0 h 66761"/>
                      <a:gd name="connsiteX4" fmla="*/ 6293 w 52523"/>
                      <a:gd name="connsiteY4" fmla="*/ 14650 h 66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23" h="66761">
                        <a:moveTo>
                          <a:pt x="6293" y="14650"/>
                        </a:moveTo>
                        <a:lnTo>
                          <a:pt x="0" y="66761"/>
                        </a:lnTo>
                        <a:lnTo>
                          <a:pt x="52524" y="48591"/>
                        </a:lnTo>
                        <a:lnTo>
                          <a:pt x="36202" y="0"/>
                        </a:lnTo>
                        <a:lnTo>
                          <a:pt x="6293" y="1465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43" name="Freeform: Shape 942">
                    <a:extLst>
                      <a:ext uri="{FF2B5EF4-FFF2-40B4-BE49-F238E27FC236}">
                        <a16:creationId xmlns:a16="http://schemas.microsoft.com/office/drawing/2014/main" id="{45B6786F-A392-44AF-A4C0-241AEA3DDB6B}"/>
                      </a:ext>
                    </a:extLst>
                  </p:cNvPr>
                  <p:cNvSpPr/>
                  <p:nvPr/>
                </p:nvSpPr>
                <p:spPr>
                  <a:xfrm>
                    <a:off x="7422292" y="10453806"/>
                    <a:ext cx="59760" cy="83117"/>
                  </a:xfrm>
                  <a:custGeom>
                    <a:avLst/>
                    <a:gdLst>
                      <a:gd name="connsiteX0" fmla="*/ 20 w 59760"/>
                      <a:gd name="connsiteY0" fmla="*/ 71323 h 83117"/>
                      <a:gd name="connsiteX1" fmla="*/ 23322 w 59760"/>
                      <a:gd name="connsiteY1" fmla="*/ 80978 h 83117"/>
                      <a:gd name="connsiteX2" fmla="*/ 48040 w 59760"/>
                      <a:gd name="connsiteY2" fmla="*/ 65109 h 83117"/>
                      <a:gd name="connsiteX3" fmla="*/ 59761 w 59760"/>
                      <a:gd name="connsiteY3" fmla="*/ 29910 h 83117"/>
                      <a:gd name="connsiteX4" fmla="*/ 45956 w 59760"/>
                      <a:gd name="connsiteY4" fmla="*/ 0 h 83117"/>
                      <a:gd name="connsiteX5" fmla="*/ 236 w 59760"/>
                      <a:gd name="connsiteY5" fmla="*/ 2812 h 83117"/>
                      <a:gd name="connsiteX6" fmla="*/ 0 w 59760"/>
                      <a:gd name="connsiteY6" fmla="*/ 71304 h 8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760" h="83117">
                        <a:moveTo>
                          <a:pt x="20" y="71323"/>
                        </a:moveTo>
                        <a:cubicBezTo>
                          <a:pt x="-157" y="79563"/>
                          <a:pt x="7945" y="86878"/>
                          <a:pt x="23322" y="80978"/>
                        </a:cubicBezTo>
                        <a:lnTo>
                          <a:pt x="48040" y="65109"/>
                        </a:lnTo>
                        <a:lnTo>
                          <a:pt x="59761" y="29910"/>
                        </a:lnTo>
                        <a:lnTo>
                          <a:pt x="45956" y="0"/>
                        </a:lnTo>
                        <a:lnTo>
                          <a:pt x="236" y="2812"/>
                        </a:lnTo>
                        <a:lnTo>
                          <a:pt x="0" y="71304"/>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44" name="Freeform: Shape 943">
                    <a:extLst>
                      <a:ext uri="{FF2B5EF4-FFF2-40B4-BE49-F238E27FC236}">
                        <a16:creationId xmlns:a16="http://schemas.microsoft.com/office/drawing/2014/main" id="{FA1A5D00-1521-47CF-96D0-8E4348A7D966}"/>
                      </a:ext>
                    </a:extLst>
                  </p:cNvPr>
                  <p:cNvSpPr/>
                  <p:nvPr/>
                </p:nvSpPr>
                <p:spPr>
                  <a:xfrm>
                    <a:off x="7415345" y="10446431"/>
                    <a:ext cx="75191" cy="90509"/>
                  </a:xfrm>
                  <a:custGeom>
                    <a:avLst/>
                    <a:gdLst>
                      <a:gd name="connsiteX0" fmla="*/ 51566 w 75191"/>
                      <a:gd name="connsiteY0" fmla="*/ 119 h 90509"/>
                      <a:gd name="connsiteX1" fmla="*/ 7478 w 75191"/>
                      <a:gd name="connsiteY1" fmla="*/ 119 h 90509"/>
                      <a:gd name="connsiteX2" fmla="*/ 478 w 75191"/>
                      <a:gd name="connsiteY2" fmla="*/ 8653 h 90509"/>
                      <a:gd name="connsiteX3" fmla="*/ 7144 w 75191"/>
                      <a:gd name="connsiteY3" fmla="*/ 24994 h 90509"/>
                      <a:gd name="connsiteX4" fmla="*/ 46276 w 75191"/>
                      <a:gd name="connsiteY4" fmla="*/ 35416 h 90509"/>
                      <a:gd name="connsiteX5" fmla="*/ 39551 w 75191"/>
                      <a:gd name="connsiteY5" fmla="*/ 40097 h 90509"/>
                      <a:gd name="connsiteX6" fmla="*/ 35245 w 75191"/>
                      <a:gd name="connsiteY6" fmla="*/ 60528 h 90509"/>
                      <a:gd name="connsiteX7" fmla="*/ 26750 w 75191"/>
                      <a:gd name="connsiteY7" fmla="*/ 67371 h 90509"/>
                      <a:gd name="connsiteX8" fmla="*/ 7262 w 75191"/>
                      <a:gd name="connsiteY8" fmla="*/ 67214 h 90509"/>
                      <a:gd name="connsiteX9" fmla="*/ 6967 w 75191"/>
                      <a:gd name="connsiteY9" fmla="*/ 79524 h 90509"/>
                      <a:gd name="connsiteX10" fmla="*/ 30840 w 75191"/>
                      <a:gd name="connsiteY10" fmla="*/ 87685 h 90509"/>
                      <a:gd name="connsiteX11" fmla="*/ 46729 w 75191"/>
                      <a:gd name="connsiteY11" fmla="*/ 56163 h 90509"/>
                      <a:gd name="connsiteX12" fmla="*/ 45569 w 75191"/>
                      <a:gd name="connsiteY12" fmla="*/ 49044 h 90509"/>
                      <a:gd name="connsiteX13" fmla="*/ 53710 w 75191"/>
                      <a:gd name="connsiteY13" fmla="*/ 42732 h 90509"/>
                      <a:gd name="connsiteX14" fmla="*/ 54988 w 75191"/>
                      <a:gd name="connsiteY14" fmla="*/ 53134 h 90509"/>
                      <a:gd name="connsiteX15" fmla="*/ 54949 w 75191"/>
                      <a:gd name="connsiteY15" fmla="*/ 53233 h 90509"/>
                      <a:gd name="connsiteX16" fmla="*/ 54614 w 75191"/>
                      <a:gd name="connsiteY16" fmla="*/ 74313 h 90509"/>
                      <a:gd name="connsiteX17" fmla="*/ 55302 w 75191"/>
                      <a:gd name="connsiteY17" fmla="*/ 76102 h 90509"/>
                      <a:gd name="connsiteX18" fmla="*/ 65017 w 75191"/>
                      <a:gd name="connsiteY18" fmla="*/ 62671 h 90509"/>
                      <a:gd name="connsiteX19" fmla="*/ 73256 w 75191"/>
                      <a:gd name="connsiteY19" fmla="*/ 36282 h 90509"/>
                      <a:gd name="connsiteX20" fmla="*/ 51566 w 75191"/>
                      <a:gd name="connsiteY20" fmla="*/ 138 h 9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191" h="90509">
                        <a:moveTo>
                          <a:pt x="51566" y="119"/>
                        </a:moveTo>
                        <a:lnTo>
                          <a:pt x="7478" y="119"/>
                        </a:lnTo>
                        <a:cubicBezTo>
                          <a:pt x="2582" y="-825"/>
                          <a:pt x="-1410" y="4032"/>
                          <a:pt x="478" y="8653"/>
                        </a:cubicBezTo>
                        <a:lnTo>
                          <a:pt x="7144" y="24994"/>
                        </a:lnTo>
                        <a:lnTo>
                          <a:pt x="46276" y="35416"/>
                        </a:lnTo>
                        <a:lnTo>
                          <a:pt x="39551" y="40097"/>
                        </a:lnTo>
                        <a:lnTo>
                          <a:pt x="35245" y="60528"/>
                        </a:lnTo>
                        <a:cubicBezTo>
                          <a:pt x="34399" y="64540"/>
                          <a:pt x="30840" y="67411"/>
                          <a:pt x="26750" y="67371"/>
                        </a:cubicBezTo>
                        <a:lnTo>
                          <a:pt x="7262" y="67214"/>
                        </a:lnTo>
                        <a:lnTo>
                          <a:pt x="6967" y="79524"/>
                        </a:lnTo>
                        <a:cubicBezTo>
                          <a:pt x="7301" y="87763"/>
                          <a:pt x="15875" y="94548"/>
                          <a:pt x="30840" y="87685"/>
                        </a:cubicBezTo>
                        <a:cubicBezTo>
                          <a:pt x="42402" y="81726"/>
                          <a:pt x="48813" y="69004"/>
                          <a:pt x="46729" y="56163"/>
                        </a:cubicBezTo>
                        <a:lnTo>
                          <a:pt x="45569" y="49044"/>
                        </a:lnTo>
                        <a:cubicBezTo>
                          <a:pt x="47515" y="44482"/>
                          <a:pt x="51114" y="41650"/>
                          <a:pt x="53710" y="42732"/>
                        </a:cubicBezTo>
                        <a:cubicBezTo>
                          <a:pt x="56345" y="43813"/>
                          <a:pt x="56915" y="48474"/>
                          <a:pt x="54988" y="53134"/>
                        </a:cubicBezTo>
                        <a:lnTo>
                          <a:pt x="54949" y="53233"/>
                        </a:lnTo>
                        <a:cubicBezTo>
                          <a:pt x="52117" y="59958"/>
                          <a:pt x="51999" y="67509"/>
                          <a:pt x="54614" y="74313"/>
                        </a:cubicBezTo>
                        <a:lnTo>
                          <a:pt x="55302" y="76102"/>
                        </a:lnTo>
                        <a:cubicBezTo>
                          <a:pt x="62342" y="73625"/>
                          <a:pt x="62795" y="69790"/>
                          <a:pt x="65017" y="62671"/>
                        </a:cubicBezTo>
                        <a:lnTo>
                          <a:pt x="73256" y="36282"/>
                        </a:lnTo>
                        <a:cubicBezTo>
                          <a:pt x="79234" y="14513"/>
                          <a:pt x="71191" y="-78"/>
                          <a:pt x="51566" y="138"/>
                        </a:cubicBezTo>
                        <a:close/>
                      </a:path>
                    </a:pathLst>
                  </a:custGeom>
                  <a:solidFill>
                    <a:srgbClr val="37384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945" name="Graphic 10">
                    <a:extLst>
                      <a:ext uri="{FF2B5EF4-FFF2-40B4-BE49-F238E27FC236}">
                        <a16:creationId xmlns:a16="http://schemas.microsoft.com/office/drawing/2014/main" id="{0250467D-F38F-4684-B16D-0595B45B925E}"/>
                      </a:ext>
                    </a:extLst>
                  </p:cNvPr>
                  <p:cNvGrpSpPr/>
                  <p:nvPr/>
                </p:nvGrpSpPr>
                <p:grpSpPr>
                  <a:xfrm>
                    <a:off x="7503658" y="10580448"/>
                    <a:ext cx="96696" cy="384451"/>
                    <a:chOff x="7503658" y="10580448"/>
                    <a:chExt cx="96696" cy="384451"/>
                  </a:xfrm>
                </p:grpSpPr>
                <p:sp>
                  <p:nvSpPr>
                    <p:cNvPr id="952" name="Freeform: Shape 951">
                      <a:extLst>
                        <a:ext uri="{FF2B5EF4-FFF2-40B4-BE49-F238E27FC236}">
                          <a16:creationId xmlns:a16="http://schemas.microsoft.com/office/drawing/2014/main" id="{FB27C81C-3AEE-4C86-B751-4A2F6D86EA6B}"/>
                        </a:ext>
                      </a:extLst>
                    </p:cNvPr>
                    <p:cNvSpPr/>
                    <p:nvPr/>
                  </p:nvSpPr>
                  <p:spPr>
                    <a:xfrm>
                      <a:off x="7513536" y="10926875"/>
                      <a:ext cx="43379" cy="38024"/>
                    </a:xfrm>
                    <a:custGeom>
                      <a:avLst/>
                      <a:gdLst>
                        <a:gd name="connsiteX0" fmla="*/ 29516 w 43379"/>
                        <a:gd name="connsiteY0" fmla="*/ 20 h 38024"/>
                        <a:gd name="connsiteX1" fmla="*/ 15495 w 43379"/>
                        <a:gd name="connsiteY1" fmla="*/ 20687 h 38024"/>
                        <a:gd name="connsiteX2" fmla="*/ 0 w 43379"/>
                        <a:gd name="connsiteY2" fmla="*/ 31817 h 38024"/>
                        <a:gd name="connsiteX3" fmla="*/ 9282 w 43379"/>
                        <a:gd name="connsiteY3" fmla="*/ 36340 h 38024"/>
                        <a:gd name="connsiteX4" fmla="*/ 26094 w 43379"/>
                        <a:gd name="connsiteY4" fmla="*/ 35003 h 38024"/>
                        <a:gd name="connsiteX5" fmla="*/ 34943 w 43379"/>
                        <a:gd name="connsiteY5" fmla="*/ 28789 h 38024"/>
                        <a:gd name="connsiteX6" fmla="*/ 43380 w 43379"/>
                        <a:gd name="connsiteY6" fmla="*/ 3736 h 38024"/>
                        <a:gd name="connsiteX7" fmla="*/ 29516 w 43379"/>
                        <a:gd name="connsiteY7" fmla="*/ 0 h 38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379" h="38024">
                          <a:moveTo>
                            <a:pt x="29516" y="20"/>
                          </a:moveTo>
                          <a:lnTo>
                            <a:pt x="15495" y="20687"/>
                          </a:lnTo>
                          <a:lnTo>
                            <a:pt x="0" y="31817"/>
                          </a:lnTo>
                          <a:lnTo>
                            <a:pt x="9282" y="36340"/>
                          </a:lnTo>
                          <a:cubicBezTo>
                            <a:pt x="14709" y="38995"/>
                            <a:pt x="21159" y="38484"/>
                            <a:pt x="26094" y="35003"/>
                          </a:cubicBezTo>
                          <a:lnTo>
                            <a:pt x="34943" y="28789"/>
                          </a:lnTo>
                          <a:lnTo>
                            <a:pt x="43380" y="3736"/>
                          </a:lnTo>
                          <a:lnTo>
                            <a:pt x="29516" y="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53" name="Freeform: Shape 952">
                      <a:extLst>
                        <a:ext uri="{FF2B5EF4-FFF2-40B4-BE49-F238E27FC236}">
                          <a16:creationId xmlns:a16="http://schemas.microsoft.com/office/drawing/2014/main" id="{1268C175-EBD3-4C7B-A835-4DD32F260E9D}"/>
                        </a:ext>
                      </a:extLst>
                    </p:cNvPr>
                    <p:cNvSpPr/>
                    <p:nvPr/>
                  </p:nvSpPr>
                  <p:spPr>
                    <a:xfrm>
                      <a:off x="7503658" y="10580448"/>
                      <a:ext cx="96696" cy="350202"/>
                    </a:xfrm>
                    <a:custGeom>
                      <a:avLst/>
                      <a:gdLst>
                        <a:gd name="connsiteX0" fmla="*/ 53218 w 96696"/>
                        <a:gd name="connsiteY0" fmla="*/ 1531 h 350202"/>
                        <a:gd name="connsiteX1" fmla="*/ 124 w 96696"/>
                        <a:gd name="connsiteY1" fmla="*/ 58637 h 350202"/>
                        <a:gd name="connsiteX2" fmla="*/ 47358 w 96696"/>
                        <a:gd name="connsiteY2" fmla="*/ 177725 h 350202"/>
                        <a:gd name="connsiteX3" fmla="*/ 28539 w 96696"/>
                        <a:gd name="connsiteY3" fmla="*/ 346466 h 350202"/>
                        <a:gd name="connsiteX4" fmla="*/ 58960 w 96696"/>
                        <a:gd name="connsiteY4" fmla="*/ 350203 h 350202"/>
                        <a:gd name="connsiteX5" fmla="*/ 96696 w 96696"/>
                        <a:gd name="connsiteY5" fmla="*/ 172455 h 350202"/>
                        <a:gd name="connsiteX6" fmla="*/ 53218 w 96696"/>
                        <a:gd name="connsiteY6" fmla="*/ 1551 h 350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696" h="350202">
                          <a:moveTo>
                            <a:pt x="53218" y="1531"/>
                          </a:moveTo>
                          <a:cubicBezTo>
                            <a:pt x="31823" y="-7082"/>
                            <a:pt x="-2315" y="21825"/>
                            <a:pt x="124" y="58637"/>
                          </a:cubicBezTo>
                          <a:cubicBezTo>
                            <a:pt x="2248" y="90592"/>
                            <a:pt x="47358" y="177725"/>
                            <a:pt x="47358" y="177725"/>
                          </a:cubicBezTo>
                          <a:lnTo>
                            <a:pt x="28539" y="346466"/>
                          </a:lnTo>
                          <a:lnTo>
                            <a:pt x="58960" y="350203"/>
                          </a:lnTo>
                          <a:cubicBezTo>
                            <a:pt x="81771" y="280924"/>
                            <a:pt x="90699" y="222068"/>
                            <a:pt x="96696" y="172455"/>
                          </a:cubicBezTo>
                          <a:cubicBezTo>
                            <a:pt x="96696" y="172455"/>
                            <a:pt x="77877" y="15493"/>
                            <a:pt x="53218" y="1551"/>
                          </a:cubicBez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946" name="Freeform: Shape 945">
                    <a:extLst>
                      <a:ext uri="{FF2B5EF4-FFF2-40B4-BE49-F238E27FC236}">
                        <a16:creationId xmlns:a16="http://schemas.microsoft.com/office/drawing/2014/main" id="{72A183B2-5A03-43CE-9E94-503FB7FF0C12}"/>
                      </a:ext>
                    </a:extLst>
                  </p:cNvPr>
                  <p:cNvSpPr/>
                  <p:nvPr/>
                </p:nvSpPr>
                <p:spPr>
                  <a:xfrm>
                    <a:off x="7428290" y="11347027"/>
                    <a:ext cx="76180" cy="31207"/>
                  </a:xfrm>
                  <a:custGeom>
                    <a:avLst/>
                    <a:gdLst>
                      <a:gd name="connsiteX0" fmla="*/ 76180 w 76180"/>
                      <a:gd name="connsiteY0" fmla="*/ 0 h 31207"/>
                      <a:gd name="connsiteX1" fmla="*/ 47922 w 76180"/>
                      <a:gd name="connsiteY1" fmla="*/ 0 h 31207"/>
                      <a:gd name="connsiteX2" fmla="*/ 22162 w 76180"/>
                      <a:gd name="connsiteY2" fmla="*/ 17364 h 31207"/>
                      <a:gd name="connsiteX3" fmla="*/ 649 w 76180"/>
                      <a:gd name="connsiteY3" fmla="*/ 20884 h 31207"/>
                      <a:gd name="connsiteX4" fmla="*/ 0 w 76180"/>
                      <a:gd name="connsiteY4" fmla="*/ 31208 h 31207"/>
                      <a:gd name="connsiteX5" fmla="*/ 74234 w 76180"/>
                      <a:gd name="connsiteY5" fmla="*/ 31208 h 31207"/>
                      <a:gd name="connsiteX6" fmla="*/ 76180 w 76180"/>
                      <a:gd name="connsiteY6" fmla="*/ 0 h 3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80" h="31207">
                        <a:moveTo>
                          <a:pt x="76180" y="0"/>
                        </a:moveTo>
                        <a:lnTo>
                          <a:pt x="47922" y="0"/>
                        </a:lnTo>
                        <a:lnTo>
                          <a:pt x="22162" y="17364"/>
                        </a:lnTo>
                        <a:lnTo>
                          <a:pt x="649" y="20884"/>
                        </a:lnTo>
                        <a:lnTo>
                          <a:pt x="0" y="31208"/>
                        </a:lnTo>
                        <a:lnTo>
                          <a:pt x="74234" y="31208"/>
                        </a:lnTo>
                        <a:lnTo>
                          <a:pt x="76180"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47" name="Freeform: Shape 946">
                    <a:extLst>
                      <a:ext uri="{FF2B5EF4-FFF2-40B4-BE49-F238E27FC236}">
                        <a16:creationId xmlns:a16="http://schemas.microsoft.com/office/drawing/2014/main" id="{6840EAB6-7B72-47C5-9860-AC9C76CF36C6}"/>
                      </a:ext>
                    </a:extLst>
                  </p:cNvPr>
                  <p:cNvSpPr/>
                  <p:nvPr/>
                </p:nvSpPr>
                <p:spPr>
                  <a:xfrm>
                    <a:off x="7258409" y="11347027"/>
                    <a:ext cx="76180" cy="31207"/>
                  </a:xfrm>
                  <a:custGeom>
                    <a:avLst/>
                    <a:gdLst>
                      <a:gd name="connsiteX0" fmla="*/ 76180 w 76180"/>
                      <a:gd name="connsiteY0" fmla="*/ 0 h 31207"/>
                      <a:gd name="connsiteX1" fmla="*/ 47922 w 76180"/>
                      <a:gd name="connsiteY1" fmla="*/ 0 h 31207"/>
                      <a:gd name="connsiteX2" fmla="*/ 22161 w 76180"/>
                      <a:gd name="connsiteY2" fmla="*/ 17364 h 31207"/>
                      <a:gd name="connsiteX3" fmla="*/ 649 w 76180"/>
                      <a:gd name="connsiteY3" fmla="*/ 20884 h 31207"/>
                      <a:gd name="connsiteX4" fmla="*/ 0 w 76180"/>
                      <a:gd name="connsiteY4" fmla="*/ 31208 h 31207"/>
                      <a:gd name="connsiteX5" fmla="*/ 74234 w 76180"/>
                      <a:gd name="connsiteY5" fmla="*/ 31208 h 31207"/>
                      <a:gd name="connsiteX6" fmla="*/ 76180 w 76180"/>
                      <a:gd name="connsiteY6" fmla="*/ 0 h 3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180" h="31207">
                        <a:moveTo>
                          <a:pt x="76180" y="0"/>
                        </a:moveTo>
                        <a:lnTo>
                          <a:pt x="47922" y="0"/>
                        </a:lnTo>
                        <a:lnTo>
                          <a:pt x="22161" y="17364"/>
                        </a:lnTo>
                        <a:lnTo>
                          <a:pt x="649" y="20884"/>
                        </a:lnTo>
                        <a:lnTo>
                          <a:pt x="0" y="31208"/>
                        </a:lnTo>
                        <a:lnTo>
                          <a:pt x="74234" y="31208"/>
                        </a:lnTo>
                        <a:lnTo>
                          <a:pt x="76180"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948" name="Graphic 10">
                    <a:extLst>
                      <a:ext uri="{FF2B5EF4-FFF2-40B4-BE49-F238E27FC236}">
                        <a16:creationId xmlns:a16="http://schemas.microsoft.com/office/drawing/2014/main" id="{E02803DB-8753-472A-BB52-6C7F06AE068B}"/>
                      </a:ext>
                    </a:extLst>
                  </p:cNvPr>
                  <p:cNvGrpSpPr/>
                  <p:nvPr/>
                </p:nvGrpSpPr>
                <p:grpSpPr>
                  <a:xfrm>
                    <a:off x="7403091" y="10425762"/>
                    <a:ext cx="97544" cy="60352"/>
                    <a:chOff x="7403091" y="10425762"/>
                    <a:chExt cx="97544" cy="60352"/>
                  </a:xfrm>
                </p:grpSpPr>
                <p:sp>
                  <p:nvSpPr>
                    <p:cNvPr id="949" name="Freeform: Shape 948">
                      <a:extLst>
                        <a:ext uri="{FF2B5EF4-FFF2-40B4-BE49-F238E27FC236}">
                          <a16:creationId xmlns:a16="http://schemas.microsoft.com/office/drawing/2014/main" id="{D53C3098-A420-4260-B2BD-F3305BA1DB99}"/>
                        </a:ext>
                      </a:extLst>
                    </p:cNvPr>
                    <p:cNvSpPr/>
                    <p:nvPr/>
                  </p:nvSpPr>
                  <p:spPr>
                    <a:xfrm>
                      <a:off x="7411870" y="10425762"/>
                      <a:ext cx="86458" cy="51838"/>
                    </a:xfrm>
                    <a:custGeom>
                      <a:avLst/>
                      <a:gdLst>
                        <a:gd name="connsiteX0" fmla="*/ 85187 w 86458"/>
                        <a:gd name="connsiteY0" fmla="*/ 51838 h 51838"/>
                        <a:gd name="connsiteX1" fmla="*/ 57637 w 86458"/>
                        <a:gd name="connsiteY1" fmla="*/ 1733 h 51838"/>
                        <a:gd name="connsiteX2" fmla="*/ 0 w 86458"/>
                        <a:gd name="connsiteY2" fmla="*/ 31604 h 51838"/>
                        <a:gd name="connsiteX3" fmla="*/ 85187 w 86458"/>
                        <a:gd name="connsiteY3" fmla="*/ 51838 h 51838"/>
                      </a:gdLst>
                      <a:ahLst/>
                      <a:cxnLst>
                        <a:cxn ang="0">
                          <a:pos x="connsiteX0" y="connsiteY0"/>
                        </a:cxn>
                        <a:cxn ang="0">
                          <a:pos x="connsiteX1" y="connsiteY1"/>
                        </a:cxn>
                        <a:cxn ang="0">
                          <a:pos x="connsiteX2" y="connsiteY2"/>
                        </a:cxn>
                        <a:cxn ang="0">
                          <a:pos x="connsiteX3" y="connsiteY3"/>
                        </a:cxn>
                      </a:cxnLst>
                      <a:rect l="l" t="t" r="r" b="b"/>
                      <a:pathLst>
                        <a:path w="86458" h="51838">
                          <a:moveTo>
                            <a:pt x="85187" y="51838"/>
                          </a:moveTo>
                          <a:cubicBezTo>
                            <a:pt x="90595" y="29067"/>
                            <a:pt x="78265" y="6630"/>
                            <a:pt x="57637" y="1733"/>
                          </a:cubicBezTo>
                          <a:cubicBezTo>
                            <a:pt x="28966" y="-5071"/>
                            <a:pt x="5408" y="8832"/>
                            <a:pt x="0" y="31604"/>
                          </a:cubicBezTo>
                          <a:lnTo>
                            <a:pt x="85187" y="51838"/>
                          </a:ln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50" name="Freeform: Shape 949">
                      <a:extLst>
                        <a:ext uri="{FF2B5EF4-FFF2-40B4-BE49-F238E27FC236}">
                          <a16:creationId xmlns:a16="http://schemas.microsoft.com/office/drawing/2014/main" id="{FB4B0C06-016E-4292-9B5C-C4513BC6967B}"/>
                        </a:ext>
                      </a:extLst>
                    </p:cNvPr>
                    <p:cNvSpPr/>
                    <p:nvPr/>
                  </p:nvSpPr>
                  <p:spPr>
                    <a:xfrm>
                      <a:off x="7454896" y="10438495"/>
                      <a:ext cx="40478" cy="38593"/>
                    </a:xfrm>
                    <a:custGeom>
                      <a:avLst/>
                      <a:gdLst>
                        <a:gd name="connsiteX0" fmla="*/ 39978 w 40478"/>
                        <a:gd name="connsiteY0" fmla="*/ 38594 h 38593"/>
                        <a:gd name="connsiteX1" fmla="*/ 26646 w 40478"/>
                        <a:gd name="connsiteY1" fmla="*/ 484 h 38593"/>
                        <a:gd name="connsiteX2" fmla="*/ 0 w 40478"/>
                        <a:gd name="connsiteY2" fmla="*/ 29096 h 38593"/>
                        <a:gd name="connsiteX3" fmla="*/ 39978 w 40478"/>
                        <a:gd name="connsiteY3" fmla="*/ 38594 h 38593"/>
                      </a:gdLst>
                      <a:ahLst/>
                      <a:cxnLst>
                        <a:cxn ang="0">
                          <a:pos x="connsiteX0" y="connsiteY0"/>
                        </a:cxn>
                        <a:cxn ang="0">
                          <a:pos x="connsiteX1" y="connsiteY1"/>
                        </a:cxn>
                        <a:cxn ang="0">
                          <a:pos x="connsiteX2" y="connsiteY2"/>
                        </a:cxn>
                        <a:cxn ang="0">
                          <a:pos x="connsiteX3" y="connsiteY3"/>
                        </a:cxn>
                      </a:cxnLst>
                      <a:rect l="l" t="t" r="r" b="b"/>
                      <a:pathLst>
                        <a:path w="40478" h="38593">
                          <a:moveTo>
                            <a:pt x="39978" y="38594"/>
                          </a:moveTo>
                          <a:cubicBezTo>
                            <a:pt x="42298" y="19853"/>
                            <a:pt x="36320" y="2785"/>
                            <a:pt x="26646" y="484"/>
                          </a:cubicBezTo>
                          <a:cubicBezTo>
                            <a:pt x="13175" y="-2721"/>
                            <a:pt x="2301" y="10355"/>
                            <a:pt x="0" y="29096"/>
                          </a:cubicBezTo>
                          <a:lnTo>
                            <a:pt x="39978" y="38594"/>
                          </a:ln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51" name="Freeform: Shape 950">
                      <a:extLst>
                        <a:ext uri="{FF2B5EF4-FFF2-40B4-BE49-F238E27FC236}">
                          <a16:creationId xmlns:a16="http://schemas.microsoft.com/office/drawing/2014/main" id="{BCDAA73D-3C2B-402A-84C0-230202966F4B}"/>
                        </a:ext>
                      </a:extLst>
                    </p:cNvPr>
                    <p:cNvSpPr/>
                    <p:nvPr/>
                  </p:nvSpPr>
                  <p:spPr>
                    <a:xfrm rot="-9998399">
                      <a:off x="7402732" y="10466478"/>
                      <a:ext cx="98263" cy="8396"/>
                    </a:xfrm>
                    <a:custGeom>
                      <a:avLst/>
                      <a:gdLst>
                        <a:gd name="connsiteX0" fmla="*/ 4031 w 98263"/>
                        <a:gd name="connsiteY0" fmla="*/ 0 h 8396"/>
                        <a:gd name="connsiteX1" fmla="*/ 94232 w 98263"/>
                        <a:gd name="connsiteY1" fmla="*/ 0 h 8396"/>
                        <a:gd name="connsiteX2" fmla="*/ 98263 w 98263"/>
                        <a:gd name="connsiteY2" fmla="*/ 4031 h 8396"/>
                        <a:gd name="connsiteX3" fmla="*/ 98263 w 98263"/>
                        <a:gd name="connsiteY3" fmla="*/ 4366 h 8396"/>
                        <a:gd name="connsiteX4" fmla="*/ 94232 w 98263"/>
                        <a:gd name="connsiteY4" fmla="*/ 8397 h 8396"/>
                        <a:gd name="connsiteX5" fmla="*/ 4031 w 98263"/>
                        <a:gd name="connsiteY5" fmla="*/ 8397 h 8396"/>
                        <a:gd name="connsiteX6" fmla="*/ 0 w 98263"/>
                        <a:gd name="connsiteY6" fmla="*/ 4366 h 8396"/>
                        <a:gd name="connsiteX7" fmla="*/ 0 w 98263"/>
                        <a:gd name="connsiteY7" fmla="*/ 4031 h 8396"/>
                        <a:gd name="connsiteX8" fmla="*/ 4031 w 98263"/>
                        <a:gd name="connsiteY8" fmla="*/ 0 h 8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263" h="8396">
                          <a:moveTo>
                            <a:pt x="4031" y="0"/>
                          </a:moveTo>
                          <a:lnTo>
                            <a:pt x="94232" y="0"/>
                          </a:lnTo>
                          <a:cubicBezTo>
                            <a:pt x="96454" y="0"/>
                            <a:pt x="98263" y="1809"/>
                            <a:pt x="98263" y="4031"/>
                          </a:cubicBezTo>
                          <a:lnTo>
                            <a:pt x="98263" y="4366"/>
                          </a:lnTo>
                          <a:cubicBezTo>
                            <a:pt x="98263" y="6588"/>
                            <a:pt x="96454" y="8397"/>
                            <a:pt x="94232" y="8397"/>
                          </a:cubicBezTo>
                          <a:lnTo>
                            <a:pt x="4031" y="8397"/>
                          </a:lnTo>
                          <a:cubicBezTo>
                            <a:pt x="1809" y="8397"/>
                            <a:pt x="0" y="6588"/>
                            <a:pt x="0" y="4366"/>
                          </a:cubicBezTo>
                          <a:lnTo>
                            <a:pt x="0" y="4031"/>
                          </a:lnTo>
                          <a:cubicBezTo>
                            <a:pt x="0" y="1809"/>
                            <a:pt x="1809" y="0"/>
                            <a:pt x="4031" y="0"/>
                          </a:cubicBez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839" name="Graphic 10">
                  <a:extLst>
                    <a:ext uri="{FF2B5EF4-FFF2-40B4-BE49-F238E27FC236}">
                      <a16:creationId xmlns:a16="http://schemas.microsoft.com/office/drawing/2014/main" id="{7CC8D592-8C15-49CF-B8CE-31895385A1A4}"/>
                    </a:ext>
                  </a:extLst>
                </p:cNvPr>
                <p:cNvGrpSpPr/>
                <p:nvPr/>
              </p:nvGrpSpPr>
              <p:grpSpPr>
                <a:xfrm>
                  <a:off x="6619761" y="10456703"/>
                  <a:ext cx="318489" cy="921531"/>
                  <a:chOff x="6619761" y="10456703"/>
                  <a:chExt cx="318489" cy="921531"/>
                </a:xfrm>
              </p:grpSpPr>
              <p:sp>
                <p:nvSpPr>
                  <p:cNvPr id="917" name="Freeform: Shape 916">
                    <a:extLst>
                      <a:ext uri="{FF2B5EF4-FFF2-40B4-BE49-F238E27FC236}">
                        <a16:creationId xmlns:a16="http://schemas.microsoft.com/office/drawing/2014/main" id="{00629CDD-05E1-4C70-A5BA-1150B5AAF3A8}"/>
                      </a:ext>
                    </a:extLst>
                  </p:cNvPr>
                  <p:cNvSpPr/>
                  <p:nvPr/>
                </p:nvSpPr>
                <p:spPr>
                  <a:xfrm>
                    <a:off x="6620079" y="10728106"/>
                    <a:ext cx="107898" cy="137690"/>
                  </a:xfrm>
                  <a:custGeom>
                    <a:avLst/>
                    <a:gdLst>
                      <a:gd name="connsiteX0" fmla="*/ 35848 w 107898"/>
                      <a:gd name="connsiteY0" fmla="*/ 20 h 137690"/>
                      <a:gd name="connsiteX1" fmla="*/ 107899 w 107898"/>
                      <a:gd name="connsiteY1" fmla="*/ 126699 h 137690"/>
                      <a:gd name="connsiteX2" fmla="*/ 99522 w 107898"/>
                      <a:gd name="connsiteY2" fmla="*/ 137691 h 137690"/>
                      <a:gd name="connsiteX3" fmla="*/ 0 w 107898"/>
                      <a:gd name="connsiteY3" fmla="*/ 11622 h 137690"/>
                      <a:gd name="connsiteX4" fmla="*/ 35848 w 107898"/>
                      <a:gd name="connsiteY4" fmla="*/ 0 h 137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898" h="137690">
                        <a:moveTo>
                          <a:pt x="35848" y="20"/>
                        </a:moveTo>
                        <a:lnTo>
                          <a:pt x="107899" y="126699"/>
                        </a:lnTo>
                        <a:lnTo>
                          <a:pt x="99522" y="137691"/>
                        </a:lnTo>
                        <a:cubicBezTo>
                          <a:pt x="71009" y="117771"/>
                          <a:pt x="9576" y="56634"/>
                          <a:pt x="0" y="11622"/>
                        </a:cubicBezTo>
                        <a:lnTo>
                          <a:pt x="35848" y="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18" name="Freeform: Shape 917">
                    <a:extLst>
                      <a:ext uri="{FF2B5EF4-FFF2-40B4-BE49-F238E27FC236}">
                        <a16:creationId xmlns:a16="http://schemas.microsoft.com/office/drawing/2014/main" id="{FAA0F5C8-838A-46A0-B0D9-87A738A0AFE0}"/>
                      </a:ext>
                    </a:extLst>
                  </p:cNvPr>
                  <p:cNvSpPr/>
                  <p:nvPr/>
                </p:nvSpPr>
                <p:spPr>
                  <a:xfrm>
                    <a:off x="6619761" y="10600857"/>
                    <a:ext cx="134311" cy="152940"/>
                  </a:xfrm>
                  <a:custGeom>
                    <a:avLst/>
                    <a:gdLst>
                      <a:gd name="connsiteX0" fmla="*/ 40197 w 134311"/>
                      <a:gd name="connsiteY0" fmla="*/ 143826 h 152940"/>
                      <a:gd name="connsiteX1" fmla="*/ 495 w 134311"/>
                      <a:gd name="connsiteY1" fmla="*/ 132086 h 152940"/>
                      <a:gd name="connsiteX2" fmla="*/ 94943 w 134311"/>
                      <a:gd name="connsiteY2" fmla="*/ 0 h 152940"/>
                      <a:gd name="connsiteX3" fmla="*/ 134311 w 134311"/>
                      <a:gd name="connsiteY3" fmla="*/ 39368 h 152940"/>
                      <a:gd name="connsiteX4" fmla="*/ 40197 w 134311"/>
                      <a:gd name="connsiteY4" fmla="*/ 143826 h 152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11" h="152940">
                        <a:moveTo>
                          <a:pt x="40197" y="143826"/>
                        </a:moveTo>
                        <a:cubicBezTo>
                          <a:pt x="23522" y="163156"/>
                          <a:pt x="-4028" y="148133"/>
                          <a:pt x="495" y="132086"/>
                        </a:cubicBezTo>
                        <a:cubicBezTo>
                          <a:pt x="20906" y="93446"/>
                          <a:pt x="56932" y="30519"/>
                          <a:pt x="94943" y="0"/>
                        </a:cubicBezTo>
                        <a:lnTo>
                          <a:pt x="134311" y="39368"/>
                        </a:lnTo>
                        <a:lnTo>
                          <a:pt x="40197" y="143826"/>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19" name="Freeform: Shape 918">
                    <a:extLst>
                      <a:ext uri="{FF2B5EF4-FFF2-40B4-BE49-F238E27FC236}">
                        <a16:creationId xmlns:a16="http://schemas.microsoft.com/office/drawing/2014/main" id="{728053F8-39B7-4636-8306-47BED9F64089}"/>
                      </a:ext>
                    </a:extLst>
                  </p:cNvPr>
                  <p:cNvSpPr/>
                  <p:nvPr/>
                </p:nvSpPr>
                <p:spPr>
                  <a:xfrm>
                    <a:off x="6717255" y="10861038"/>
                    <a:ext cx="114787" cy="486736"/>
                  </a:xfrm>
                  <a:custGeom>
                    <a:avLst/>
                    <a:gdLst>
                      <a:gd name="connsiteX0" fmla="*/ 114788 w 114787"/>
                      <a:gd name="connsiteY0" fmla="*/ 0 h 486736"/>
                      <a:gd name="connsiteX1" fmla="*/ 2759 w 114787"/>
                      <a:gd name="connsiteY1" fmla="*/ 0 h 486736"/>
                      <a:gd name="connsiteX2" fmla="*/ 14027 w 114787"/>
                      <a:gd name="connsiteY2" fmla="*/ 228836 h 486736"/>
                      <a:gd name="connsiteX3" fmla="*/ 28736 w 114787"/>
                      <a:gd name="connsiteY3" fmla="*/ 486736 h 486736"/>
                      <a:gd name="connsiteX4" fmla="*/ 66432 w 114787"/>
                      <a:gd name="connsiteY4" fmla="*/ 486736 h 486736"/>
                      <a:gd name="connsiteX5" fmla="*/ 114788 w 114787"/>
                      <a:gd name="connsiteY5" fmla="*/ 0 h 48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787" h="486736">
                        <a:moveTo>
                          <a:pt x="114788" y="0"/>
                        </a:moveTo>
                        <a:lnTo>
                          <a:pt x="2759" y="0"/>
                        </a:lnTo>
                        <a:cubicBezTo>
                          <a:pt x="-7467" y="55375"/>
                          <a:pt x="14027" y="146933"/>
                          <a:pt x="14027" y="228836"/>
                        </a:cubicBezTo>
                        <a:cubicBezTo>
                          <a:pt x="11372" y="313629"/>
                          <a:pt x="5433" y="387489"/>
                          <a:pt x="28736" y="486736"/>
                        </a:cubicBezTo>
                        <a:lnTo>
                          <a:pt x="66432" y="486736"/>
                        </a:lnTo>
                        <a:lnTo>
                          <a:pt x="114788" y="0"/>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20" name="Freeform: Shape 919">
                    <a:extLst>
                      <a:ext uri="{FF2B5EF4-FFF2-40B4-BE49-F238E27FC236}">
                        <a16:creationId xmlns:a16="http://schemas.microsoft.com/office/drawing/2014/main" id="{4F02B7E3-2201-4F72-A2D2-5964730E6A92}"/>
                      </a:ext>
                    </a:extLst>
                  </p:cNvPr>
                  <p:cNvSpPr/>
                  <p:nvPr/>
                </p:nvSpPr>
                <p:spPr>
                  <a:xfrm>
                    <a:off x="6747937" y="11347775"/>
                    <a:ext cx="70123" cy="30460"/>
                  </a:xfrm>
                  <a:custGeom>
                    <a:avLst/>
                    <a:gdLst>
                      <a:gd name="connsiteX0" fmla="*/ 3953 w 70123"/>
                      <a:gd name="connsiteY0" fmla="*/ 0 h 30460"/>
                      <a:gd name="connsiteX1" fmla="*/ 27884 w 70123"/>
                      <a:gd name="connsiteY1" fmla="*/ 0 h 30460"/>
                      <a:gd name="connsiteX2" fmla="*/ 49771 w 70123"/>
                      <a:gd name="connsiteY2" fmla="*/ 16951 h 30460"/>
                      <a:gd name="connsiteX3" fmla="*/ 70123 w 70123"/>
                      <a:gd name="connsiteY3" fmla="*/ 20372 h 30460"/>
                      <a:gd name="connsiteX4" fmla="*/ 68806 w 70123"/>
                      <a:gd name="connsiteY4" fmla="*/ 30460 h 30460"/>
                      <a:gd name="connsiteX5" fmla="*/ 0 w 70123"/>
                      <a:gd name="connsiteY5" fmla="*/ 30460 h 30460"/>
                      <a:gd name="connsiteX6" fmla="*/ 3953 w 70123"/>
                      <a:gd name="connsiteY6" fmla="*/ 0 h 3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23" h="30460">
                        <a:moveTo>
                          <a:pt x="3953" y="0"/>
                        </a:moveTo>
                        <a:lnTo>
                          <a:pt x="27884" y="0"/>
                        </a:lnTo>
                        <a:lnTo>
                          <a:pt x="49771" y="16951"/>
                        </a:lnTo>
                        <a:lnTo>
                          <a:pt x="70123" y="20372"/>
                        </a:lnTo>
                        <a:lnTo>
                          <a:pt x="68806" y="30460"/>
                        </a:lnTo>
                        <a:lnTo>
                          <a:pt x="0" y="30460"/>
                        </a:lnTo>
                        <a:lnTo>
                          <a:pt x="3953"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21" name="Freeform: Shape 920">
                    <a:extLst>
                      <a:ext uri="{FF2B5EF4-FFF2-40B4-BE49-F238E27FC236}">
                        <a16:creationId xmlns:a16="http://schemas.microsoft.com/office/drawing/2014/main" id="{DD697C7D-C222-45F9-BE34-F911C8719C97}"/>
                      </a:ext>
                    </a:extLst>
                  </p:cNvPr>
                  <p:cNvSpPr/>
                  <p:nvPr/>
                </p:nvSpPr>
                <p:spPr>
                  <a:xfrm>
                    <a:off x="6868127" y="11347775"/>
                    <a:ext cx="70123" cy="30460"/>
                  </a:xfrm>
                  <a:custGeom>
                    <a:avLst/>
                    <a:gdLst>
                      <a:gd name="connsiteX0" fmla="*/ 3953 w 70123"/>
                      <a:gd name="connsiteY0" fmla="*/ 0 h 30460"/>
                      <a:gd name="connsiteX1" fmla="*/ 27885 w 70123"/>
                      <a:gd name="connsiteY1" fmla="*/ 0 h 30460"/>
                      <a:gd name="connsiteX2" fmla="*/ 49771 w 70123"/>
                      <a:gd name="connsiteY2" fmla="*/ 16951 h 30460"/>
                      <a:gd name="connsiteX3" fmla="*/ 70124 w 70123"/>
                      <a:gd name="connsiteY3" fmla="*/ 20372 h 30460"/>
                      <a:gd name="connsiteX4" fmla="*/ 68806 w 70123"/>
                      <a:gd name="connsiteY4" fmla="*/ 30460 h 30460"/>
                      <a:gd name="connsiteX5" fmla="*/ 0 w 70123"/>
                      <a:gd name="connsiteY5" fmla="*/ 30460 h 30460"/>
                      <a:gd name="connsiteX6" fmla="*/ 3953 w 70123"/>
                      <a:gd name="connsiteY6" fmla="*/ 0 h 3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23" h="30460">
                        <a:moveTo>
                          <a:pt x="3953" y="0"/>
                        </a:moveTo>
                        <a:lnTo>
                          <a:pt x="27885" y="0"/>
                        </a:lnTo>
                        <a:lnTo>
                          <a:pt x="49771" y="16951"/>
                        </a:lnTo>
                        <a:lnTo>
                          <a:pt x="70124" y="20372"/>
                        </a:lnTo>
                        <a:lnTo>
                          <a:pt x="68806" y="30460"/>
                        </a:lnTo>
                        <a:lnTo>
                          <a:pt x="0" y="30460"/>
                        </a:lnTo>
                        <a:lnTo>
                          <a:pt x="3953"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22" name="Freeform: Shape 921">
                    <a:extLst>
                      <a:ext uri="{FF2B5EF4-FFF2-40B4-BE49-F238E27FC236}">
                        <a16:creationId xmlns:a16="http://schemas.microsoft.com/office/drawing/2014/main" id="{C2DD1875-CDBC-4098-A80F-0AEE068802FA}"/>
                      </a:ext>
                    </a:extLst>
                  </p:cNvPr>
                  <p:cNvSpPr/>
                  <p:nvPr/>
                </p:nvSpPr>
                <p:spPr>
                  <a:xfrm>
                    <a:off x="6719502" y="10783836"/>
                    <a:ext cx="196920" cy="563938"/>
                  </a:xfrm>
                  <a:custGeom>
                    <a:avLst/>
                    <a:gdLst>
                      <a:gd name="connsiteX0" fmla="*/ 138242 w 196920"/>
                      <a:gd name="connsiteY0" fmla="*/ 0 h 563938"/>
                      <a:gd name="connsiteX1" fmla="*/ 32289 w 196920"/>
                      <a:gd name="connsiteY1" fmla="*/ 0 h 563938"/>
                      <a:gd name="connsiteX2" fmla="*/ 0 w 196920"/>
                      <a:gd name="connsiteY2" fmla="*/ 77203 h 563938"/>
                      <a:gd name="connsiteX3" fmla="*/ 121585 w 196920"/>
                      <a:gd name="connsiteY3" fmla="*/ 306039 h 563938"/>
                      <a:gd name="connsiteX4" fmla="*/ 146677 w 196920"/>
                      <a:gd name="connsiteY4" fmla="*/ 563939 h 563938"/>
                      <a:gd name="connsiteX5" fmla="*/ 186341 w 196920"/>
                      <a:gd name="connsiteY5" fmla="*/ 563939 h 563938"/>
                      <a:gd name="connsiteX6" fmla="*/ 196920 w 196920"/>
                      <a:gd name="connsiteY6" fmla="*/ 306019 h 563938"/>
                      <a:gd name="connsiteX7" fmla="*/ 138242 w 196920"/>
                      <a:gd name="connsiteY7" fmla="*/ 0 h 5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20" h="563938">
                        <a:moveTo>
                          <a:pt x="138242" y="0"/>
                        </a:moveTo>
                        <a:lnTo>
                          <a:pt x="32289" y="0"/>
                        </a:lnTo>
                        <a:cubicBezTo>
                          <a:pt x="32289" y="0"/>
                          <a:pt x="0" y="46625"/>
                          <a:pt x="0" y="77203"/>
                        </a:cubicBezTo>
                        <a:cubicBezTo>
                          <a:pt x="0" y="150394"/>
                          <a:pt x="100151" y="238845"/>
                          <a:pt x="121585" y="306039"/>
                        </a:cubicBezTo>
                        <a:cubicBezTo>
                          <a:pt x="118931" y="390832"/>
                          <a:pt x="123375" y="464692"/>
                          <a:pt x="146677" y="563939"/>
                        </a:cubicBezTo>
                        <a:lnTo>
                          <a:pt x="186341" y="563939"/>
                        </a:lnTo>
                        <a:lnTo>
                          <a:pt x="196920" y="306019"/>
                        </a:lnTo>
                        <a:cubicBezTo>
                          <a:pt x="196920" y="306019"/>
                          <a:pt x="149804" y="25131"/>
                          <a:pt x="138242" y="0"/>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23" name="Freeform: Shape 922">
                    <a:extLst>
                      <a:ext uri="{FF2B5EF4-FFF2-40B4-BE49-F238E27FC236}">
                        <a16:creationId xmlns:a16="http://schemas.microsoft.com/office/drawing/2014/main" id="{C9CD199D-9487-492D-8E9D-FCAA9B9A2648}"/>
                      </a:ext>
                    </a:extLst>
                  </p:cNvPr>
                  <p:cNvSpPr/>
                  <p:nvPr/>
                </p:nvSpPr>
                <p:spPr>
                  <a:xfrm>
                    <a:off x="6787345" y="10538855"/>
                    <a:ext cx="30696" cy="44697"/>
                  </a:xfrm>
                  <a:custGeom>
                    <a:avLst/>
                    <a:gdLst>
                      <a:gd name="connsiteX0" fmla="*/ 30696 w 30696"/>
                      <a:gd name="connsiteY0" fmla="*/ 11327 h 44697"/>
                      <a:gd name="connsiteX1" fmla="*/ 26646 w 30696"/>
                      <a:gd name="connsiteY1" fmla="*/ 43694 h 44697"/>
                      <a:gd name="connsiteX2" fmla="*/ 0 w 30696"/>
                      <a:gd name="connsiteY2" fmla="*/ 44697 h 44697"/>
                      <a:gd name="connsiteX3" fmla="*/ 216 w 30696"/>
                      <a:gd name="connsiteY3" fmla="*/ 0 h 44697"/>
                      <a:gd name="connsiteX4" fmla="*/ 30696 w 30696"/>
                      <a:gd name="connsiteY4" fmla="*/ 11327 h 44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96" h="44697">
                        <a:moveTo>
                          <a:pt x="30696" y="11327"/>
                        </a:moveTo>
                        <a:lnTo>
                          <a:pt x="26646" y="43694"/>
                        </a:lnTo>
                        <a:lnTo>
                          <a:pt x="0" y="44697"/>
                        </a:lnTo>
                        <a:lnTo>
                          <a:pt x="216" y="0"/>
                        </a:lnTo>
                        <a:lnTo>
                          <a:pt x="30696" y="11327"/>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24" name="Freeform: Shape 923">
                    <a:extLst>
                      <a:ext uri="{FF2B5EF4-FFF2-40B4-BE49-F238E27FC236}">
                        <a16:creationId xmlns:a16="http://schemas.microsoft.com/office/drawing/2014/main" id="{DE4D2430-0603-4376-B3B6-9BBDFED9E4DA}"/>
                      </a:ext>
                    </a:extLst>
                  </p:cNvPr>
                  <p:cNvSpPr/>
                  <p:nvPr/>
                </p:nvSpPr>
                <p:spPr>
                  <a:xfrm>
                    <a:off x="6692680" y="10580964"/>
                    <a:ext cx="187636" cy="301272"/>
                  </a:xfrm>
                  <a:custGeom>
                    <a:avLst/>
                    <a:gdLst>
                      <a:gd name="connsiteX0" fmla="*/ 186597 w 187636"/>
                      <a:gd name="connsiteY0" fmla="*/ 301272 h 301272"/>
                      <a:gd name="connsiteX1" fmla="*/ 170491 w 187636"/>
                      <a:gd name="connsiteY1" fmla="*/ 21486 h 301272"/>
                      <a:gd name="connsiteX2" fmla="*/ 22044 w 187636"/>
                      <a:gd name="connsiteY2" fmla="*/ 19893 h 301272"/>
                      <a:gd name="connsiteX3" fmla="*/ 0 w 187636"/>
                      <a:gd name="connsiteY3" fmla="*/ 301155 h 301272"/>
                      <a:gd name="connsiteX4" fmla="*/ 186577 w 187636"/>
                      <a:gd name="connsiteY4" fmla="*/ 301272 h 301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36" h="301272">
                        <a:moveTo>
                          <a:pt x="186597" y="301272"/>
                        </a:moveTo>
                        <a:cubicBezTo>
                          <a:pt x="186636" y="259682"/>
                          <a:pt x="193695" y="47522"/>
                          <a:pt x="170491" y="21486"/>
                        </a:cubicBezTo>
                        <a:cubicBezTo>
                          <a:pt x="145695" y="-6340"/>
                          <a:pt x="78835" y="-7421"/>
                          <a:pt x="22044" y="19893"/>
                        </a:cubicBezTo>
                        <a:cubicBezTo>
                          <a:pt x="20097" y="78237"/>
                          <a:pt x="0" y="301155"/>
                          <a:pt x="0" y="301155"/>
                        </a:cubicBezTo>
                        <a:lnTo>
                          <a:pt x="186577" y="301272"/>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25" name="Freeform: Shape 924">
                    <a:extLst>
                      <a:ext uri="{FF2B5EF4-FFF2-40B4-BE49-F238E27FC236}">
                        <a16:creationId xmlns:a16="http://schemas.microsoft.com/office/drawing/2014/main" id="{3C44FC09-2889-461B-88F1-950788FE75C3}"/>
                      </a:ext>
                    </a:extLst>
                  </p:cNvPr>
                  <p:cNvSpPr/>
                  <p:nvPr/>
                </p:nvSpPr>
                <p:spPr>
                  <a:xfrm>
                    <a:off x="6801554" y="10778428"/>
                    <a:ext cx="54439" cy="162448"/>
                  </a:xfrm>
                  <a:custGeom>
                    <a:avLst/>
                    <a:gdLst>
                      <a:gd name="connsiteX0" fmla="*/ 36663 w 54439"/>
                      <a:gd name="connsiteY0" fmla="*/ 10757 h 162448"/>
                      <a:gd name="connsiteX1" fmla="*/ 54440 w 54439"/>
                      <a:gd name="connsiteY1" fmla="*/ 148467 h 162448"/>
                      <a:gd name="connsiteX2" fmla="*/ 35916 w 54439"/>
                      <a:gd name="connsiteY2" fmla="*/ 162449 h 162448"/>
                      <a:gd name="connsiteX3" fmla="*/ 2349 w 54439"/>
                      <a:gd name="connsiteY3" fmla="*/ 0 h 162448"/>
                      <a:gd name="connsiteX4" fmla="*/ 36683 w 54439"/>
                      <a:gd name="connsiteY4" fmla="*/ 10757 h 16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39" h="162448">
                        <a:moveTo>
                          <a:pt x="36663" y="10757"/>
                        </a:moveTo>
                        <a:lnTo>
                          <a:pt x="54440" y="148467"/>
                        </a:lnTo>
                        <a:lnTo>
                          <a:pt x="35916" y="162449"/>
                        </a:lnTo>
                        <a:cubicBezTo>
                          <a:pt x="18552" y="132323"/>
                          <a:pt x="-8074" y="44835"/>
                          <a:pt x="2349" y="0"/>
                        </a:cubicBezTo>
                        <a:lnTo>
                          <a:pt x="36683" y="10757"/>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26" name="Freeform: Shape 925">
                    <a:extLst>
                      <a:ext uri="{FF2B5EF4-FFF2-40B4-BE49-F238E27FC236}">
                        <a16:creationId xmlns:a16="http://schemas.microsoft.com/office/drawing/2014/main" id="{FAC469EA-566E-4AC8-B905-6680D9C26D11}"/>
                      </a:ext>
                    </a:extLst>
                  </p:cNvPr>
                  <p:cNvSpPr/>
                  <p:nvPr/>
                </p:nvSpPr>
                <p:spPr>
                  <a:xfrm>
                    <a:off x="6837450" y="10926895"/>
                    <a:ext cx="35789" cy="52602"/>
                  </a:xfrm>
                  <a:custGeom>
                    <a:avLst/>
                    <a:gdLst>
                      <a:gd name="connsiteX0" fmla="*/ 18524 w 35789"/>
                      <a:gd name="connsiteY0" fmla="*/ 0 h 52602"/>
                      <a:gd name="connsiteX1" fmla="*/ 35789 w 35789"/>
                      <a:gd name="connsiteY1" fmla="*/ 21592 h 52602"/>
                      <a:gd name="connsiteX2" fmla="*/ 30421 w 35789"/>
                      <a:gd name="connsiteY2" fmla="*/ 49712 h 52602"/>
                      <a:gd name="connsiteX3" fmla="*/ 20628 w 35789"/>
                      <a:gd name="connsiteY3" fmla="*/ 52603 h 52602"/>
                      <a:gd name="connsiteX4" fmla="*/ 767 w 35789"/>
                      <a:gd name="connsiteY4" fmla="*/ 30598 h 52602"/>
                      <a:gd name="connsiteX5" fmla="*/ 0 w 35789"/>
                      <a:gd name="connsiteY5" fmla="*/ 13962 h 52602"/>
                      <a:gd name="connsiteX6" fmla="*/ 18524 w 35789"/>
                      <a:gd name="connsiteY6" fmla="*/ 0 h 5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789" h="52602">
                        <a:moveTo>
                          <a:pt x="18524" y="0"/>
                        </a:moveTo>
                        <a:lnTo>
                          <a:pt x="35789" y="21592"/>
                        </a:lnTo>
                        <a:lnTo>
                          <a:pt x="30421" y="49712"/>
                        </a:lnTo>
                        <a:lnTo>
                          <a:pt x="20628" y="52603"/>
                        </a:lnTo>
                        <a:lnTo>
                          <a:pt x="767" y="30598"/>
                        </a:lnTo>
                        <a:lnTo>
                          <a:pt x="0" y="13962"/>
                        </a:lnTo>
                        <a:lnTo>
                          <a:pt x="18524" y="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27" name="Freeform: Shape 926">
                    <a:extLst>
                      <a:ext uri="{FF2B5EF4-FFF2-40B4-BE49-F238E27FC236}">
                        <a16:creationId xmlns:a16="http://schemas.microsoft.com/office/drawing/2014/main" id="{B4B2E5AB-F614-47BB-85A6-7AD1C50B9981}"/>
                      </a:ext>
                    </a:extLst>
                  </p:cNvPr>
                  <p:cNvSpPr/>
                  <p:nvPr/>
                </p:nvSpPr>
                <p:spPr>
                  <a:xfrm>
                    <a:off x="6795294" y="10602387"/>
                    <a:ext cx="62145" cy="198863"/>
                  </a:xfrm>
                  <a:custGeom>
                    <a:avLst/>
                    <a:gdLst>
                      <a:gd name="connsiteX0" fmla="*/ 43080 w 62145"/>
                      <a:gd name="connsiteY0" fmla="*/ 188037 h 198863"/>
                      <a:gd name="connsiteX1" fmla="*/ 7035 w 62145"/>
                      <a:gd name="connsiteY1" fmla="*/ 185028 h 198863"/>
                      <a:gd name="connsiteX2" fmla="*/ 1922 w 62145"/>
                      <a:gd name="connsiteY2" fmla="*/ 28400 h 198863"/>
                      <a:gd name="connsiteX3" fmla="*/ 33641 w 62145"/>
                      <a:gd name="connsiteY3" fmla="*/ 44 h 198863"/>
                      <a:gd name="connsiteX4" fmla="*/ 62036 w 62145"/>
                      <a:gd name="connsiteY4" fmla="*/ 32667 h 198863"/>
                      <a:gd name="connsiteX5" fmla="*/ 43060 w 62145"/>
                      <a:gd name="connsiteY5" fmla="*/ 188017 h 19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145" h="198863">
                        <a:moveTo>
                          <a:pt x="43080" y="188037"/>
                        </a:moveTo>
                        <a:cubicBezTo>
                          <a:pt x="34486" y="196846"/>
                          <a:pt x="15274" y="208546"/>
                          <a:pt x="7035" y="185028"/>
                        </a:cubicBezTo>
                        <a:cubicBezTo>
                          <a:pt x="-2207" y="151146"/>
                          <a:pt x="-516" y="70856"/>
                          <a:pt x="1922" y="28400"/>
                        </a:cubicBezTo>
                        <a:cubicBezTo>
                          <a:pt x="2886" y="11823"/>
                          <a:pt x="17064" y="-841"/>
                          <a:pt x="33641" y="44"/>
                        </a:cubicBezTo>
                        <a:cubicBezTo>
                          <a:pt x="50612" y="968"/>
                          <a:pt x="63472" y="15736"/>
                          <a:pt x="62036" y="32667"/>
                        </a:cubicBezTo>
                        <a:cubicBezTo>
                          <a:pt x="59382" y="91857"/>
                          <a:pt x="54014" y="145600"/>
                          <a:pt x="43060" y="188017"/>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928" name="Graphic 10">
                    <a:extLst>
                      <a:ext uri="{FF2B5EF4-FFF2-40B4-BE49-F238E27FC236}">
                        <a16:creationId xmlns:a16="http://schemas.microsoft.com/office/drawing/2014/main" id="{EC0A1A91-C5A4-4FD3-962E-1705459BF908}"/>
                      </a:ext>
                    </a:extLst>
                  </p:cNvPr>
                  <p:cNvGrpSpPr/>
                  <p:nvPr/>
                </p:nvGrpSpPr>
                <p:grpSpPr>
                  <a:xfrm>
                    <a:off x="6712102" y="10467737"/>
                    <a:ext cx="123020" cy="156935"/>
                    <a:chOff x="6712102" y="10467737"/>
                    <a:chExt cx="123020" cy="156935"/>
                  </a:xfrm>
                </p:grpSpPr>
                <p:sp>
                  <p:nvSpPr>
                    <p:cNvPr id="933" name="Freeform: Shape 932">
                      <a:extLst>
                        <a:ext uri="{FF2B5EF4-FFF2-40B4-BE49-F238E27FC236}">
                          <a16:creationId xmlns:a16="http://schemas.microsoft.com/office/drawing/2014/main" id="{B7CD4369-AAB1-434B-9582-17C2068E555E}"/>
                        </a:ext>
                      </a:extLst>
                    </p:cNvPr>
                    <p:cNvSpPr/>
                    <p:nvPr/>
                  </p:nvSpPr>
                  <p:spPr>
                    <a:xfrm>
                      <a:off x="6772813" y="10477797"/>
                      <a:ext cx="62150" cy="79334"/>
                    </a:xfrm>
                    <a:custGeom>
                      <a:avLst/>
                      <a:gdLst>
                        <a:gd name="connsiteX0" fmla="*/ 62061 w 62150"/>
                        <a:gd name="connsiteY0" fmla="*/ 66505 h 79334"/>
                        <a:gd name="connsiteX1" fmla="*/ 40352 w 62150"/>
                        <a:gd name="connsiteY1" fmla="*/ 78147 h 79334"/>
                        <a:gd name="connsiteX2" fmla="*/ 14807 w 62150"/>
                        <a:gd name="connsiteY2" fmla="*/ 65149 h 79334"/>
                        <a:gd name="connsiteX3" fmla="*/ 0 w 62150"/>
                        <a:gd name="connsiteY3" fmla="*/ 32112 h 79334"/>
                        <a:gd name="connsiteX4" fmla="*/ 10501 w 62150"/>
                        <a:gd name="connsiteY4" fmla="*/ 1711 h 79334"/>
                        <a:gd name="connsiteX5" fmla="*/ 55179 w 62150"/>
                        <a:gd name="connsiteY5" fmla="*/ 0 h 79334"/>
                        <a:gd name="connsiteX6" fmla="*/ 62061 w 62150"/>
                        <a:gd name="connsiteY6" fmla="*/ 66505 h 7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50" h="79334">
                          <a:moveTo>
                            <a:pt x="62061" y="66505"/>
                          </a:moveTo>
                          <a:cubicBezTo>
                            <a:pt x="63045" y="74489"/>
                            <a:pt x="55867" y="82394"/>
                            <a:pt x="40352" y="78147"/>
                          </a:cubicBezTo>
                          <a:lnTo>
                            <a:pt x="14807" y="65149"/>
                          </a:lnTo>
                          <a:lnTo>
                            <a:pt x="0" y="32112"/>
                          </a:lnTo>
                          <a:lnTo>
                            <a:pt x="10501" y="1711"/>
                          </a:lnTo>
                          <a:lnTo>
                            <a:pt x="55179" y="0"/>
                          </a:lnTo>
                          <a:lnTo>
                            <a:pt x="62061" y="66505"/>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34" name="Freeform: Shape 933">
                      <a:extLst>
                        <a:ext uri="{FF2B5EF4-FFF2-40B4-BE49-F238E27FC236}">
                          <a16:creationId xmlns:a16="http://schemas.microsoft.com/office/drawing/2014/main" id="{09BF5FC7-F334-4B23-8EEE-90D2326B2A81}"/>
                        </a:ext>
                      </a:extLst>
                    </p:cNvPr>
                    <p:cNvSpPr/>
                    <p:nvPr/>
                  </p:nvSpPr>
                  <p:spPr>
                    <a:xfrm>
                      <a:off x="6763038" y="10467737"/>
                      <a:ext cx="72084" cy="41778"/>
                    </a:xfrm>
                    <a:custGeom>
                      <a:avLst/>
                      <a:gdLst>
                        <a:gd name="connsiteX0" fmla="*/ 35909 w 72084"/>
                        <a:gd name="connsiteY0" fmla="*/ 34955 h 41778"/>
                        <a:gd name="connsiteX1" fmla="*/ 54158 w 72084"/>
                        <a:gd name="connsiteY1" fmla="*/ 28072 h 41778"/>
                        <a:gd name="connsiteX2" fmla="*/ 71895 w 72084"/>
                        <a:gd name="connsiteY2" fmla="*/ 8034 h 41778"/>
                        <a:gd name="connsiteX3" fmla="*/ 63715 w 72084"/>
                        <a:gd name="connsiteY3" fmla="*/ 286 h 41778"/>
                        <a:gd name="connsiteX4" fmla="*/ 20886 w 72084"/>
                        <a:gd name="connsiteY4" fmla="*/ 4573 h 41778"/>
                        <a:gd name="connsiteX5" fmla="*/ 3325 w 72084"/>
                        <a:gd name="connsiteY5" fmla="*/ 41778 h 41778"/>
                        <a:gd name="connsiteX6" fmla="*/ 35909 w 72084"/>
                        <a:gd name="connsiteY6" fmla="*/ 34955 h 4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84" h="41778">
                          <a:moveTo>
                            <a:pt x="35909" y="34955"/>
                          </a:moveTo>
                          <a:lnTo>
                            <a:pt x="54158" y="28072"/>
                          </a:lnTo>
                          <a:cubicBezTo>
                            <a:pt x="63007" y="24729"/>
                            <a:pt x="69653" y="17237"/>
                            <a:pt x="71895" y="8034"/>
                          </a:cubicBezTo>
                          <a:cubicBezTo>
                            <a:pt x="73075" y="3157"/>
                            <a:pt x="68533" y="-1169"/>
                            <a:pt x="63715" y="286"/>
                          </a:cubicBezTo>
                          <a:lnTo>
                            <a:pt x="20886" y="4573"/>
                          </a:lnTo>
                          <a:cubicBezTo>
                            <a:pt x="1792" y="6264"/>
                            <a:pt x="-4599" y="21209"/>
                            <a:pt x="3325" y="41778"/>
                          </a:cubicBezTo>
                          <a:lnTo>
                            <a:pt x="35909" y="34955"/>
                          </a:lnTo>
                          <a:close/>
                        </a:path>
                      </a:pathLst>
                    </a:custGeom>
                    <a:solidFill>
                      <a:srgbClr val="37384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35" name="Freeform: Shape 934">
                      <a:extLst>
                        <a:ext uri="{FF2B5EF4-FFF2-40B4-BE49-F238E27FC236}">
                          <a16:creationId xmlns:a16="http://schemas.microsoft.com/office/drawing/2014/main" id="{AB02EEC8-98CF-4FE8-A62A-0FB672BC9714}"/>
                        </a:ext>
                      </a:extLst>
                    </p:cNvPr>
                    <p:cNvSpPr/>
                    <p:nvPr/>
                  </p:nvSpPr>
                  <p:spPr>
                    <a:xfrm>
                      <a:off x="6712102" y="10498936"/>
                      <a:ext cx="98499" cy="125736"/>
                    </a:xfrm>
                    <a:custGeom>
                      <a:avLst/>
                      <a:gdLst>
                        <a:gd name="connsiteX0" fmla="*/ 54241 w 98499"/>
                        <a:gd name="connsiteY0" fmla="*/ 10580 h 125736"/>
                        <a:gd name="connsiteX1" fmla="*/ 27576 w 98499"/>
                        <a:gd name="connsiteY1" fmla="*/ 64893 h 125736"/>
                        <a:gd name="connsiteX2" fmla="*/ 8620 w 98499"/>
                        <a:gd name="connsiteY2" fmla="*/ 78973 h 125736"/>
                        <a:gd name="connsiteX3" fmla="*/ 1324 w 98499"/>
                        <a:gd name="connsiteY3" fmla="*/ 103534 h 125736"/>
                        <a:gd name="connsiteX4" fmla="*/ 44173 w 98499"/>
                        <a:gd name="connsiteY4" fmla="*/ 125420 h 125736"/>
                        <a:gd name="connsiteX5" fmla="*/ 96835 w 98499"/>
                        <a:gd name="connsiteY5" fmla="*/ 0 h 125736"/>
                        <a:gd name="connsiteX6" fmla="*/ 54222 w 98499"/>
                        <a:gd name="connsiteY6" fmla="*/ 10599 h 12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499" h="125736">
                          <a:moveTo>
                            <a:pt x="54241" y="10580"/>
                          </a:moveTo>
                          <a:cubicBezTo>
                            <a:pt x="61222" y="36084"/>
                            <a:pt x="43524" y="52288"/>
                            <a:pt x="27576" y="64893"/>
                          </a:cubicBezTo>
                          <a:lnTo>
                            <a:pt x="8620" y="78973"/>
                          </a:lnTo>
                          <a:cubicBezTo>
                            <a:pt x="1010" y="84616"/>
                            <a:pt x="-1960" y="94626"/>
                            <a:pt x="1324" y="103534"/>
                          </a:cubicBezTo>
                          <a:cubicBezTo>
                            <a:pt x="5159" y="113877"/>
                            <a:pt x="18019" y="128036"/>
                            <a:pt x="44173" y="125420"/>
                          </a:cubicBezTo>
                          <a:cubicBezTo>
                            <a:pt x="77288" y="122117"/>
                            <a:pt x="105782" y="89572"/>
                            <a:pt x="96835" y="0"/>
                          </a:cubicBezTo>
                          <a:lnTo>
                            <a:pt x="54222" y="10599"/>
                          </a:lnTo>
                          <a:close/>
                        </a:path>
                      </a:pathLst>
                    </a:custGeom>
                    <a:solidFill>
                      <a:srgbClr val="37384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929" name="Graphic 10">
                    <a:extLst>
                      <a:ext uri="{FF2B5EF4-FFF2-40B4-BE49-F238E27FC236}">
                        <a16:creationId xmlns:a16="http://schemas.microsoft.com/office/drawing/2014/main" id="{3ABBCF66-64AB-468A-BF98-9C9BE48C6B03}"/>
                      </a:ext>
                    </a:extLst>
                  </p:cNvPr>
                  <p:cNvGrpSpPr/>
                  <p:nvPr/>
                </p:nvGrpSpPr>
                <p:grpSpPr>
                  <a:xfrm>
                    <a:off x="6752929" y="10456703"/>
                    <a:ext cx="96204" cy="62785"/>
                    <a:chOff x="6752929" y="10456703"/>
                    <a:chExt cx="96204" cy="62785"/>
                  </a:xfrm>
                </p:grpSpPr>
                <p:sp>
                  <p:nvSpPr>
                    <p:cNvPr id="930" name="Freeform: Shape 929">
                      <a:extLst>
                        <a:ext uri="{FF2B5EF4-FFF2-40B4-BE49-F238E27FC236}">
                          <a16:creationId xmlns:a16="http://schemas.microsoft.com/office/drawing/2014/main" id="{8D0D02E5-F026-456B-8485-2168F2C44FA2}"/>
                        </a:ext>
                      </a:extLst>
                    </p:cNvPr>
                    <p:cNvSpPr/>
                    <p:nvPr/>
                  </p:nvSpPr>
                  <p:spPr>
                    <a:xfrm>
                      <a:off x="6752949" y="10456703"/>
                      <a:ext cx="87686" cy="55113"/>
                    </a:xfrm>
                    <a:custGeom>
                      <a:avLst/>
                      <a:gdLst>
                        <a:gd name="connsiteX0" fmla="*/ 2382 w 87686"/>
                        <a:gd name="connsiteY0" fmla="*/ 55113 h 55113"/>
                        <a:gd name="connsiteX1" fmla="*/ 26254 w 87686"/>
                        <a:gd name="connsiteY1" fmla="*/ 4182 h 55113"/>
                        <a:gd name="connsiteX2" fmla="*/ 87686 w 87686"/>
                        <a:gd name="connsiteY2" fmla="*/ 24259 h 55113"/>
                        <a:gd name="connsiteX3" fmla="*/ 2382 w 87686"/>
                        <a:gd name="connsiteY3" fmla="*/ 55113 h 55113"/>
                      </a:gdLst>
                      <a:ahLst/>
                      <a:cxnLst>
                        <a:cxn ang="0">
                          <a:pos x="connsiteX0" y="connsiteY0"/>
                        </a:cxn>
                        <a:cxn ang="0">
                          <a:pos x="connsiteX1" y="connsiteY1"/>
                        </a:cxn>
                        <a:cxn ang="0">
                          <a:pos x="connsiteX2" y="connsiteY2"/>
                        </a:cxn>
                        <a:cxn ang="0">
                          <a:pos x="connsiteX3" y="connsiteY3"/>
                        </a:cxn>
                      </a:cxnLst>
                      <a:rect l="l" t="t" r="r" b="b"/>
                      <a:pathLst>
                        <a:path w="87686" h="55113">
                          <a:moveTo>
                            <a:pt x="2382" y="55113"/>
                          </a:moveTo>
                          <a:cubicBezTo>
                            <a:pt x="-5091" y="34465"/>
                            <a:pt x="5607" y="11655"/>
                            <a:pt x="26254" y="4182"/>
                          </a:cubicBezTo>
                          <a:cubicBezTo>
                            <a:pt x="54965" y="-6201"/>
                            <a:pt x="80214" y="3592"/>
                            <a:pt x="87686" y="24259"/>
                          </a:cubicBezTo>
                          <a:lnTo>
                            <a:pt x="2382" y="55113"/>
                          </a:ln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31" name="Freeform: Shape 930">
                      <a:extLst>
                        <a:ext uri="{FF2B5EF4-FFF2-40B4-BE49-F238E27FC236}">
                          <a16:creationId xmlns:a16="http://schemas.microsoft.com/office/drawing/2014/main" id="{DC95D32A-6A96-424A-AA22-B9674FA8669A}"/>
                        </a:ext>
                      </a:extLst>
                    </p:cNvPr>
                    <p:cNvSpPr/>
                    <p:nvPr/>
                  </p:nvSpPr>
                  <p:spPr>
                    <a:xfrm>
                      <a:off x="6796936" y="10459519"/>
                      <a:ext cx="42244" cy="34795"/>
                    </a:xfrm>
                    <a:custGeom>
                      <a:avLst/>
                      <a:gdLst>
                        <a:gd name="connsiteX0" fmla="*/ 6769 w 42244"/>
                        <a:gd name="connsiteY0" fmla="*/ 34796 h 34795"/>
                        <a:gd name="connsiteX1" fmla="*/ 6317 w 42244"/>
                        <a:gd name="connsiteY1" fmla="*/ 1032 h 34795"/>
                        <a:gd name="connsiteX2" fmla="*/ 42244 w 42244"/>
                        <a:gd name="connsiteY2" fmla="*/ 21955 h 34795"/>
                        <a:gd name="connsiteX3" fmla="*/ 6769 w 42244"/>
                        <a:gd name="connsiteY3" fmla="*/ 34796 h 34795"/>
                      </a:gdLst>
                      <a:ahLst/>
                      <a:cxnLst>
                        <a:cxn ang="0">
                          <a:pos x="connsiteX0" y="connsiteY0"/>
                        </a:cxn>
                        <a:cxn ang="0">
                          <a:pos x="connsiteX1" y="connsiteY1"/>
                        </a:cxn>
                        <a:cxn ang="0">
                          <a:pos x="connsiteX2" y="connsiteY2"/>
                        </a:cxn>
                        <a:cxn ang="0">
                          <a:pos x="connsiteX3" y="connsiteY3"/>
                        </a:cxn>
                      </a:cxnLst>
                      <a:rect l="l" t="t" r="r" b="b"/>
                      <a:pathLst>
                        <a:path w="42244" h="34795">
                          <a:moveTo>
                            <a:pt x="6769" y="34796"/>
                          </a:moveTo>
                          <a:cubicBezTo>
                            <a:pt x="-2080" y="19261"/>
                            <a:pt x="-2276" y="4139"/>
                            <a:pt x="6317" y="1032"/>
                          </a:cubicBezTo>
                          <a:cubicBezTo>
                            <a:pt x="18253" y="-3294"/>
                            <a:pt x="33415" y="6420"/>
                            <a:pt x="42244" y="21955"/>
                          </a:cubicBezTo>
                          <a:lnTo>
                            <a:pt x="6769" y="34796"/>
                          </a:ln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32" name="Freeform: Shape 931">
                      <a:extLst>
                        <a:ext uri="{FF2B5EF4-FFF2-40B4-BE49-F238E27FC236}">
                          <a16:creationId xmlns:a16="http://schemas.microsoft.com/office/drawing/2014/main" id="{29E3AE3D-1208-4252-93BD-1852C50E14B0}"/>
                        </a:ext>
                      </a:extLst>
                    </p:cNvPr>
                    <p:cNvSpPr/>
                    <p:nvPr/>
                  </p:nvSpPr>
                  <p:spPr>
                    <a:xfrm>
                      <a:off x="6752929" y="10479583"/>
                      <a:ext cx="96204" cy="39905"/>
                    </a:xfrm>
                    <a:custGeom>
                      <a:avLst/>
                      <a:gdLst>
                        <a:gd name="connsiteX0" fmla="*/ 93567 w 96204"/>
                        <a:gd name="connsiteY0" fmla="*/ 7770 h 39905"/>
                        <a:gd name="connsiteX1" fmla="*/ 5371 w 96204"/>
                        <a:gd name="connsiteY1" fmla="*/ 39666 h 39905"/>
                        <a:gd name="connsiteX2" fmla="*/ 239 w 96204"/>
                        <a:gd name="connsiteY2" fmla="*/ 37267 h 39905"/>
                        <a:gd name="connsiteX3" fmla="*/ 2638 w 96204"/>
                        <a:gd name="connsiteY3" fmla="*/ 32135 h 39905"/>
                        <a:gd name="connsiteX4" fmla="*/ 90833 w 96204"/>
                        <a:gd name="connsiteY4" fmla="*/ 239 h 39905"/>
                        <a:gd name="connsiteX5" fmla="*/ 95966 w 96204"/>
                        <a:gd name="connsiteY5" fmla="*/ 2638 h 39905"/>
                        <a:gd name="connsiteX6" fmla="*/ 93567 w 96204"/>
                        <a:gd name="connsiteY6" fmla="*/ 7770 h 3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204" h="39905">
                          <a:moveTo>
                            <a:pt x="93567" y="7770"/>
                          </a:moveTo>
                          <a:lnTo>
                            <a:pt x="5371" y="39666"/>
                          </a:lnTo>
                          <a:cubicBezTo>
                            <a:pt x="3287" y="40414"/>
                            <a:pt x="1006" y="39352"/>
                            <a:pt x="239" y="37267"/>
                          </a:cubicBezTo>
                          <a:cubicBezTo>
                            <a:pt x="-508" y="35183"/>
                            <a:pt x="554" y="32902"/>
                            <a:pt x="2638" y="32135"/>
                          </a:cubicBezTo>
                          <a:lnTo>
                            <a:pt x="90833" y="239"/>
                          </a:lnTo>
                          <a:cubicBezTo>
                            <a:pt x="92918" y="-508"/>
                            <a:pt x="95199" y="554"/>
                            <a:pt x="95966" y="2638"/>
                          </a:cubicBezTo>
                          <a:cubicBezTo>
                            <a:pt x="96713" y="4722"/>
                            <a:pt x="95651" y="7004"/>
                            <a:pt x="93567" y="7770"/>
                          </a:cubicBez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840" name="Graphic 10">
                  <a:extLst>
                    <a:ext uri="{FF2B5EF4-FFF2-40B4-BE49-F238E27FC236}">
                      <a16:creationId xmlns:a16="http://schemas.microsoft.com/office/drawing/2014/main" id="{3320E70F-A022-42A6-98B4-16FC159F4E08}"/>
                    </a:ext>
                  </a:extLst>
                </p:cNvPr>
                <p:cNvGrpSpPr/>
                <p:nvPr/>
              </p:nvGrpSpPr>
              <p:grpSpPr>
                <a:xfrm>
                  <a:off x="9588597" y="10606914"/>
                  <a:ext cx="812044" cy="779939"/>
                  <a:chOff x="9588597" y="10606914"/>
                  <a:chExt cx="812044" cy="779939"/>
                </a:xfrm>
              </p:grpSpPr>
              <p:grpSp>
                <p:nvGrpSpPr>
                  <p:cNvPr id="859" name="Graphic 10">
                    <a:extLst>
                      <a:ext uri="{FF2B5EF4-FFF2-40B4-BE49-F238E27FC236}">
                        <a16:creationId xmlns:a16="http://schemas.microsoft.com/office/drawing/2014/main" id="{11C115A6-DE29-4997-BE7B-CDE15D27871B}"/>
                      </a:ext>
                    </a:extLst>
                  </p:cNvPr>
                  <p:cNvGrpSpPr/>
                  <p:nvPr/>
                </p:nvGrpSpPr>
                <p:grpSpPr>
                  <a:xfrm>
                    <a:off x="9643616" y="10846860"/>
                    <a:ext cx="757024" cy="539992"/>
                    <a:chOff x="9643616" y="10846860"/>
                    <a:chExt cx="757024" cy="539992"/>
                  </a:xfrm>
                </p:grpSpPr>
                <p:grpSp>
                  <p:nvGrpSpPr>
                    <p:cNvPr id="884" name="Graphic 10">
                      <a:extLst>
                        <a:ext uri="{FF2B5EF4-FFF2-40B4-BE49-F238E27FC236}">
                          <a16:creationId xmlns:a16="http://schemas.microsoft.com/office/drawing/2014/main" id="{B9AB37AA-E9DE-45A3-8F8A-0F3C9FB00C73}"/>
                        </a:ext>
                      </a:extLst>
                    </p:cNvPr>
                    <p:cNvGrpSpPr/>
                    <p:nvPr/>
                  </p:nvGrpSpPr>
                  <p:grpSpPr>
                    <a:xfrm>
                      <a:off x="9643616" y="10972576"/>
                      <a:ext cx="757024" cy="414277"/>
                      <a:chOff x="9643616" y="10972576"/>
                      <a:chExt cx="757024" cy="414277"/>
                    </a:xfrm>
                  </p:grpSpPr>
                  <p:sp>
                    <p:nvSpPr>
                      <p:cNvPr id="895" name="Freeform: Shape 894">
                        <a:extLst>
                          <a:ext uri="{FF2B5EF4-FFF2-40B4-BE49-F238E27FC236}">
                            <a16:creationId xmlns:a16="http://schemas.microsoft.com/office/drawing/2014/main" id="{CB3DE58B-4F27-484C-87E0-236F782A5EF7}"/>
                          </a:ext>
                        </a:extLst>
                      </p:cNvPr>
                      <p:cNvSpPr/>
                      <p:nvPr/>
                    </p:nvSpPr>
                    <p:spPr>
                      <a:xfrm rot="10800000">
                        <a:off x="9643616" y="11007323"/>
                        <a:ext cx="756946" cy="291408"/>
                      </a:xfrm>
                      <a:custGeom>
                        <a:avLst/>
                        <a:gdLst>
                          <a:gd name="connsiteX0" fmla="*/ 0 w 756946"/>
                          <a:gd name="connsiteY0" fmla="*/ 0 h 291408"/>
                          <a:gd name="connsiteX1" fmla="*/ 756947 w 756946"/>
                          <a:gd name="connsiteY1" fmla="*/ 0 h 291408"/>
                          <a:gd name="connsiteX2" fmla="*/ 756947 w 756946"/>
                          <a:gd name="connsiteY2" fmla="*/ 291408 h 291408"/>
                          <a:gd name="connsiteX3" fmla="*/ 0 w 756946"/>
                          <a:gd name="connsiteY3" fmla="*/ 291408 h 291408"/>
                        </a:gdLst>
                        <a:ahLst/>
                        <a:cxnLst>
                          <a:cxn ang="0">
                            <a:pos x="connsiteX0" y="connsiteY0"/>
                          </a:cxn>
                          <a:cxn ang="0">
                            <a:pos x="connsiteX1" y="connsiteY1"/>
                          </a:cxn>
                          <a:cxn ang="0">
                            <a:pos x="connsiteX2" y="connsiteY2"/>
                          </a:cxn>
                          <a:cxn ang="0">
                            <a:pos x="connsiteX3" y="connsiteY3"/>
                          </a:cxn>
                        </a:cxnLst>
                        <a:rect l="l" t="t" r="r" b="b"/>
                        <a:pathLst>
                          <a:path w="756946" h="291408">
                            <a:moveTo>
                              <a:pt x="0" y="0"/>
                            </a:moveTo>
                            <a:lnTo>
                              <a:pt x="756947" y="0"/>
                            </a:lnTo>
                            <a:lnTo>
                              <a:pt x="756947" y="291408"/>
                            </a:lnTo>
                            <a:lnTo>
                              <a:pt x="0" y="291408"/>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96" name="Freeform: Shape 895">
                        <a:extLst>
                          <a:ext uri="{FF2B5EF4-FFF2-40B4-BE49-F238E27FC236}">
                            <a16:creationId xmlns:a16="http://schemas.microsoft.com/office/drawing/2014/main" id="{51ADC0D8-C84D-484A-AE97-0387FDBEF9AD}"/>
                          </a:ext>
                        </a:extLst>
                      </p:cNvPr>
                      <p:cNvSpPr/>
                      <p:nvPr/>
                    </p:nvSpPr>
                    <p:spPr>
                      <a:xfrm rot="5400000">
                        <a:off x="9480597" y="11135653"/>
                        <a:ext cx="343519" cy="17363"/>
                      </a:xfrm>
                      <a:custGeom>
                        <a:avLst/>
                        <a:gdLst>
                          <a:gd name="connsiteX0" fmla="*/ 0 w 343519"/>
                          <a:gd name="connsiteY0" fmla="*/ 0 h 17363"/>
                          <a:gd name="connsiteX1" fmla="*/ 343519 w 343519"/>
                          <a:gd name="connsiteY1" fmla="*/ 0 h 17363"/>
                          <a:gd name="connsiteX2" fmla="*/ 343519 w 343519"/>
                          <a:gd name="connsiteY2" fmla="*/ 17364 h 17363"/>
                          <a:gd name="connsiteX3" fmla="*/ 0 w 343519"/>
                          <a:gd name="connsiteY3" fmla="*/ 17364 h 17363"/>
                        </a:gdLst>
                        <a:ahLst/>
                        <a:cxnLst>
                          <a:cxn ang="0">
                            <a:pos x="connsiteX0" y="connsiteY0"/>
                          </a:cxn>
                          <a:cxn ang="0">
                            <a:pos x="connsiteX1" y="connsiteY1"/>
                          </a:cxn>
                          <a:cxn ang="0">
                            <a:pos x="connsiteX2" y="connsiteY2"/>
                          </a:cxn>
                          <a:cxn ang="0">
                            <a:pos x="connsiteX3" y="connsiteY3"/>
                          </a:cxn>
                        </a:cxnLst>
                        <a:rect l="l" t="t" r="r" b="b"/>
                        <a:pathLst>
                          <a:path w="343519" h="17363">
                            <a:moveTo>
                              <a:pt x="0" y="0"/>
                            </a:moveTo>
                            <a:lnTo>
                              <a:pt x="343519" y="0"/>
                            </a:lnTo>
                            <a:lnTo>
                              <a:pt x="343519" y="17364"/>
                            </a:lnTo>
                            <a:lnTo>
                              <a:pt x="0" y="1736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97" name="Freeform: Shape 896">
                        <a:extLst>
                          <a:ext uri="{FF2B5EF4-FFF2-40B4-BE49-F238E27FC236}">
                            <a16:creationId xmlns:a16="http://schemas.microsoft.com/office/drawing/2014/main" id="{C999F5BC-78A3-4AA0-9E23-B52E5798C554}"/>
                          </a:ext>
                        </a:extLst>
                      </p:cNvPr>
                      <p:cNvSpPr/>
                      <p:nvPr/>
                    </p:nvSpPr>
                    <p:spPr>
                      <a:xfrm rot="5400000">
                        <a:off x="10220199" y="11135653"/>
                        <a:ext cx="343519" cy="17363"/>
                      </a:xfrm>
                      <a:custGeom>
                        <a:avLst/>
                        <a:gdLst>
                          <a:gd name="connsiteX0" fmla="*/ 0 w 343519"/>
                          <a:gd name="connsiteY0" fmla="*/ 0 h 17363"/>
                          <a:gd name="connsiteX1" fmla="*/ 343519 w 343519"/>
                          <a:gd name="connsiteY1" fmla="*/ 0 h 17363"/>
                          <a:gd name="connsiteX2" fmla="*/ 343519 w 343519"/>
                          <a:gd name="connsiteY2" fmla="*/ 17364 h 17363"/>
                          <a:gd name="connsiteX3" fmla="*/ 0 w 343519"/>
                          <a:gd name="connsiteY3" fmla="*/ 17364 h 17363"/>
                        </a:gdLst>
                        <a:ahLst/>
                        <a:cxnLst>
                          <a:cxn ang="0">
                            <a:pos x="connsiteX0" y="connsiteY0"/>
                          </a:cxn>
                          <a:cxn ang="0">
                            <a:pos x="connsiteX1" y="connsiteY1"/>
                          </a:cxn>
                          <a:cxn ang="0">
                            <a:pos x="connsiteX2" y="connsiteY2"/>
                          </a:cxn>
                          <a:cxn ang="0">
                            <a:pos x="connsiteX3" y="connsiteY3"/>
                          </a:cxn>
                        </a:cxnLst>
                        <a:rect l="l" t="t" r="r" b="b"/>
                        <a:pathLst>
                          <a:path w="343519" h="17363">
                            <a:moveTo>
                              <a:pt x="0" y="0"/>
                            </a:moveTo>
                            <a:lnTo>
                              <a:pt x="343519" y="0"/>
                            </a:lnTo>
                            <a:lnTo>
                              <a:pt x="343519" y="17364"/>
                            </a:lnTo>
                            <a:lnTo>
                              <a:pt x="0" y="1736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898" name="Graphic 10">
                        <a:extLst>
                          <a:ext uri="{FF2B5EF4-FFF2-40B4-BE49-F238E27FC236}">
                            <a16:creationId xmlns:a16="http://schemas.microsoft.com/office/drawing/2014/main" id="{4256F68D-A988-414D-AE7F-660ED66AF33B}"/>
                          </a:ext>
                        </a:extLst>
                      </p:cNvPr>
                      <p:cNvGrpSpPr/>
                      <p:nvPr/>
                    </p:nvGrpSpPr>
                    <p:grpSpPr>
                      <a:xfrm>
                        <a:off x="9684762" y="11316174"/>
                        <a:ext cx="58845" cy="70679"/>
                        <a:chOff x="9684762" y="11316174"/>
                        <a:chExt cx="58845" cy="70679"/>
                      </a:xfrm>
                    </p:grpSpPr>
                    <p:sp>
                      <p:nvSpPr>
                        <p:cNvPr id="913" name="Freeform: Shape 912">
                          <a:extLst>
                            <a:ext uri="{FF2B5EF4-FFF2-40B4-BE49-F238E27FC236}">
                              <a16:creationId xmlns:a16="http://schemas.microsoft.com/office/drawing/2014/main" id="{B5942DFD-3F7F-496B-B2ED-3033541714D3}"/>
                            </a:ext>
                          </a:extLst>
                        </p:cNvPr>
                        <p:cNvSpPr/>
                        <p:nvPr/>
                      </p:nvSpPr>
                      <p:spPr>
                        <a:xfrm rot="-2700000">
                          <a:off x="9693380" y="11336625"/>
                          <a:ext cx="41610" cy="41610"/>
                        </a:xfrm>
                        <a:custGeom>
                          <a:avLst/>
                          <a:gdLst>
                            <a:gd name="connsiteX0" fmla="*/ 41610 w 41610"/>
                            <a:gd name="connsiteY0" fmla="*/ 20805 h 41610"/>
                            <a:gd name="connsiteX1" fmla="*/ 20804 w 41610"/>
                            <a:gd name="connsiteY1" fmla="*/ 41610 h 41610"/>
                            <a:gd name="connsiteX2" fmla="*/ -1 w 41610"/>
                            <a:gd name="connsiteY2" fmla="*/ 20805 h 41610"/>
                            <a:gd name="connsiteX3" fmla="*/ 20804 w 41610"/>
                            <a:gd name="connsiteY3" fmla="*/ 0 h 41610"/>
                            <a:gd name="connsiteX4" fmla="*/ 41610 w 41610"/>
                            <a:gd name="connsiteY4" fmla="*/ 20805 h 41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10" h="41610">
                              <a:moveTo>
                                <a:pt x="41610" y="20805"/>
                              </a:moveTo>
                              <a:cubicBezTo>
                                <a:pt x="41610" y="32295"/>
                                <a:pt x="32295" y="41610"/>
                                <a:pt x="20804" y="41610"/>
                              </a:cubicBezTo>
                              <a:cubicBezTo>
                                <a:pt x="9314" y="41610"/>
                                <a:pt x="-1" y="32295"/>
                                <a:pt x="-1" y="20805"/>
                              </a:cubicBezTo>
                              <a:cubicBezTo>
                                <a:pt x="-1" y="9315"/>
                                <a:pt x="9314" y="0"/>
                                <a:pt x="20804" y="0"/>
                              </a:cubicBezTo>
                              <a:cubicBezTo>
                                <a:pt x="32295" y="0"/>
                                <a:pt x="41610" y="9315"/>
                                <a:pt x="41610" y="20805"/>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14" name="Freeform: Shape 913">
                          <a:extLst>
                            <a:ext uri="{FF2B5EF4-FFF2-40B4-BE49-F238E27FC236}">
                              <a16:creationId xmlns:a16="http://schemas.microsoft.com/office/drawing/2014/main" id="{E5E5AE09-E661-42CB-B0B4-7B93C7B08C96}"/>
                            </a:ext>
                          </a:extLst>
                        </p:cNvPr>
                        <p:cNvSpPr/>
                        <p:nvPr/>
                      </p:nvSpPr>
                      <p:spPr>
                        <a:xfrm>
                          <a:off x="9701783" y="11345021"/>
                          <a:ext cx="24816" cy="24816"/>
                        </a:xfrm>
                        <a:custGeom>
                          <a:avLst/>
                          <a:gdLst>
                            <a:gd name="connsiteX0" fmla="*/ 0 w 24816"/>
                            <a:gd name="connsiteY0" fmla="*/ 12408 h 24816"/>
                            <a:gd name="connsiteX1" fmla="*/ 12408 w 24816"/>
                            <a:gd name="connsiteY1" fmla="*/ 24817 h 24816"/>
                            <a:gd name="connsiteX2" fmla="*/ 24817 w 24816"/>
                            <a:gd name="connsiteY2" fmla="*/ 12408 h 24816"/>
                            <a:gd name="connsiteX3" fmla="*/ 12408 w 24816"/>
                            <a:gd name="connsiteY3" fmla="*/ 0 h 24816"/>
                            <a:gd name="connsiteX4" fmla="*/ 0 w 24816"/>
                            <a:gd name="connsiteY4" fmla="*/ 12408 h 24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16" h="24816">
                              <a:moveTo>
                                <a:pt x="0" y="12408"/>
                              </a:moveTo>
                              <a:cubicBezTo>
                                <a:pt x="0" y="19252"/>
                                <a:pt x="5546" y="24817"/>
                                <a:pt x="12408" y="24817"/>
                              </a:cubicBezTo>
                              <a:cubicBezTo>
                                <a:pt x="19272" y="24817"/>
                                <a:pt x="24817" y="19271"/>
                                <a:pt x="24817" y="12408"/>
                              </a:cubicBezTo>
                              <a:cubicBezTo>
                                <a:pt x="24817" y="5546"/>
                                <a:pt x="19272" y="0"/>
                                <a:pt x="12408" y="0"/>
                              </a:cubicBezTo>
                              <a:cubicBezTo>
                                <a:pt x="5546" y="0"/>
                                <a:pt x="0" y="5546"/>
                                <a:pt x="0" y="12408"/>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15" name="Freeform: Shape 914">
                          <a:extLst>
                            <a:ext uri="{FF2B5EF4-FFF2-40B4-BE49-F238E27FC236}">
                              <a16:creationId xmlns:a16="http://schemas.microsoft.com/office/drawing/2014/main" id="{F9C7998B-82F1-4DCF-A8FF-5134DB3762C1}"/>
                            </a:ext>
                          </a:extLst>
                        </p:cNvPr>
                        <p:cNvSpPr/>
                        <p:nvPr/>
                      </p:nvSpPr>
                      <p:spPr>
                        <a:xfrm>
                          <a:off x="9708725" y="11329821"/>
                          <a:ext cx="21670" cy="29811"/>
                        </a:xfrm>
                        <a:custGeom>
                          <a:avLst/>
                          <a:gdLst>
                            <a:gd name="connsiteX0" fmla="*/ 5663 w 21670"/>
                            <a:gd name="connsiteY0" fmla="*/ 29811 h 29811"/>
                            <a:gd name="connsiteX1" fmla="*/ 10894 w 21670"/>
                            <a:gd name="connsiteY1" fmla="*/ 26291 h 29811"/>
                            <a:gd name="connsiteX2" fmla="*/ 21670 w 21670"/>
                            <a:gd name="connsiteY2" fmla="*/ 0 h 29811"/>
                            <a:gd name="connsiteX3" fmla="*/ 0 w 21670"/>
                            <a:gd name="connsiteY3" fmla="*/ 0 h 29811"/>
                            <a:gd name="connsiteX4" fmla="*/ 0 w 21670"/>
                            <a:gd name="connsiteY4" fmla="*/ 24148 h 29811"/>
                            <a:gd name="connsiteX5" fmla="*/ 5663 w 21670"/>
                            <a:gd name="connsiteY5" fmla="*/ 29811 h 2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70" h="29811">
                              <a:moveTo>
                                <a:pt x="5663" y="29811"/>
                              </a:moveTo>
                              <a:cubicBezTo>
                                <a:pt x="7964" y="29811"/>
                                <a:pt x="10028" y="28415"/>
                                <a:pt x="10894" y="26291"/>
                              </a:cubicBezTo>
                              <a:lnTo>
                                <a:pt x="21670" y="0"/>
                              </a:lnTo>
                              <a:lnTo>
                                <a:pt x="0" y="0"/>
                              </a:lnTo>
                              <a:lnTo>
                                <a:pt x="0" y="24148"/>
                              </a:lnTo>
                              <a:cubicBezTo>
                                <a:pt x="0" y="27275"/>
                                <a:pt x="2537" y="29811"/>
                                <a:pt x="5663" y="29811"/>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16" name="Freeform: Shape 915">
                          <a:extLst>
                            <a:ext uri="{FF2B5EF4-FFF2-40B4-BE49-F238E27FC236}">
                              <a16:creationId xmlns:a16="http://schemas.microsoft.com/office/drawing/2014/main" id="{478D5D09-EF70-4359-9A77-83A0C04C4118}"/>
                            </a:ext>
                          </a:extLst>
                        </p:cNvPr>
                        <p:cNvSpPr/>
                        <p:nvPr/>
                      </p:nvSpPr>
                      <p:spPr>
                        <a:xfrm>
                          <a:off x="9700781" y="11316174"/>
                          <a:ext cx="37559" cy="13686"/>
                        </a:xfrm>
                        <a:custGeom>
                          <a:avLst/>
                          <a:gdLst>
                            <a:gd name="connsiteX0" fmla="*/ 0 w 37559"/>
                            <a:gd name="connsiteY0" fmla="*/ 0 h 13686"/>
                            <a:gd name="connsiteX1" fmla="*/ 37559 w 37559"/>
                            <a:gd name="connsiteY1" fmla="*/ 0 h 13686"/>
                            <a:gd name="connsiteX2" fmla="*/ 37559 w 37559"/>
                            <a:gd name="connsiteY2" fmla="*/ 8928 h 13686"/>
                            <a:gd name="connsiteX3" fmla="*/ 32800 w 37559"/>
                            <a:gd name="connsiteY3" fmla="*/ 13686 h 13686"/>
                            <a:gd name="connsiteX4" fmla="*/ 4759 w 37559"/>
                            <a:gd name="connsiteY4" fmla="*/ 13686 h 13686"/>
                            <a:gd name="connsiteX5" fmla="*/ 0 w 37559"/>
                            <a:gd name="connsiteY5" fmla="*/ 8928 h 13686"/>
                            <a:gd name="connsiteX6" fmla="*/ 0 w 37559"/>
                            <a:gd name="connsiteY6" fmla="*/ 0 h 13686"/>
                            <a:gd name="connsiteX7" fmla="*/ 0 w 37559"/>
                            <a:gd name="connsiteY7" fmla="*/ 0 h 13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59" h="13686">
                              <a:moveTo>
                                <a:pt x="0" y="0"/>
                              </a:moveTo>
                              <a:lnTo>
                                <a:pt x="37559" y="0"/>
                              </a:lnTo>
                              <a:lnTo>
                                <a:pt x="37559" y="8928"/>
                              </a:lnTo>
                              <a:cubicBezTo>
                                <a:pt x="37559" y="11563"/>
                                <a:pt x="35435" y="13686"/>
                                <a:pt x="32800" y="13686"/>
                              </a:cubicBezTo>
                              <a:lnTo>
                                <a:pt x="4759" y="13686"/>
                              </a:lnTo>
                              <a:cubicBezTo>
                                <a:pt x="2124" y="13686"/>
                                <a:pt x="0" y="11563"/>
                                <a:pt x="0" y="8928"/>
                              </a:cubicBezTo>
                              <a:lnTo>
                                <a:pt x="0" y="0"/>
                              </a:lnTo>
                              <a:lnTo>
                                <a:pt x="0" y="0"/>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899" name="Graphic 10">
                        <a:extLst>
                          <a:ext uri="{FF2B5EF4-FFF2-40B4-BE49-F238E27FC236}">
                            <a16:creationId xmlns:a16="http://schemas.microsoft.com/office/drawing/2014/main" id="{8EB45E4A-461D-4A14-82BF-AC7648D38D6C}"/>
                          </a:ext>
                        </a:extLst>
                      </p:cNvPr>
                      <p:cNvGrpSpPr/>
                      <p:nvPr/>
                    </p:nvGrpSpPr>
                    <p:grpSpPr>
                      <a:xfrm>
                        <a:off x="10305995" y="11316193"/>
                        <a:ext cx="48449" cy="65297"/>
                        <a:chOff x="10305995" y="11316193"/>
                        <a:chExt cx="48449" cy="65297"/>
                      </a:xfrm>
                    </p:grpSpPr>
                    <p:sp>
                      <p:nvSpPr>
                        <p:cNvPr id="909" name="Freeform: Shape 908">
                          <a:extLst>
                            <a:ext uri="{FF2B5EF4-FFF2-40B4-BE49-F238E27FC236}">
                              <a16:creationId xmlns:a16="http://schemas.microsoft.com/office/drawing/2014/main" id="{B40206F5-8841-415D-A575-D1AE6F894904}"/>
                            </a:ext>
                          </a:extLst>
                        </p:cNvPr>
                        <p:cNvSpPr/>
                        <p:nvPr/>
                      </p:nvSpPr>
                      <p:spPr>
                        <a:xfrm rot="-4846799">
                          <a:off x="10309770" y="11336816"/>
                          <a:ext cx="41610" cy="41610"/>
                        </a:xfrm>
                        <a:custGeom>
                          <a:avLst/>
                          <a:gdLst>
                            <a:gd name="connsiteX0" fmla="*/ 41610 w 41610"/>
                            <a:gd name="connsiteY0" fmla="*/ 20805 h 41610"/>
                            <a:gd name="connsiteX1" fmla="*/ 20805 w 41610"/>
                            <a:gd name="connsiteY1" fmla="*/ 41610 h 41610"/>
                            <a:gd name="connsiteX2" fmla="*/ 0 w 41610"/>
                            <a:gd name="connsiteY2" fmla="*/ 20805 h 41610"/>
                            <a:gd name="connsiteX3" fmla="*/ 20805 w 41610"/>
                            <a:gd name="connsiteY3" fmla="*/ 0 h 41610"/>
                            <a:gd name="connsiteX4" fmla="*/ 41610 w 41610"/>
                            <a:gd name="connsiteY4" fmla="*/ 20805 h 41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10" h="41610">
                              <a:moveTo>
                                <a:pt x="41610" y="20805"/>
                              </a:moveTo>
                              <a:cubicBezTo>
                                <a:pt x="41610" y="32295"/>
                                <a:pt x="32296" y="41610"/>
                                <a:pt x="20805" y="41610"/>
                              </a:cubicBezTo>
                              <a:cubicBezTo>
                                <a:pt x="9315" y="41610"/>
                                <a:pt x="0" y="32295"/>
                                <a:pt x="0" y="20805"/>
                              </a:cubicBezTo>
                              <a:cubicBezTo>
                                <a:pt x="0" y="9315"/>
                                <a:pt x="9315" y="0"/>
                                <a:pt x="20805" y="0"/>
                              </a:cubicBezTo>
                              <a:cubicBezTo>
                                <a:pt x="32296" y="0"/>
                                <a:pt x="41610" y="9315"/>
                                <a:pt x="41610" y="20805"/>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10" name="Freeform: Shape 909">
                          <a:extLst>
                            <a:ext uri="{FF2B5EF4-FFF2-40B4-BE49-F238E27FC236}">
                              <a16:creationId xmlns:a16="http://schemas.microsoft.com/office/drawing/2014/main" id="{4C6D40F6-62D3-41CE-8486-A984FE783A30}"/>
                            </a:ext>
                          </a:extLst>
                        </p:cNvPr>
                        <p:cNvSpPr/>
                        <p:nvPr/>
                      </p:nvSpPr>
                      <p:spPr>
                        <a:xfrm>
                          <a:off x="10317716" y="11345021"/>
                          <a:ext cx="24816" cy="24816"/>
                        </a:xfrm>
                        <a:custGeom>
                          <a:avLst/>
                          <a:gdLst>
                            <a:gd name="connsiteX0" fmla="*/ 24817 w 24816"/>
                            <a:gd name="connsiteY0" fmla="*/ 12408 h 24816"/>
                            <a:gd name="connsiteX1" fmla="*/ 12408 w 24816"/>
                            <a:gd name="connsiteY1" fmla="*/ 24817 h 24816"/>
                            <a:gd name="connsiteX2" fmla="*/ 0 w 24816"/>
                            <a:gd name="connsiteY2" fmla="*/ 12408 h 24816"/>
                            <a:gd name="connsiteX3" fmla="*/ 12408 w 24816"/>
                            <a:gd name="connsiteY3" fmla="*/ 0 h 24816"/>
                            <a:gd name="connsiteX4" fmla="*/ 24817 w 24816"/>
                            <a:gd name="connsiteY4" fmla="*/ 12408 h 24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16" h="24816">
                              <a:moveTo>
                                <a:pt x="24817" y="12408"/>
                              </a:moveTo>
                              <a:cubicBezTo>
                                <a:pt x="24817" y="19252"/>
                                <a:pt x="19271" y="24817"/>
                                <a:pt x="12408" y="24817"/>
                              </a:cubicBezTo>
                              <a:cubicBezTo>
                                <a:pt x="5545" y="24817"/>
                                <a:pt x="0" y="19271"/>
                                <a:pt x="0" y="12408"/>
                              </a:cubicBezTo>
                              <a:cubicBezTo>
                                <a:pt x="0" y="5546"/>
                                <a:pt x="5545" y="0"/>
                                <a:pt x="12408" y="0"/>
                              </a:cubicBezTo>
                              <a:cubicBezTo>
                                <a:pt x="19271" y="0"/>
                                <a:pt x="24817" y="5546"/>
                                <a:pt x="24817" y="12408"/>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11" name="Freeform: Shape 910">
                          <a:extLst>
                            <a:ext uri="{FF2B5EF4-FFF2-40B4-BE49-F238E27FC236}">
                              <a16:creationId xmlns:a16="http://schemas.microsoft.com/office/drawing/2014/main" id="{B46FF238-2942-4B61-9E78-64361521685D}"/>
                            </a:ext>
                          </a:extLst>
                        </p:cNvPr>
                        <p:cNvSpPr/>
                        <p:nvPr/>
                      </p:nvSpPr>
                      <p:spPr>
                        <a:xfrm>
                          <a:off x="10313901" y="11329821"/>
                          <a:ext cx="21670" cy="29811"/>
                        </a:xfrm>
                        <a:custGeom>
                          <a:avLst/>
                          <a:gdLst>
                            <a:gd name="connsiteX0" fmla="*/ 16006 w 21670"/>
                            <a:gd name="connsiteY0" fmla="*/ 29811 h 29811"/>
                            <a:gd name="connsiteX1" fmla="*/ 10776 w 21670"/>
                            <a:gd name="connsiteY1" fmla="*/ 26291 h 29811"/>
                            <a:gd name="connsiteX2" fmla="*/ 0 w 21670"/>
                            <a:gd name="connsiteY2" fmla="*/ 0 h 29811"/>
                            <a:gd name="connsiteX3" fmla="*/ 21670 w 21670"/>
                            <a:gd name="connsiteY3" fmla="*/ 0 h 29811"/>
                            <a:gd name="connsiteX4" fmla="*/ 21670 w 21670"/>
                            <a:gd name="connsiteY4" fmla="*/ 24148 h 29811"/>
                            <a:gd name="connsiteX5" fmla="*/ 16006 w 21670"/>
                            <a:gd name="connsiteY5" fmla="*/ 29811 h 2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70" h="29811">
                              <a:moveTo>
                                <a:pt x="16006" y="29811"/>
                              </a:moveTo>
                              <a:cubicBezTo>
                                <a:pt x="13706" y="29811"/>
                                <a:pt x="11641" y="28415"/>
                                <a:pt x="10776" y="26291"/>
                              </a:cubicBezTo>
                              <a:lnTo>
                                <a:pt x="0" y="0"/>
                              </a:lnTo>
                              <a:lnTo>
                                <a:pt x="21670" y="0"/>
                              </a:lnTo>
                              <a:lnTo>
                                <a:pt x="21670" y="24148"/>
                              </a:lnTo>
                              <a:cubicBezTo>
                                <a:pt x="21670" y="27275"/>
                                <a:pt x="19134" y="29811"/>
                                <a:pt x="16006" y="29811"/>
                              </a:cubicBez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12" name="Freeform: Shape 911">
                          <a:extLst>
                            <a:ext uri="{FF2B5EF4-FFF2-40B4-BE49-F238E27FC236}">
                              <a16:creationId xmlns:a16="http://schemas.microsoft.com/office/drawing/2014/main" id="{F848E656-7A7E-4DB6-8FC6-1C720C808010}"/>
                            </a:ext>
                          </a:extLst>
                        </p:cNvPr>
                        <p:cNvSpPr/>
                        <p:nvPr/>
                      </p:nvSpPr>
                      <p:spPr>
                        <a:xfrm rot="10800000">
                          <a:off x="10305995" y="11316193"/>
                          <a:ext cx="37559" cy="13686"/>
                        </a:xfrm>
                        <a:custGeom>
                          <a:avLst/>
                          <a:gdLst>
                            <a:gd name="connsiteX0" fmla="*/ 4759 w 37559"/>
                            <a:gd name="connsiteY0" fmla="*/ 0 h 13686"/>
                            <a:gd name="connsiteX1" fmla="*/ 32800 w 37559"/>
                            <a:gd name="connsiteY1" fmla="*/ 0 h 13686"/>
                            <a:gd name="connsiteX2" fmla="*/ 37559 w 37559"/>
                            <a:gd name="connsiteY2" fmla="*/ 4759 h 13686"/>
                            <a:gd name="connsiteX3" fmla="*/ 37559 w 37559"/>
                            <a:gd name="connsiteY3" fmla="*/ 13686 h 13686"/>
                            <a:gd name="connsiteX4" fmla="*/ 0 w 37559"/>
                            <a:gd name="connsiteY4" fmla="*/ 13686 h 13686"/>
                            <a:gd name="connsiteX5" fmla="*/ 0 w 37559"/>
                            <a:gd name="connsiteY5" fmla="*/ 4759 h 13686"/>
                            <a:gd name="connsiteX6" fmla="*/ 4759 w 37559"/>
                            <a:gd name="connsiteY6" fmla="*/ 0 h 13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59" h="13686">
                              <a:moveTo>
                                <a:pt x="4759" y="0"/>
                              </a:moveTo>
                              <a:lnTo>
                                <a:pt x="32800" y="0"/>
                              </a:lnTo>
                              <a:cubicBezTo>
                                <a:pt x="35436" y="0"/>
                                <a:pt x="37559" y="2124"/>
                                <a:pt x="37559" y="4759"/>
                              </a:cubicBezTo>
                              <a:lnTo>
                                <a:pt x="37559" y="13686"/>
                              </a:lnTo>
                              <a:lnTo>
                                <a:pt x="0" y="13686"/>
                              </a:lnTo>
                              <a:lnTo>
                                <a:pt x="0" y="4759"/>
                              </a:lnTo>
                              <a:cubicBezTo>
                                <a:pt x="0" y="2124"/>
                                <a:pt x="2124" y="0"/>
                                <a:pt x="4759" y="0"/>
                              </a:cubicBez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900" name="Freeform: Shape 899">
                        <a:extLst>
                          <a:ext uri="{FF2B5EF4-FFF2-40B4-BE49-F238E27FC236}">
                            <a16:creationId xmlns:a16="http://schemas.microsoft.com/office/drawing/2014/main" id="{C6BCC08C-193E-4DBF-BA18-F0A1602A9B9D}"/>
                          </a:ext>
                        </a:extLst>
                      </p:cNvPr>
                      <p:cNvSpPr/>
                      <p:nvPr/>
                    </p:nvSpPr>
                    <p:spPr>
                      <a:xfrm rot="10800000">
                        <a:off x="9660980" y="11007323"/>
                        <a:ext cx="722218" cy="17363"/>
                      </a:xfrm>
                      <a:custGeom>
                        <a:avLst/>
                        <a:gdLst>
                          <a:gd name="connsiteX0" fmla="*/ 0 w 722218"/>
                          <a:gd name="connsiteY0" fmla="*/ 0 h 17363"/>
                          <a:gd name="connsiteX1" fmla="*/ 722219 w 722218"/>
                          <a:gd name="connsiteY1" fmla="*/ 0 h 17363"/>
                          <a:gd name="connsiteX2" fmla="*/ 722219 w 722218"/>
                          <a:gd name="connsiteY2" fmla="*/ 17364 h 17363"/>
                          <a:gd name="connsiteX3" fmla="*/ 0 w 722218"/>
                          <a:gd name="connsiteY3" fmla="*/ 17364 h 17363"/>
                        </a:gdLst>
                        <a:ahLst/>
                        <a:cxnLst>
                          <a:cxn ang="0">
                            <a:pos x="connsiteX0" y="connsiteY0"/>
                          </a:cxn>
                          <a:cxn ang="0">
                            <a:pos x="connsiteX1" y="connsiteY1"/>
                          </a:cxn>
                          <a:cxn ang="0">
                            <a:pos x="connsiteX2" y="connsiteY2"/>
                          </a:cxn>
                          <a:cxn ang="0">
                            <a:pos x="connsiteX3" y="connsiteY3"/>
                          </a:cxn>
                        </a:cxnLst>
                        <a:rect l="l" t="t" r="r" b="b"/>
                        <a:pathLst>
                          <a:path w="722218" h="17363">
                            <a:moveTo>
                              <a:pt x="0" y="0"/>
                            </a:moveTo>
                            <a:lnTo>
                              <a:pt x="722219" y="0"/>
                            </a:lnTo>
                            <a:lnTo>
                              <a:pt x="722219" y="17364"/>
                            </a:lnTo>
                            <a:lnTo>
                              <a:pt x="0" y="1736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01" name="Freeform: Shape 900">
                        <a:extLst>
                          <a:ext uri="{FF2B5EF4-FFF2-40B4-BE49-F238E27FC236}">
                            <a16:creationId xmlns:a16="http://schemas.microsoft.com/office/drawing/2014/main" id="{13E6C20A-F500-4708-A92B-A8C8E7F9315A}"/>
                          </a:ext>
                        </a:extLst>
                      </p:cNvPr>
                      <p:cNvSpPr/>
                      <p:nvPr/>
                    </p:nvSpPr>
                    <p:spPr>
                      <a:xfrm>
                        <a:off x="9661039" y="11090346"/>
                        <a:ext cx="229032" cy="17363"/>
                      </a:xfrm>
                      <a:custGeom>
                        <a:avLst/>
                        <a:gdLst>
                          <a:gd name="connsiteX0" fmla="*/ 0 w 229032"/>
                          <a:gd name="connsiteY0" fmla="*/ 0 h 17363"/>
                          <a:gd name="connsiteX1" fmla="*/ 229033 w 229032"/>
                          <a:gd name="connsiteY1" fmla="*/ 0 h 17363"/>
                          <a:gd name="connsiteX2" fmla="*/ 229033 w 229032"/>
                          <a:gd name="connsiteY2" fmla="*/ 17364 h 17363"/>
                          <a:gd name="connsiteX3" fmla="*/ 0 w 229032"/>
                          <a:gd name="connsiteY3" fmla="*/ 17364 h 17363"/>
                        </a:gdLst>
                        <a:ahLst/>
                        <a:cxnLst>
                          <a:cxn ang="0">
                            <a:pos x="connsiteX0" y="connsiteY0"/>
                          </a:cxn>
                          <a:cxn ang="0">
                            <a:pos x="connsiteX1" y="connsiteY1"/>
                          </a:cxn>
                          <a:cxn ang="0">
                            <a:pos x="connsiteX2" y="connsiteY2"/>
                          </a:cxn>
                          <a:cxn ang="0">
                            <a:pos x="connsiteX3" y="connsiteY3"/>
                          </a:cxn>
                        </a:cxnLst>
                        <a:rect l="l" t="t" r="r" b="b"/>
                        <a:pathLst>
                          <a:path w="229032" h="17363">
                            <a:moveTo>
                              <a:pt x="0" y="0"/>
                            </a:moveTo>
                            <a:lnTo>
                              <a:pt x="229033" y="0"/>
                            </a:lnTo>
                            <a:lnTo>
                              <a:pt x="229033" y="17364"/>
                            </a:lnTo>
                            <a:lnTo>
                              <a:pt x="0" y="1736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02" name="Freeform: Shape 901">
                        <a:extLst>
                          <a:ext uri="{FF2B5EF4-FFF2-40B4-BE49-F238E27FC236}">
                            <a16:creationId xmlns:a16="http://schemas.microsoft.com/office/drawing/2014/main" id="{6D09D7EB-748F-4306-B84C-61A573160BEF}"/>
                          </a:ext>
                        </a:extLst>
                      </p:cNvPr>
                      <p:cNvSpPr/>
                      <p:nvPr/>
                    </p:nvSpPr>
                    <p:spPr>
                      <a:xfrm>
                        <a:off x="9661039" y="11173390"/>
                        <a:ext cx="229032" cy="17363"/>
                      </a:xfrm>
                      <a:custGeom>
                        <a:avLst/>
                        <a:gdLst>
                          <a:gd name="connsiteX0" fmla="*/ 0 w 229032"/>
                          <a:gd name="connsiteY0" fmla="*/ 0 h 17363"/>
                          <a:gd name="connsiteX1" fmla="*/ 229033 w 229032"/>
                          <a:gd name="connsiteY1" fmla="*/ 0 h 17363"/>
                          <a:gd name="connsiteX2" fmla="*/ 229033 w 229032"/>
                          <a:gd name="connsiteY2" fmla="*/ 17364 h 17363"/>
                          <a:gd name="connsiteX3" fmla="*/ 0 w 229032"/>
                          <a:gd name="connsiteY3" fmla="*/ 17364 h 17363"/>
                        </a:gdLst>
                        <a:ahLst/>
                        <a:cxnLst>
                          <a:cxn ang="0">
                            <a:pos x="connsiteX0" y="connsiteY0"/>
                          </a:cxn>
                          <a:cxn ang="0">
                            <a:pos x="connsiteX1" y="connsiteY1"/>
                          </a:cxn>
                          <a:cxn ang="0">
                            <a:pos x="connsiteX2" y="connsiteY2"/>
                          </a:cxn>
                          <a:cxn ang="0">
                            <a:pos x="connsiteX3" y="connsiteY3"/>
                          </a:cxn>
                        </a:cxnLst>
                        <a:rect l="l" t="t" r="r" b="b"/>
                        <a:pathLst>
                          <a:path w="229032" h="17363">
                            <a:moveTo>
                              <a:pt x="0" y="0"/>
                            </a:moveTo>
                            <a:lnTo>
                              <a:pt x="229033" y="0"/>
                            </a:lnTo>
                            <a:lnTo>
                              <a:pt x="229033" y="17364"/>
                            </a:lnTo>
                            <a:lnTo>
                              <a:pt x="0" y="1736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03" name="Freeform: Shape 902">
                        <a:extLst>
                          <a:ext uri="{FF2B5EF4-FFF2-40B4-BE49-F238E27FC236}">
                            <a16:creationId xmlns:a16="http://schemas.microsoft.com/office/drawing/2014/main" id="{06123BB2-DA9C-45A5-81A5-3035CA36C0CD}"/>
                          </a:ext>
                        </a:extLst>
                      </p:cNvPr>
                      <p:cNvSpPr/>
                      <p:nvPr/>
                    </p:nvSpPr>
                    <p:spPr>
                      <a:xfrm>
                        <a:off x="10136861" y="11090346"/>
                        <a:ext cx="246396" cy="17363"/>
                      </a:xfrm>
                      <a:custGeom>
                        <a:avLst/>
                        <a:gdLst>
                          <a:gd name="connsiteX0" fmla="*/ 0 w 246396"/>
                          <a:gd name="connsiteY0" fmla="*/ 0 h 17363"/>
                          <a:gd name="connsiteX1" fmla="*/ 246396 w 246396"/>
                          <a:gd name="connsiteY1" fmla="*/ 0 h 17363"/>
                          <a:gd name="connsiteX2" fmla="*/ 246396 w 246396"/>
                          <a:gd name="connsiteY2" fmla="*/ 17364 h 17363"/>
                          <a:gd name="connsiteX3" fmla="*/ 0 w 246396"/>
                          <a:gd name="connsiteY3" fmla="*/ 17364 h 17363"/>
                        </a:gdLst>
                        <a:ahLst/>
                        <a:cxnLst>
                          <a:cxn ang="0">
                            <a:pos x="connsiteX0" y="connsiteY0"/>
                          </a:cxn>
                          <a:cxn ang="0">
                            <a:pos x="connsiteX1" y="connsiteY1"/>
                          </a:cxn>
                          <a:cxn ang="0">
                            <a:pos x="connsiteX2" y="connsiteY2"/>
                          </a:cxn>
                          <a:cxn ang="0">
                            <a:pos x="connsiteX3" y="connsiteY3"/>
                          </a:cxn>
                        </a:cxnLst>
                        <a:rect l="l" t="t" r="r" b="b"/>
                        <a:pathLst>
                          <a:path w="246396" h="17363">
                            <a:moveTo>
                              <a:pt x="0" y="0"/>
                            </a:moveTo>
                            <a:lnTo>
                              <a:pt x="246396" y="0"/>
                            </a:lnTo>
                            <a:lnTo>
                              <a:pt x="246396" y="17364"/>
                            </a:lnTo>
                            <a:lnTo>
                              <a:pt x="0" y="1736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04" name="Freeform: Shape 903">
                        <a:extLst>
                          <a:ext uri="{FF2B5EF4-FFF2-40B4-BE49-F238E27FC236}">
                            <a16:creationId xmlns:a16="http://schemas.microsoft.com/office/drawing/2014/main" id="{8A27F76D-2241-40BF-9D01-A0DE2AFE28ED}"/>
                          </a:ext>
                        </a:extLst>
                      </p:cNvPr>
                      <p:cNvSpPr/>
                      <p:nvPr/>
                    </p:nvSpPr>
                    <p:spPr>
                      <a:xfrm>
                        <a:off x="10136861" y="11173390"/>
                        <a:ext cx="246396" cy="17363"/>
                      </a:xfrm>
                      <a:custGeom>
                        <a:avLst/>
                        <a:gdLst>
                          <a:gd name="connsiteX0" fmla="*/ 0 w 246396"/>
                          <a:gd name="connsiteY0" fmla="*/ 0 h 17363"/>
                          <a:gd name="connsiteX1" fmla="*/ 246396 w 246396"/>
                          <a:gd name="connsiteY1" fmla="*/ 0 h 17363"/>
                          <a:gd name="connsiteX2" fmla="*/ 246396 w 246396"/>
                          <a:gd name="connsiteY2" fmla="*/ 17364 h 17363"/>
                          <a:gd name="connsiteX3" fmla="*/ 0 w 246396"/>
                          <a:gd name="connsiteY3" fmla="*/ 17364 h 17363"/>
                        </a:gdLst>
                        <a:ahLst/>
                        <a:cxnLst>
                          <a:cxn ang="0">
                            <a:pos x="connsiteX0" y="connsiteY0"/>
                          </a:cxn>
                          <a:cxn ang="0">
                            <a:pos x="connsiteX1" y="connsiteY1"/>
                          </a:cxn>
                          <a:cxn ang="0">
                            <a:pos x="connsiteX2" y="connsiteY2"/>
                          </a:cxn>
                          <a:cxn ang="0">
                            <a:pos x="connsiteX3" y="connsiteY3"/>
                          </a:cxn>
                        </a:cxnLst>
                        <a:rect l="l" t="t" r="r" b="b"/>
                        <a:pathLst>
                          <a:path w="246396" h="17363">
                            <a:moveTo>
                              <a:pt x="0" y="0"/>
                            </a:moveTo>
                            <a:lnTo>
                              <a:pt x="246396" y="0"/>
                            </a:lnTo>
                            <a:lnTo>
                              <a:pt x="246396" y="17364"/>
                            </a:lnTo>
                            <a:lnTo>
                              <a:pt x="0" y="1736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05" name="Freeform: Shape 904">
                        <a:extLst>
                          <a:ext uri="{FF2B5EF4-FFF2-40B4-BE49-F238E27FC236}">
                            <a16:creationId xmlns:a16="http://schemas.microsoft.com/office/drawing/2014/main" id="{30C1B691-D10E-4C6F-9519-0C0FCC1EF2DB}"/>
                          </a:ext>
                        </a:extLst>
                      </p:cNvPr>
                      <p:cNvSpPr/>
                      <p:nvPr/>
                    </p:nvSpPr>
                    <p:spPr>
                      <a:xfrm rot="5400000">
                        <a:off x="9753049" y="11144345"/>
                        <a:ext cx="291408" cy="17363"/>
                      </a:xfrm>
                      <a:custGeom>
                        <a:avLst/>
                        <a:gdLst>
                          <a:gd name="connsiteX0" fmla="*/ 0 w 291408"/>
                          <a:gd name="connsiteY0" fmla="*/ 0 h 17363"/>
                          <a:gd name="connsiteX1" fmla="*/ 291409 w 291408"/>
                          <a:gd name="connsiteY1" fmla="*/ 0 h 17363"/>
                          <a:gd name="connsiteX2" fmla="*/ 291409 w 291408"/>
                          <a:gd name="connsiteY2" fmla="*/ 17364 h 17363"/>
                          <a:gd name="connsiteX3" fmla="*/ 0 w 291408"/>
                          <a:gd name="connsiteY3" fmla="*/ 17364 h 17363"/>
                        </a:gdLst>
                        <a:ahLst/>
                        <a:cxnLst>
                          <a:cxn ang="0">
                            <a:pos x="connsiteX0" y="connsiteY0"/>
                          </a:cxn>
                          <a:cxn ang="0">
                            <a:pos x="connsiteX1" y="connsiteY1"/>
                          </a:cxn>
                          <a:cxn ang="0">
                            <a:pos x="connsiteX2" y="connsiteY2"/>
                          </a:cxn>
                          <a:cxn ang="0">
                            <a:pos x="connsiteX3" y="connsiteY3"/>
                          </a:cxn>
                        </a:cxnLst>
                        <a:rect l="l" t="t" r="r" b="b"/>
                        <a:pathLst>
                          <a:path w="291408" h="17363">
                            <a:moveTo>
                              <a:pt x="0" y="0"/>
                            </a:moveTo>
                            <a:lnTo>
                              <a:pt x="291409" y="0"/>
                            </a:lnTo>
                            <a:lnTo>
                              <a:pt x="291409" y="17364"/>
                            </a:lnTo>
                            <a:lnTo>
                              <a:pt x="0" y="1736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06" name="Freeform: Shape 905">
                        <a:extLst>
                          <a:ext uri="{FF2B5EF4-FFF2-40B4-BE49-F238E27FC236}">
                            <a16:creationId xmlns:a16="http://schemas.microsoft.com/office/drawing/2014/main" id="{4BF10CB1-5CB7-44B9-9FC6-33F01AA2AF85}"/>
                          </a:ext>
                        </a:extLst>
                      </p:cNvPr>
                      <p:cNvSpPr/>
                      <p:nvPr/>
                    </p:nvSpPr>
                    <p:spPr>
                      <a:xfrm rot="5400000">
                        <a:off x="9999839" y="11144326"/>
                        <a:ext cx="291408" cy="17363"/>
                      </a:xfrm>
                      <a:custGeom>
                        <a:avLst/>
                        <a:gdLst>
                          <a:gd name="connsiteX0" fmla="*/ 0 w 291408"/>
                          <a:gd name="connsiteY0" fmla="*/ 0 h 17363"/>
                          <a:gd name="connsiteX1" fmla="*/ 291409 w 291408"/>
                          <a:gd name="connsiteY1" fmla="*/ 0 h 17363"/>
                          <a:gd name="connsiteX2" fmla="*/ 291409 w 291408"/>
                          <a:gd name="connsiteY2" fmla="*/ 17364 h 17363"/>
                          <a:gd name="connsiteX3" fmla="*/ 0 w 291408"/>
                          <a:gd name="connsiteY3" fmla="*/ 17364 h 17363"/>
                        </a:gdLst>
                        <a:ahLst/>
                        <a:cxnLst>
                          <a:cxn ang="0">
                            <a:pos x="connsiteX0" y="connsiteY0"/>
                          </a:cxn>
                          <a:cxn ang="0">
                            <a:pos x="connsiteX1" y="connsiteY1"/>
                          </a:cxn>
                          <a:cxn ang="0">
                            <a:pos x="connsiteX2" y="connsiteY2"/>
                          </a:cxn>
                          <a:cxn ang="0">
                            <a:pos x="connsiteX3" y="connsiteY3"/>
                          </a:cxn>
                        </a:cxnLst>
                        <a:rect l="l" t="t" r="r" b="b"/>
                        <a:pathLst>
                          <a:path w="291408" h="17363">
                            <a:moveTo>
                              <a:pt x="0" y="0"/>
                            </a:moveTo>
                            <a:lnTo>
                              <a:pt x="291409" y="0"/>
                            </a:lnTo>
                            <a:lnTo>
                              <a:pt x="291409" y="17364"/>
                            </a:lnTo>
                            <a:lnTo>
                              <a:pt x="0" y="1736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07" name="Freeform: Shape 906">
                        <a:extLst>
                          <a:ext uri="{FF2B5EF4-FFF2-40B4-BE49-F238E27FC236}">
                            <a16:creationId xmlns:a16="http://schemas.microsoft.com/office/drawing/2014/main" id="{B33F2846-46A6-4974-A7A8-1C2A2D515F58}"/>
                          </a:ext>
                        </a:extLst>
                      </p:cNvPr>
                      <p:cNvSpPr/>
                      <p:nvPr/>
                    </p:nvSpPr>
                    <p:spPr>
                      <a:xfrm rot="10800000">
                        <a:off x="9643616" y="10972576"/>
                        <a:ext cx="756946" cy="34747"/>
                      </a:xfrm>
                      <a:custGeom>
                        <a:avLst/>
                        <a:gdLst>
                          <a:gd name="connsiteX0" fmla="*/ 0 w 756946"/>
                          <a:gd name="connsiteY0" fmla="*/ 0 h 34747"/>
                          <a:gd name="connsiteX1" fmla="*/ 756947 w 756946"/>
                          <a:gd name="connsiteY1" fmla="*/ 0 h 34747"/>
                          <a:gd name="connsiteX2" fmla="*/ 756947 w 756946"/>
                          <a:gd name="connsiteY2" fmla="*/ 34747 h 34747"/>
                          <a:gd name="connsiteX3" fmla="*/ 0 w 756946"/>
                          <a:gd name="connsiteY3" fmla="*/ 34747 h 34747"/>
                        </a:gdLst>
                        <a:ahLst/>
                        <a:cxnLst>
                          <a:cxn ang="0">
                            <a:pos x="connsiteX0" y="connsiteY0"/>
                          </a:cxn>
                          <a:cxn ang="0">
                            <a:pos x="connsiteX1" y="connsiteY1"/>
                          </a:cxn>
                          <a:cxn ang="0">
                            <a:pos x="connsiteX2" y="connsiteY2"/>
                          </a:cxn>
                          <a:cxn ang="0">
                            <a:pos x="connsiteX3" y="connsiteY3"/>
                          </a:cxn>
                        </a:cxnLst>
                        <a:rect l="l" t="t" r="r" b="b"/>
                        <a:pathLst>
                          <a:path w="756946" h="34747">
                            <a:moveTo>
                              <a:pt x="0" y="0"/>
                            </a:moveTo>
                            <a:lnTo>
                              <a:pt x="756947" y="0"/>
                            </a:lnTo>
                            <a:lnTo>
                              <a:pt x="756947" y="34747"/>
                            </a:lnTo>
                            <a:lnTo>
                              <a:pt x="0" y="34747"/>
                            </a:lnTo>
                            <a:close/>
                          </a:path>
                        </a:pathLst>
                      </a:custGeom>
                      <a:solidFill>
                        <a:srgbClr val="A4C2E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908" name="Freeform: Shape 907">
                        <a:extLst>
                          <a:ext uri="{FF2B5EF4-FFF2-40B4-BE49-F238E27FC236}">
                            <a16:creationId xmlns:a16="http://schemas.microsoft.com/office/drawing/2014/main" id="{A3FACF91-A425-4612-A3E7-8C1465EB45FB}"/>
                          </a:ext>
                        </a:extLst>
                      </p:cNvPr>
                      <p:cNvSpPr/>
                      <p:nvPr/>
                    </p:nvSpPr>
                    <p:spPr>
                      <a:xfrm rot="10800000">
                        <a:off x="9643616" y="11298731"/>
                        <a:ext cx="756946" cy="17363"/>
                      </a:xfrm>
                      <a:custGeom>
                        <a:avLst/>
                        <a:gdLst>
                          <a:gd name="connsiteX0" fmla="*/ 0 w 756946"/>
                          <a:gd name="connsiteY0" fmla="*/ 0 h 17363"/>
                          <a:gd name="connsiteX1" fmla="*/ 756947 w 756946"/>
                          <a:gd name="connsiteY1" fmla="*/ 0 h 17363"/>
                          <a:gd name="connsiteX2" fmla="*/ 756947 w 756946"/>
                          <a:gd name="connsiteY2" fmla="*/ 17364 h 17363"/>
                          <a:gd name="connsiteX3" fmla="*/ 0 w 756946"/>
                          <a:gd name="connsiteY3" fmla="*/ 17364 h 17363"/>
                        </a:gdLst>
                        <a:ahLst/>
                        <a:cxnLst>
                          <a:cxn ang="0">
                            <a:pos x="connsiteX0" y="connsiteY0"/>
                          </a:cxn>
                          <a:cxn ang="0">
                            <a:pos x="connsiteX1" y="connsiteY1"/>
                          </a:cxn>
                          <a:cxn ang="0">
                            <a:pos x="connsiteX2" y="connsiteY2"/>
                          </a:cxn>
                          <a:cxn ang="0">
                            <a:pos x="connsiteX3" y="connsiteY3"/>
                          </a:cxn>
                        </a:cxnLst>
                        <a:rect l="l" t="t" r="r" b="b"/>
                        <a:pathLst>
                          <a:path w="756946" h="17363">
                            <a:moveTo>
                              <a:pt x="0" y="0"/>
                            </a:moveTo>
                            <a:lnTo>
                              <a:pt x="756947" y="0"/>
                            </a:lnTo>
                            <a:lnTo>
                              <a:pt x="756947" y="17364"/>
                            </a:lnTo>
                            <a:lnTo>
                              <a:pt x="0" y="17364"/>
                            </a:lnTo>
                            <a:close/>
                          </a:path>
                        </a:pathLst>
                      </a:custGeom>
                      <a:solidFill>
                        <a:srgbClr val="83A2C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885" name="Graphic 10">
                      <a:extLst>
                        <a:ext uri="{FF2B5EF4-FFF2-40B4-BE49-F238E27FC236}">
                          <a16:creationId xmlns:a16="http://schemas.microsoft.com/office/drawing/2014/main" id="{4131E206-27CE-465C-A666-3E187FCA81B2}"/>
                        </a:ext>
                      </a:extLst>
                    </p:cNvPr>
                    <p:cNvGrpSpPr/>
                    <p:nvPr/>
                  </p:nvGrpSpPr>
                  <p:grpSpPr>
                    <a:xfrm>
                      <a:off x="9948573" y="10846860"/>
                      <a:ext cx="318232" cy="125734"/>
                      <a:chOff x="9948573" y="10846860"/>
                      <a:chExt cx="318232" cy="125734"/>
                    </a:xfrm>
                  </p:grpSpPr>
                  <p:sp>
                    <p:nvSpPr>
                      <p:cNvPr id="889" name="Freeform: Shape 888">
                        <a:extLst>
                          <a:ext uri="{FF2B5EF4-FFF2-40B4-BE49-F238E27FC236}">
                            <a16:creationId xmlns:a16="http://schemas.microsoft.com/office/drawing/2014/main" id="{86D588A7-4603-47DA-A3C1-53A0B70376AB}"/>
                          </a:ext>
                        </a:extLst>
                      </p:cNvPr>
                      <p:cNvSpPr/>
                      <p:nvPr/>
                    </p:nvSpPr>
                    <p:spPr>
                      <a:xfrm>
                        <a:off x="10034919" y="10846860"/>
                        <a:ext cx="231886" cy="125734"/>
                      </a:xfrm>
                      <a:custGeom>
                        <a:avLst/>
                        <a:gdLst>
                          <a:gd name="connsiteX0" fmla="*/ 356 w 231886"/>
                          <a:gd name="connsiteY0" fmla="*/ 118380 h 125734"/>
                          <a:gd name="connsiteX1" fmla="*/ 34846 w 231886"/>
                          <a:gd name="connsiteY1" fmla="*/ 7355 h 125734"/>
                          <a:gd name="connsiteX2" fmla="*/ 44483 w 231886"/>
                          <a:gd name="connsiteY2" fmla="*/ 0 h 125734"/>
                          <a:gd name="connsiteX3" fmla="*/ 226478 w 231886"/>
                          <a:gd name="connsiteY3" fmla="*/ 0 h 125734"/>
                          <a:gd name="connsiteX4" fmla="*/ 231531 w 231886"/>
                          <a:gd name="connsiteY4" fmla="*/ 7355 h 125734"/>
                          <a:gd name="connsiteX5" fmla="*/ 197039 w 231886"/>
                          <a:gd name="connsiteY5" fmla="*/ 118380 h 125734"/>
                          <a:gd name="connsiteX6" fmla="*/ 187404 w 231886"/>
                          <a:gd name="connsiteY6" fmla="*/ 125735 h 125734"/>
                          <a:gd name="connsiteX7" fmla="*/ 5409 w 231886"/>
                          <a:gd name="connsiteY7" fmla="*/ 125735 h 125734"/>
                          <a:gd name="connsiteX8" fmla="*/ 356 w 231886"/>
                          <a:gd name="connsiteY8" fmla="*/ 118380 h 12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886" h="125734">
                            <a:moveTo>
                              <a:pt x="356" y="118380"/>
                            </a:moveTo>
                            <a:lnTo>
                              <a:pt x="34846" y="7355"/>
                            </a:lnTo>
                            <a:cubicBezTo>
                              <a:pt x="36105" y="3304"/>
                              <a:pt x="40412" y="0"/>
                              <a:pt x="44483" y="0"/>
                            </a:cubicBezTo>
                            <a:lnTo>
                              <a:pt x="226478" y="0"/>
                            </a:lnTo>
                            <a:cubicBezTo>
                              <a:pt x="230529" y="0"/>
                              <a:pt x="232810" y="3284"/>
                              <a:pt x="231531" y="7355"/>
                            </a:cubicBezTo>
                            <a:lnTo>
                              <a:pt x="197039" y="118380"/>
                            </a:lnTo>
                            <a:cubicBezTo>
                              <a:pt x="195781" y="122431"/>
                              <a:pt x="191475" y="125735"/>
                              <a:pt x="187404" y="125735"/>
                            </a:cubicBezTo>
                            <a:lnTo>
                              <a:pt x="5409" y="125735"/>
                            </a:lnTo>
                            <a:cubicBezTo>
                              <a:pt x="1358" y="125735"/>
                              <a:pt x="-923" y="122451"/>
                              <a:pt x="356" y="118380"/>
                            </a:cubicBezTo>
                            <a:close/>
                          </a:path>
                        </a:pathLst>
                      </a:custGeom>
                      <a:solidFill>
                        <a:srgbClr val="8CAD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90" name="Freeform: Shape 889">
                        <a:extLst>
                          <a:ext uri="{FF2B5EF4-FFF2-40B4-BE49-F238E27FC236}">
                            <a16:creationId xmlns:a16="http://schemas.microsoft.com/office/drawing/2014/main" id="{546EFFBB-4223-4C15-8290-8BDA5A5524E1}"/>
                          </a:ext>
                        </a:extLst>
                      </p:cNvPr>
                      <p:cNvSpPr/>
                      <p:nvPr/>
                    </p:nvSpPr>
                    <p:spPr>
                      <a:xfrm>
                        <a:off x="10024988" y="10846860"/>
                        <a:ext cx="231886" cy="125734"/>
                      </a:xfrm>
                      <a:custGeom>
                        <a:avLst/>
                        <a:gdLst>
                          <a:gd name="connsiteX0" fmla="*/ 355 w 231886"/>
                          <a:gd name="connsiteY0" fmla="*/ 118380 h 125734"/>
                          <a:gd name="connsiteX1" fmla="*/ 34847 w 231886"/>
                          <a:gd name="connsiteY1" fmla="*/ 7355 h 125734"/>
                          <a:gd name="connsiteX2" fmla="*/ 44482 w 231886"/>
                          <a:gd name="connsiteY2" fmla="*/ 0 h 125734"/>
                          <a:gd name="connsiteX3" fmla="*/ 226478 w 231886"/>
                          <a:gd name="connsiteY3" fmla="*/ 0 h 125734"/>
                          <a:gd name="connsiteX4" fmla="*/ 231531 w 231886"/>
                          <a:gd name="connsiteY4" fmla="*/ 7355 h 125734"/>
                          <a:gd name="connsiteX5" fmla="*/ 197040 w 231886"/>
                          <a:gd name="connsiteY5" fmla="*/ 118380 h 125734"/>
                          <a:gd name="connsiteX6" fmla="*/ 187404 w 231886"/>
                          <a:gd name="connsiteY6" fmla="*/ 125735 h 125734"/>
                          <a:gd name="connsiteX7" fmla="*/ 5409 w 231886"/>
                          <a:gd name="connsiteY7" fmla="*/ 125735 h 125734"/>
                          <a:gd name="connsiteX8" fmla="*/ 355 w 231886"/>
                          <a:gd name="connsiteY8" fmla="*/ 118380 h 12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886" h="125734">
                            <a:moveTo>
                              <a:pt x="355" y="118380"/>
                            </a:moveTo>
                            <a:lnTo>
                              <a:pt x="34847" y="7355"/>
                            </a:lnTo>
                            <a:cubicBezTo>
                              <a:pt x="36106" y="3304"/>
                              <a:pt x="40412" y="0"/>
                              <a:pt x="44482" y="0"/>
                            </a:cubicBezTo>
                            <a:lnTo>
                              <a:pt x="226478" y="0"/>
                            </a:lnTo>
                            <a:cubicBezTo>
                              <a:pt x="230529" y="0"/>
                              <a:pt x="232809" y="3284"/>
                              <a:pt x="231531" y="7355"/>
                            </a:cubicBezTo>
                            <a:lnTo>
                              <a:pt x="197040" y="118380"/>
                            </a:lnTo>
                            <a:cubicBezTo>
                              <a:pt x="195781" y="122431"/>
                              <a:pt x="191475" y="125735"/>
                              <a:pt x="187404" y="125735"/>
                            </a:cubicBezTo>
                            <a:lnTo>
                              <a:pt x="5409" y="125735"/>
                            </a:lnTo>
                            <a:cubicBezTo>
                              <a:pt x="1359" y="125735"/>
                              <a:pt x="-923" y="122451"/>
                              <a:pt x="355" y="118380"/>
                            </a:cubicBezTo>
                            <a:close/>
                          </a:path>
                        </a:pathLst>
                      </a:custGeom>
                      <a:solidFill>
                        <a:srgbClr val="FFFF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91" name="Freeform: Shape 890">
                        <a:extLst>
                          <a:ext uri="{FF2B5EF4-FFF2-40B4-BE49-F238E27FC236}">
                            <a16:creationId xmlns:a16="http://schemas.microsoft.com/office/drawing/2014/main" id="{20F2DDF5-D96D-42EF-B201-365C4E8903C5}"/>
                          </a:ext>
                        </a:extLst>
                      </p:cNvPr>
                      <p:cNvSpPr/>
                      <p:nvPr/>
                    </p:nvSpPr>
                    <p:spPr>
                      <a:xfrm>
                        <a:off x="10036532" y="10856732"/>
                        <a:ext cx="208758" cy="105913"/>
                      </a:xfrm>
                      <a:custGeom>
                        <a:avLst/>
                        <a:gdLst>
                          <a:gd name="connsiteX0" fmla="*/ 20 w 208758"/>
                          <a:gd name="connsiteY0" fmla="*/ 105913 h 105913"/>
                          <a:gd name="connsiteX1" fmla="*/ 32801 w 208758"/>
                          <a:gd name="connsiteY1" fmla="*/ 413 h 105913"/>
                          <a:gd name="connsiteX2" fmla="*/ 33371 w 208758"/>
                          <a:gd name="connsiteY2" fmla="*/ 0 h 105913"/>
                          <a:gd name="connsiteX3" fmla="*/ 208759 w 208758"/>
                          <a:gd name="connsiteY3" fmla="*/ 59 h 105913"/>
                          <a:gd name="connsiteX4" fmla="*/ 175978 w 208758"/>
                          <a:gd name="connsiteY4" fmla="*/ 105539 h 105913"/>
                          <a:gd name="connsiteX5" fmla="*/ 175506 w 208758"/>
                          <a:gd name="connsiteY5" fmla="*/ 105893 h 105913"/>
                          <a:gd name="connsiteX6" fmla="*/ 0 w 208758"/>
                          <a:gd name="connsiteY6" fmla="*/ 105893 h 105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758" h="105913">
                            <a:moveTo>
                              <a:pt x="20" y="105913"/>
                            </a:moveTo>
                            <a:lnTo>
                              <a:pt x="32801" y="413"/>
                            </a:lnTo>
                            <a:cubicBezTo>
                              <a:pt x="32801" y="413"/>
                              <a:pt x="33174" y="78"/>
                              <a:pt x="33371" y="0"/>
                            </a:cubicBezTo>
                            <a:lnTo>
                              <a:pt x="208759" y="59"/>
                            </a:lnTo>
                            <a:lnTo>
                              <a:pt x="175978" y="105539"/>
                            </a:lnTo>
                            <a:cubicBezTo>
                              <a:pt x="175978" y="105539"/>
                              <a:pt x="175703" y="105795"/>
                              <a:pt x="175506" y="105893"/>
                            </a:cubicBezTo>
                            <a:lnTo>
                              <a:pt x="0" y="105893"/>
                            </a:lnTo>
                            <a:close/>
                          </a:path>
                        </a:pathLst>
                      </a:custGeom>
                      <a:solidFill>
                        <a:srgbClr val="415167"/>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892" name="Graphic 10">
                        <a:extLst>
                          <a:ext uri="{FF2B5EF4-FFF2-40B4-BE49-F238E27FC236}">
                            <a16:creationId xmlns:a16="http://schemas.microsoft.com/office/drawing/2014/main" id="{2B90C6C1-7F52-4DBA-BCCA-EF3790EAB4C6}"/>
                          </a:ext>
                        </a:extLst>
                      </p:cNvPr>
                      <p:cNvGrpSpPr/>
                      <p:nvPr/>
                    </p:nvGrpSpPr>
                    <p:grpSpPr>
                      <a:xfrm>
                        <a:off x="9948573" y="10957867"/>
                        <a:ext cx="283405" cy="14709"/>
                        <a:chOff x="9948573" y="10957867"/>
                        <a:chExt cx="283405" cy="14709"/>
                      </a:xfrm>
                    </p:grpSpPr>
                    <p:sp>
                      <p:nvSpPr>
                        <p:cNvPr id="893" name="Freeform: Shape 892">
                          <a:extLst>
                            <a:ext uri="{FF2B5EF4-FFF2-40B4-BE49-F238E27FC236}">
                              <a16:creationId xmlns:a16="http://schemas.microsoft.com/office/drawing/2014/main" id="{541FBEBE-B623-46FB-B118-F2CBCF94E0BB}"/>
                            </a:ext>
                          </a:extLst>
                        </p:cNvPr>
                        <p:cNvSpPr/>
                        <p:nvPr/>
                      </p:nvSpPr>
                      <p:spPr>
                        <a:xfrm>
                          <a:off x="9948573" y="10957867"/>
                          <a:ext cx="237665" cy="14709"/>
                        </a:xfrm>
                        <a:custGeom>
                          <a:avLst/>
                          <a:gdLst>
                            <a:gd name="connsiteX0" fmla="*/ 217785 w 237665"/>
                            <a:gd name="connsiteY0" fmla="*/ 14709 h 14709"/>
                            <a:gd name="connsiteX1" fmla="*/ 7355 w 237665"/>
                            <a:gd name="connsiteY1" fmla="*/ 14709 h 14709"/>
                            <a:gd name="connsiteX2" fmla="*/ 0 w 237665"/>
                            <a:gd name="connsiteY2" fmla="*/ 7355 h 14709"/>
                            <a:gd name="connsiteX3" fmla="*/ 7355 w 237665"/>
                            <a:gd name="connsiteY3" fmla="*/ 0 h 14709"/>
                            <a:gd name="connsiteX4" fmla="*/ 237665 w 237665"/>
                            <a:gd name="connsiteY4" fmla="*/ 0 h 14709"/>
                            <a:gd name="connsiteX5" fmla="*/ 217785 w 237665"/>
                            <a:gd name="connsiteY5" fmla="*/ 14690 h 1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665" h="14709">
                              <a:moveTo>
                                <a:pt x="217785" y="14709"/>
                              </a:moveTo>
                              <a:lnTo>
                                <a:pt x="7355" y="14709"/>
                              </a:lnTo>
                              <a:cubicBezTo>
                                <a:pt x="3304" y="14709"/>
                                <a:pt x="0" y="11425"/>
                                <a:pt x="0" y="7355"/>
                              </a:cubicBezTo>
                              <a:cubicBezTo>
                                <a:pt x="0" y="3284"/>
                                <a:pt x="3284" y="0"/>
                                <a:pt x="7355" y="0"/>
                              </a:cubicBezTo>
                              <a:lnTo>
                                <a:pt x="237665" y="0"/>
                              </a:lnTo>
                              <a:lnTo>
                                <a:pt x="217785" y="14690"/>
                              </a:lnTo>
                              <a:close/>
                            </a:path>
                          </a:pathLst>
                        </a:custGeom>
                        <a:solidFill>
                          <a:srgbClr val="FFFF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94" name="Freeform: Shape 893">
                          <a:extLst>
                            <a:ext uri="{FF2B5EF4-FFF2-40B4-BE49-F238E27FC236}">
                              <a16:creationId xmlns:a16="http://schemas.microsoft.com/office/drawing/2014/main" id="{00EB0EBA-3C13-4994-A82F-CC9E53628CA8}"/>
                            </a:ext>
                          </a:extLst>
                        </p:cNvPr>
                        <p:cNvSpPr/>
                        <p:nvPr/>
                      </p:nvSpPr>
                      <p:spPr>
                        <a:xfrm>
                          <a:off x="10143409" y="10957867"/>
                          <a:ext cx="88569" cy="14709"/>
                        </a:xfrm>
                        <a:custGeom>
                          <a:avLst/>
                          <a:gdLst>
                            <a:gd name="connsiteX0" fmla="*/ 78639 w 88569"/>
                            <a:gd name="connsiteY0" fmla="*/ 14709 h 14709"/>
                            <a:gd name="connsiteX1" fmla="*/ 7355 w 88569"/>
                            <a:gd name="connsiteY1" fmla="*/ 14709 h 14709"/>
                            <a:gd name="connsiteX2" fmla="*/ 0 w 88569"/>
                            <a:gd name="connsiteY2" fmla="*/ 7355 h 14709"/>
                            <a:gd name="connsiteX3" fmla="*/ 7355 w 88569"/>
                            <a:gd name="connsiteY3" fmla="*/ 0 h 14709"/>
                            <a:gd name="connsiteX4" fmla="*/ 88569 w 88569"/>
                            <a:gd name="connsiteY4" fmla="*/ 0 h 14709"/>
                            <a:gd name="connsiteX5" fmla="*/ 78639 w 88569"/>
                            <a:gd name="connsiteY5" fmla="*/ 14690 h 1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569" h="14709">
                              <a:moveTo>
                                <a:pt x="78639" y="14709"/>
                              </a:moveTo>
                              <a:lnTo>
                                <a:pt x="7355" y="14709"/>
                              </a:lnTo>
                              <a:cubicBezTo>
                                <a:pt x="3304" y="14709"/>
                                <a:pt x="0" y="11425"/>
                                <a:pt x="0" y="7355"/>
                              </a:cubicBezTo>
                              <a:cubicBezTo>
                                <a:pt x="0" y="3284"/>
                                <a:pt x="3284" y="0"/>
                                <a:pt x="7355" y="0"/>
                              </a:cubicBezTo>
                              <a:lnTo>
                                <a:pt x="88569" y="0"/>
                              </a:lnTo>
                              <a:lnTo>
                                <a:pt x="78639" y="14690"/>
                              </a:lnTo>
                              <a:close/>
                            </a:path>
                          </a:pathLst>
                        </a:custGeom>
                        <a:solidFill>
                          <a:srgbClr val="8CAD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sp>
                  <p:nvSpPr>
                    <p:cNvPr id="886" name="Freeform: Shape 885">
                      <a:extLst>
                        <a:ext uri="{FF2B5EF4-FFF2-40B4-BE49-F238E27FC236}">
                          <a16:creationId xmlns:a16="http://schemas.microsoft.com/office/drawing/2014/main" id="{8C5AA6B3-FDB7-422F-9BBF-9EB269523CCB}"/>
                        </a:ext>
                      </a:extLst>
                    </p:cNvPr>
                    <p:cNvSpPr/>
                    <p:nvPr/>
                  </p:nvSpPr>
                  <p:spPr>
                    <a:xfrm>
                      <a:off x="10236481" y="11047714"/>
                      <a:ext cx="60645" cy="21512"/>
                    </a:xfrm>
                    <a:custGeom>
                      <a:avLst/>
                      <a:gdLst>
                        <a:gd name="connsiteX0" fmla="*/ 10756 w 60645"/>
                        <a:gd name="connsiteY0" fmla="*/ 21513 h 21512"/>
                        <a:gd name="connsiteX1" fmla="*/ 49889 w 60645"/>
                        <a:gd name="connsiteY1" fmla="*/ 21513 h 21512"/>
                        <a:gd name="connsiteX2" fmla="*/ 60645 w 60645"/>
                        <a:gd name="connsiteY2" fmla="*/ 10756 h 21512"/>
                        <a:gd name="connsiteX3" fmla="*/ 49889 w 60645"/>
                        <a:gd name="connsiteY3" fmla="*/ 0 h 21512"/>
                        <a:gd name="connsiteX4" fmla="*/ 10756 w 60645"/>
                        <a:gd name="connsiteY4" fmla="*/ 0 h 21512"/>
                        <a:gd name="connsiteX5" fmla="*/ 0 w 60645"/>
                        <a:gd name="connsiteY5" fmla="*/ 10756 h 21512"/>
                        <a:gd name="connsiteX6" fmla="*/ 10756 w 60645"/>
                        <a:gd name="connsiteY6" fmla="*/ 21513 h 2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45" h="21512">
                          <a:moveTo>
                            <a:pt x="10756" y="21513"/>
                          </a:moveTo>
                          <a:lnTo>
                            <a:pt x="49889" y="21513"/>
                          </a:lnTo>
                          <a:cubicBezTo>
                            <a:pt x="55828" y="21513"/>
                            <a:pt x="60645" y="16695"/>
                            <a:pt x="60645" y="10756"/>
                          </a:cubicBezTo>
                          <a:cubicBezTo>
                            <a:pt x="60645" y="4818"/>
                            <a:pt x="55828" y="0"/>
                            <a:pt x="49889" y="0"/>
                          </a:cubicBezTo>
                          <a:lnTo>
                            <a:pt x="10756" y="0"/>
                          </a:lnTo>
                          <a:cubicBezTo>
                            <a:pt x="4817" y="0"/>
                            <a:pt x="0" y="4818"/>
                            <a:pt x="0" y="10756"/>
                          </a:cubicBezTo>
                          <a:cubicBezTo>
                            <a:pt x="0" y="16695"/>
                            <a:pt x="4817" y="21513"/>
                            <a:pt x="10756" y="21513"/>
                          </a:cubicBezTo>
                          <a:close/>
                        </a:path>
                      </a:pathLst>
                    </a:custGeom>
                    <a:solidFill>
                      <a:srgbClr val="F2F3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87" name="Freeform: Shape 886">
                      <a:extLst>
                        <a:ext uri="{FF2B5EF4-FFF2-40B4-BE49-F238E27FC236}">
                          <a16:creationId xmlns:a16="http://schemas.microsoft.com/office/drawing/2014/main" id="{97E4CBCD-8F12-4CB0-B949-DDFF1C92EBE3}"/>
                        </a:ext>
                      </a:extLst>
                    </p:cNvPr>
                    <p:cNvSpPr/>
                    <p:nvPr/>
                  </p:nvSpPr>
                  <p:spPr>
                    <a:xfrm>
                      <a:off x="10236481" y="11133589"/>
                      <a:ext cx="60645" cy="21513"/>
                    </a:xfrm>
                    <a:custGeom>
                      <a:avLst/>
                      <a:gdLst>
                        <a:gd name="connsiteX0" fmla="*/ 10756 w 60645"/>
                        <a:gd name="connsiteY0" fmla="*/ 21513 h 21513"/>
                        <a:gd name="connsiteX1" fmla="*/ 49889 w 60645"/>
                        <a:gd name="connsiteY1" fmla="*/ 21513 h 21513"/>
                        <a:gd name="connsiteX2" fmla="*/ 60645 w 60645"/>
                        <a:gd name="connsiteY2" fmla="*/ 10757 h 21513"/>
                        <a:gd name="connsiteX3" fmla="*/ 49889 w 60645"/>
                        <a:gd name="connsiteY3" fmla="*/ 0 h 21513"/>
                        <a:gd name="connsiteX4" fmla="*/ 10756 w 60645"/>
                        <a:gd name="connsiteY4" fmla="*/ 0 h 21513"/>
                        <a:gd name="connsiteX5" fmla="*/ 0 w 60645"/>
                        <a:gd name="connsiteY5" fmla="*/ 10757 h 21513"/>
                        <a:gd name="connsiteX6" fmla="*/ 10756 w 60645"/>
                        <a:gd name="connsiteY6" fmla="*/ 21513 h 2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45" h="21513">
                          <a:moveTo>
                            <a:pt x="10756" y="21513"/>
                          </a:moveTo>
                          <a:lnTo>
                            <a:pt x="49889" y="21513"/>
                          </a:lnTo>
                          <a:cubicBezTo>
                            <a:pt x="55828" y="21513"/>
                            <a:pt x="60645" y="16695"/>
                            <a:pt x="60645" y="10757"/>
                          </a:cubicBezTo>
                          <a:cubicBezTo>
                            <a:pt x="60645" y="4818"/>
                            <a:pt x="55828" y="0"/>
                            <a:pt x="49889" y="0"/>
                          </a:cubicBezTo>
                          <a:lnTo>
                            <a:pt x="10756" y="0"/>
                          </a:lnTo>
                          <a:cubicBezTo>
                            <a:pt x="4817" y="0"/>
                            <a:pt x="0" y="4818"/>
                            <a:pt x="0" y="10757"/>
                          </a:cubicBezTo>
                          <a:cubicBezTo>
                            <a:pt x="0" y="16695"/>
                            <a:pt x="4817" y="21513"/>
                            <a:pt x="10756" y="21513"/>
                          </a:cubicBezTo>
                          <a:close/>
                        </a:path>
                      </a:pathLst>
                    </a:custGeom>
                    <a:solidFill>
                      <a:srgbClr val="F2F3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88" name="Freeform: Shape 887">
                      <a:extLst>
                        <a:ext uri="{FF2B5EF4-FFF2-40B4-BE49-F238E27FC236}">
                          <a16:creationId xmlns:a16="http://schemas.microsoft.com/office/drawing/2014/main" id="{5572C147-D197-45C8-95F1-04047ABDD002}"/>
                        </a:ext>
                      </a:extLst>
                    </p:cNvPr>
                    <p:cNvSpPr/>
                    <p:nvPr/>
                  </p:nvSpPr>
                  <p:spPr>
                    <a:xfrm>
                      <a:off x="10236481" y="11219444"/>
                      <a:ext cx="60645" cy="21513"/>
                    </a:xfrm>
                    <a:custGeom>
                      <a:avLst/>
                      <a:gdLst>
                        <a:gd name="connsiteX0" fmla="*/ 10756 w 60645"/>
                        <a:gd name="connsiteY0" fmla="*/ 21513 h 21513"/>
                        <a:gd name="connsiteX1" fmla="*/ 49889 w 60645"/>
                        <a:gd name="connsiteY1" fmla="*/ 21513 h 21513"/>
                        <a:gd name="connsiteX2" fmla="*/ 60645 w 60645"/>
                        <a:gd name="connsiteY2" fmla="*/ 10756 h 21513"/>
                        <a:gd name="connsiteX3" fmla="*/ 49889 w 60645"/>
                        <a:gd name="connsiteY3" fmla="*/ 0 h 21513"/>
                        <a:gd name="connsiteX4" fmla="*/ 10756 w 60645"/>
                        <a:gd name="connsiteY4" fmla="*/ 0 h 21513"/>
                        <a:gd name="connsiteX5" fmla="*/ 0 w 60645"/>
                        <a:gd name="connsiteY5" fmla="*/ 10756 h 21513"/>
                        <a:gd name="connsiteX6" fmla="*/ 10756 w 60645"/>
                        <a:gd name="connsiteY6" fmla="*/ 21513 h 2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645" h="21513">
                          <a:moveTo>
                            <a:pt x="10756" y="21513"/>
                          </a:moveTo>
                          <a:lnTo>
                            <a:pt x="49889" y="21513"/>
                          </a:lnTo>
                          <a:cubicBezTo>
                            <a:pt x="55828" y="21513"/>
                            <a:pt x="60645" y="16695"/>
                            <a:pt x="60645" y="10756"/>
                          </a:cubicBezTo>
                          <a:cubicBezTo>
                            <a:pt x="60645" y="4818"/>
                            <a:pt x="55828" y="0"/>
                            <a:pt x="49889" y="0"/>
                          </a:cubicBezTo>
                          <a:lnTo>
                            <a:pt x="10756" y="0"/>
                          </a:lnTo>
                          <a:cubicBezTo>
                            <a:pt x="4817" y="0"/>
                            <a:pt x="0" y="4818"/>
                            <a:pt x="0" y="10756"/>
                          </a:cubicBezTo>
                          <a:cubicBezTo>
                            <a:pt x="0" y="16695"/>
                            <a:pt x="4817" y="21513"/>
                            <a:pt x="10756" y="21513"/>
                          </a:cubicBezTo>
                          <a:close/>
                        </a:path>
                      </a:pathLst>
                    </a:custGeom>
                    <a:solidFill>
                      <a:srgbClr val="F2F3F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860" name="Graphic 10">
                    <a:extLst>
                      <a:ext uri="{FF2B5EF4-FFF2-40B4-BE49-F238E27FC236}">
                        <a16:creationId xmlns:a16="http://schemas.microsoft.com/office/drawing/2014/main" id="{6E92CC9A-E5C6-4909-899E-D52B18095168}"/>
                      </a:ext>
                    </a:extLst>
                  </p:cNvPr>
                  <p:cNvGrpSpPr/>
                  <p:nvPr/>
                </p:nvGrpSpPr>
                <p:grpSpPr>
                  <a:xfrm>
                    <a:off x="9588597" y="10606914"/>
                    <a:ext cx="484511" cy="771261"/>
                    <a:chOff x="9588597" y="10606914"/>
                    <a:chExt cx="484511" cy="771261"/>
                  </a:xfrm>
                </p:grpSpPr>
                <p:grpSp>
                  <p:nvGrpSpPr>
                    <p:cNvPr id="861" name="Graphic 10">
                      <a:extLst>
                        <a:ext uri="{FF2B5EF4-FFF2-40B4-BE49-F238E27FC236}">
                          <a16:creationId xmlns:a16="http://schemas.microsoft.com/office/drawing/2014/main" id="{C3690DB2-2BDD-424D-AE24-E9C90AA7854B}"/>
                        </a:ext>
                      </a:extLst>
                    </p:cNvPr>
                    <p:cNvGrpSpPr/>
                    <p:nvPr/>
                  </p:nvGrpSpPr>
                  <p:grpSpPr>
                    <a:xfrm>
                      <a:off x="9658011" y="10606914"/>
                      <a:ext cx="415097" cy="771261"/>
                      <a:chOff x="9658011" y="10606914"/>
                      <a:chExt cx="415097" cy="771261"/>
                    </a:xfrm>
                  </p:grpSpPr>
                  <p:sp>
                    <p:nvSpPr>
                      <p:cNvPr id="865" name="Freeform: Shape 864">
                        <a:extLst>
                          <a:ext uri="{FF2B5EF4-FFF2-40B4-BE49-F238E27FC236}">
                            <a16:creationId xmlns:a16="http://schemas.microsoft.com/office/drawing/2014/main" id="{4B15498C-3DF7-4A27-8849-A76D1CD35FCA}"/>
                          </a:ext>
                        </a:extLst>
                      </p:cNvPr>
                      <p:cNvSpPr/>
                      <p:nvPr/>
                    </p:nvSpPr>
                    <p:spPr>
                      <a:xfrm>
                        <a:off x="9867929" y="11347381"/>
                        <a:ext cx="71460" cy="30794"/>
                      </a:xfrm>
                      <a:custGeom>
                        <a:avLst/>
                        <a:gdLst>
                          <a:gd name="connsiteX0" fmla="*/ 0 w 71460"/>
                          <a:gd name="connsiteY0" fmla="*/ 0 h 30794"/>
                          <a:gd name="connsiteX1" fmla="*/ 26075 w 71460"/>
                          <a:gd name="connsiteY1" fmla="*/ 0 h 30794"/>
                          <a:gd name="connsiteX2" fmla="*/ 50439 w 71460"/>
                          <a:gd name="connsiteY2" fmla="*/ 17147 h 30794"/>
                          <a:gd name="connsiteX3" fmla="*/ 71461 w 71460"/>
                          <a:gd name="connsiteY3" fmla="*/ 20608 h 30794"/>
                          <a:gd name="connsiteX4" fmla="*/ 71461 w 71460"/>
                          <a:gd name="connsiteY4" fmla="*/ 30794 h 30794"/>
                          <a:gd name="connsiteX5" fmla="*/ 0 w 71460"/>
                          <a:gd name="connsiteY5" fmla="*/ 30794 h 30794"/>
                          <a:gd name="connsiteX6" fmla="*/ 0 w 71460"/>
                          <a:gd name="connsiteY6" fmla="*/ 0 h 3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460" h="30794">
                            <a:moveTo>
                              <a:pt x="0" y="0"/>
                            </a:moveTo>
                            <a:lnTo>
                              <a:pt x="26075" y="0"/>
                            </a:lnTo>
                            <a:lnTo>
                              <a:pt x="50439" y="17147"/>
                            </a:lnTo>
                            <a:lnTo>
                              <a:pt x="71461" y="20608"/>
                            </a:lnTo>
                            <a:lnTo>
                              <a:pt x="71461" y="30794"/>
                            </a:lnTo>
                            <a:lnTo>
                              <a:pt x="0" y="30794"/>
                            </a:lnTo>
                            <a:lnTo>
                              <a:pt x="0"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66" name="Freeform: Shape 865">
                        <a:extLst>
                          <a:ext uri="{FF2B5EF4-FFF2-40B4-BE49-F238E27FC236}">
                            <a16:creationId xmlns:a16="http://schemas.microsoft.com/office/drawing/2014/main" id="{2538E9C8-09BB-4583-8CC5-C25372A01C32}"/>
                          </a:ext>
                        </a:extLst>
                      </p:cNvPr>
                      <p:cNvSpPr/>
                      <p:nvPr/>
                    </p:nvSpPr>
                    <p:spPr>
                      <a:xfrm>
                        <a:off x="10001628" y="11347381"/>
                        <a:ext cx="71480" cy="30794"/>
                      </a:xfrm>
                      <a:custGeom>
                        <a:avLst/>
                        <a:gdLst>
                          <a:gd name="connsiteX0" fmla="*/ 0 w 71480"/>
                          <a:gd name="connsiteY0" fmla="*/ 0 h 30794"/>
                          <a:gd name="connsiteX1" fmla="*/ 26095 w 71480"/>
                          <a:gd name="connsiteY1" fmla="*/ 0 h 30794"/>
                          <a:gd name="connsiteX2" fmla="*/ 50439 w 71480"/>
                          <a:gd name="connsiteY2" fmla="*/ 17147 h 30794"/>
                          <a:gd name="connsiteX3" fmla="*/ 71481 w 71480"/>
                          <a:gd name="connsiteY3" fmla="*/ 20608 h 30794"/>
                          <a:gd name="connsiteX4" fmla="*/ 71481 w 71480"/>
                          <a:gd name="connsiteY4" fmla="*/ 30794 h 30794"/>
                          <a:gd name="connsiteX5" fmla="*/ 0 w 71480"/>
                          <a:gd name="connsiteY5" fmla="*/ 30794 h 30794"/>
                          <a:gd name="connsiteX6" fmla="*/ 0 w 71480"/>
                          <a:gd name="connsiteY6" fmla="*/ 0 h 3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480" h="30794">
                            <a:moveTo>
                              <a:pt x="0" y="0"/>
                            </a:moveTo>
                            <a:lnTo>
                              <a:pt x="26095" y="0"/>
                            </a:lnTo>
                            <a:lnTo>
                              <a:pt x="50439" y="17147"/>
                            </a:lnTo>
                            <a:lnTo>
                              <a:pt x="71481" y="20608"/>
                            </a:lnTo>
                            <a:lnTo>
                              <a:pt x="71481" y="30794"/>
                            </a:lnTo>
                            <a:lnTo>
                              <a:pt x="0" y="30794"/>
                            </a:lnTo>
                            <a:lnTo>
                              <a:pt x="0"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867" name="Graphic 10">
                        <a:extLst>
                          <a:ext uri="{FF2B5EF4-FFF2-40B4-BE49-F238E27FC236}">
                            <a16:creationId xmlns:a16="http://schemas.microsoft.com/office/drawing/2014/main" id="{52962B1C-4580-4509-A8E1-41FA689B3B0F}"/>
                          </a:ext>
                        </a:extLst>
                      </p:cNvPr>
                      <p:cNvGrpSpPr/>
                      <p:nvPr/>
                    </p:nvGrpSpPr>
                    <p:grpSpPr>
                      <a:xfrm>
                        <a:off x="9767719" y="10631916"/>
                        <a:ext cx="89876" cy="135676"/>
                        <a:chOff x="9767719" y="10631916"/>
                        <a:chExt cx="89876" cy="135676"/>
                      </a:xfrm>
                    </p:grpSpPr>
                    <p:sp>
                      <p:nvSpPr>
                        <p:cNvPr id="881" name="Freeform: Shape 880">
                          <a:extLst>
                            <a:ext uri="{FF2B5EF4-FFF2-40B4-BE49-F238E27FC236}">
                              <a16:creationId xmlns:a16="http://schemas.microsoft.com/office/drawing/2014/main" id="{37035702-7276-4C19-AAC4-C3583EC44ED7}"/>
                            </a:ext>
                          </a:extLst>
                        </p:cNvPr>
                        <p:cNvSpPr/>
                        <p:nvPr/>
                      </p:nvSpPr>
                      <p:spPr>
                        <a:xfrm>
                          <a:off x="9767719" y="10695051"/>
                          <a:ext cx="40508" cy="72542"/>
                        </a:xfrm>
                        <a:custGeom>
                          <a:avLst/>
                          <a:gdLst>
                            <a:gd name="connsiteX0" fmla="*/ 40508 w 40508"/>
                            <a:gd name="connsiteY0" fmla="*/ 21100 h 72542"/>
                            <a:gd name="connsiteX1" fmla="*/ 34314 w 40508"/>
                            <a:gd name="connsiteY1" fmla="*/ 72542 h 72542"/>
                            <a:gd name="connsiteX2" fmla="*/ 0 w 40508"/>
                            <a:gd name="connsiteY2" fmla="*/ 45130 h 72542"/>
                            <a:gd name="connsiteX3" fmla="*/ 15259 w 40508"/>
                            <a:gd name="connsiteY3" fmla="*/ 0 h 72542"/>
                            <a:gd name="connsiteX4" fmla="*/ 40508 w 40508"/>
                            <a:gd name="connsiteY4" fmla="*/ 21100 h 72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08" h="72542">
                              <a:moveTo>
                                <a:pt x="40508" y="21100"/>
                              </a:moveTo>
                              <a:lnTo>
                                <a:pt x="34314" y="72542"/>
                              </a:lnTo>
                              <a:lnTo>
                                <a:pt x="0" y="45130"/>
                              </a:lnTo>
                              <a:lnTo>
                                <a:pt x="15259" y="0"/>
                              </a:lnTo>
                              <a:lnTo>
                                <a:pt x="40508" y="21100"/>
                              </a:lnTo>
                              <a:close/>
                            </a:path>
                          </a:pathLst>
                        </a:custGeom>
                        <a:solidFill>
                          <a:srgbClr val="F4ACC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82" name="Freeform: Shape 881">
                          <a:extLst>
                            <a:ext uri="{FF2B5EF4-FFF2-40B4-BE49-F238E27FC236}">
                              <a16:creationId xmlns:a16="http://schemas.microsoft.com/office/drawing/2014/main" id="{ADD3351D-317C-4662-B177-4D7D3F3489D6}"/>
                            </a:ext>
                          </a:extLst>
                        </p:cNvPr>
                        <p:cNvSpPr/>
                        <p:nvPr/>
                      </p:nvSpPr>
                      <p:spPr>
                        <a:xfrm>
                          <a:off x="9780835" y="10639557"/>
                          <a:ext cx="63279" cy="87712"/>
                        </a:xfrm>
                        <a:custGeom>
                          <a:avLst/>
                          <a:gdLst>
                            <a:gd name="connsiteX0" fmla="*/ 48237 w 63279"/>
                            <a:gd name="connsiteY0" fmla="*/ 78815 h 87712"/>
                            <a:gd name="connsiteX1" fmla="*/ 23656 w 63279"/>
                            <a:gd name="connsiteY1" fmla="*/ 82906 h 87712"/>
                            <a:gd name="connsiteX2" fmla="*/ 3421 w 63279"/>
                            <a:gd name="connsiteY2" fmla="*/ 62140 h 87712"/>
                            <a:gd name="connsiteX3" fmla="*/ 0 w 63279"/>
                            <a:gd name="connsiteY3" fmla="*/ 25682 h 87712"/>
                            <a:gd name="connsiteX4" fmla="*/ 19940 w 63279"/>
                            <a:gd name="connsiteY4" fmla="*/ 0 h 87712"/>
                            <a:gd name="connsiteX5" fmla="*/ 63280 w 63279"/>
                            <a:gd name="connsiteY5" fmla="*/ 12900 h 87712"/>
                            <a:gd name="connsiteX6" fmla="*/ 48217 w 63279"/>
                            <a:gd name="connsiteY6" fmla="*/ 78815 h 8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79" h="87712">
                              <a:moveTo>
                                <a:pt x="48237" y="78815"/>
                              </a:moveTo>
                              <a:cubicBezTo>
                                <a:pt x="46565" y="86779"/>
                                <a:pt x="37147" y="92010"/>
                                <a:pt x="23656" y="82906"/>
                              </a:cubicBezTo>
                              <a:lnTo>
                                <a:pt x="3421" y="62140"/>
                              </a:lnTo>
                              <a:lnTo>
                                <a:pt x="0" y="25682"/>
                              </a:lnTo>
                              <a:lnTo>
                                <a:pt x="19940" y="0"/>
                              </a:lnTo>
                              <a:lnTo>
                                <a:pt x="63280" y="12900"/>
                              </a:lnTo>
                              <a:lnTo>
                                <a:pt x="48217" y="78815"/>
                              </a:lnTo>
                              <a:close/>
                            </a:path>
                          </a:pathLst>
                        </a:custGeom>
                        <a:solidFill>
                          <a:srgbClr val="F4ACC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83" name="Freeform: Shape 882">
                          <a:extLst>
                            <a:ext uri="{FF2B5EF4-FFF2-40B4-BE49-F238E27FC236}">
                              <a16:creationId xmlns:a16="http://schemas.microsoft.com/office/drawing/2014/main" id="{AE7CB7D1-CAB5-42C0-AC16-6176F2BADB9F}"/>
                            </a:ext>
                          </a:extLst>
                        </p:cNvPr>
                        <p:cNvSpPr/>
                        <p:nvPr/>
                      </p:nvSpPr>
                      <p:spPr>
                        <a:xfrm>
                          <a:off x="9774768" y="10631916"/>
                          <a:ext cx="82827" cy="76892"/>
                        </a:xfrm>
                        <a:custGeom>
                          <a:avLst/>
                          <a:gdLst>
                            <a:gd name="connsiteX0" fmla="*/ 28957 w 82827"/>
                            <a:gd name="connsiteY0" fmla="*/ 936 h 76892"/>
                            <a:gd name="connsiteX1" fmla="*/ 71353 w 82827"/>
                            <a:gd name="connsiteY1" fmla="*/ 10788 h 76892"/>
                            <a:gd name="connsiteX2" fmla="*/ 82798 w 82827"/>
                            <a:gd name="connsiteY2" fmla="*/ 11201 h 76892"/>
                            <a:gd name="connsiteX3" fmla="*/ 68442 w 82827"/>
                            <a:gd name="connsiteY3" fmla="*/ 33775 h 76892"/>
                            <a:gd name="connsiteX4" fmla="*/ 50588 w 82827"/>
                            <a:gd name="connsiteY4" fmla="*/ 34365 h 76892"/>
                            <a:gd name="connsiteX5" fmla="*/ 41522 w 82827"/>
                            <a:gd name="connsiteY5" fmla="*/ 61581 h 76892"/>
                            <a:gd name="connsiteX6" fmla="*/ 8643 w 82827"/>
                            <a:gd name="connsiteY6" fmla="*/ 73301 h 76892"/>
                            <a:gd name="connsiteX7" fmla="*/ 8446 w 82827"/>
                            <a:gd name="connsiteY7" fmla="*/ 73164 h 76892"/>
                            <a:gd name="connsiteX8" fmla="*/ 2095 w 82827"/>
                            <a:gd name="connsiteY8" fmla="*/ 58081 h 76892"/>
                            <a:gd name="connsiteX9" fmla="*/ 50 w 82827"/>
                            <a:gd name="connsiteY9" fmla="*/ 30865 h 76892"/>
                            <a:gd name="connsiteX10" fmla="*/ 28976 w 82827"/>
                            <a:gd name="connsiteY10" fmla="*/ 955 h 76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2827" h="76892">
                              <a:moveTo>
                                <a:pt x="28957" y="936"/>
                              </a:moveTo>
                              <a:lnTo>
                                <a:pt x="71353" y="10788"/>
                              </a:lnTo>
                              <a:lnTo>
                                <a:pt x="82798" y="11201"/>
                              </a:lnTo>
                              <a:cubicBezTo>
                                <a:pt x="83112" y="23333"/>
                                <a:pt x="81048" y="33323"/>
                                <a:pt x="68442" y="33775"/>
                              </a:cubicBezTo>
                              <a:lnTo>
                                <a:pt x="50588" y="34365"/>
                              </a:lnTo>
                              <a:lnTo>
                                <a:pt x="41522" y="61581"/>
                              </a:lnTo>
                              <a:cubicBezTo>
                                <a:pt x="36960" y="75248"/>
                                <a:pt x="20600" y="81324"/>
                                <a:pt x="8643" y="73301"/>
                              </a:cubicBezTo>
                              <a:cubicBezTo>
                                <a:pt x="8584" y="73262"/>
                                <a:pt x="8505" y="73203"/>
                                <a:pt x="8446" y="73164"/>
                              </a:cubicBezTo>
                              <a:cubicBezTo>
                                <a:pt x="2232" y="69211"/>
                                <a:pt x="2645" y="65416"/>
                                <a:pt x="2095" y="58081"/>
                              </a:cubicBezTo>
                              <a:lnTo>
                                <a:pt x="50" y="30865"/>
                              </a:lnTo>
                              <a:cubicBezTo>
                                <a:pt x="-836" y="8585"/>
                                <a:pt x="10158" y="-3626"/>
                                <a:pt x="28976" y="955"/>
                              </a:cubicBez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868" name="Freeform: Shape 867">
                        <a:extLst>
                          <a:ext uri="{FF2B5EF4-FFF2-40B4-BE49-F238E27FC236}">
                            <a16:creationId xmlns:a16="http://schemas.microsoft.com/office/drawing/2014/main" id="{FB95AEB4-B345-411A-B7DD-8C42C8F2BD3B}"/>
                          </a:ext>
                        </a:extLst>
                      </p:cNvPr>
                      <p:cNvSpPr/>
                      <p:nvPr/>
                    </p:nvSpPr>
                    <p:spPr>
                      <a:xfrm>
                        <a:off x="9664456" y="10721014"/>
                        <a:ext cx="225516" cy="238249"/>
                      </a:xfrm>
                      <a:custGeom>
                        <a:avLst/>
                        <a:gdLst>
                          <a:gd name="connsiteX0" fmla="*/ 136574 w 225516"/>
                          <a:gd name="connsiteY0" fmla="*/ 238249 h 238249"/>
                          <a:gd name="connsiteX1" fmla="*/ 225517 w 225516"/>
                          <a:gd name="connsiteY1" fmla="*/ 58732 h 238249"/>
                          <a:gd name="connsiteX2" fmla="*/ 19963 w 225516"/>
                          <a:gd name="connsiteY2" fmla="*/ 8371 h 238249"/>
                          <a:gd name="connsiteX3" fmla="*/ 948 w 225516"/>
                          <a:gd name="connsiteY3" fmla="*/ 229381 h 238249"/>
                          <a:gd name="connsiteX4" fmla="*/ 136574 w 225516"/>
                          <a:gd name="connsiteY4" fmla="*/ 238249 h 238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516" h="238249">
                            <a:moveTo>
                              <a:pt x="136574" y="238249"/>
                            </a:moveTo>
                            <a:cubicBezTo>
                              <a:pt x="136574" y="238249"/>
                              <a:pt x="214210" y="92142"/>
                              <a:pt x="225517" y="58732"/>
                            </a:cubicBezTo>
                            <a:cubicBezTo>
                              <a:pt x="175215" y="18341"/>
                              <a:pt x="85604" y="-16564"/>
                              <a:pt x="19963" y="8371"/>
                            </a:cubicBezTo>
                            <a:cubicBezTo>
                              <a:pt x="-6426" y="55762"/>
                              <a:pt x="948" y="160201"/>
                              <a:pt x="948" y="229381"/>
                            </a:cubicBezTo>
                            <a:lnTo>
                              <a:pt x="136574" y="238249"/>
                            </a:ln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69" name="Freeform: Shape 868">
                        <a:extLst>
                          <a:ext uri="{FF2B5EF4-FFF2-40B4-BE49-F238E27FC236}">
                            <a16:creationId xmlns:a16="http://schemas.microsoft.com/office/drawing/2014/main" id="{680D9535-9F22-4B73-891A-0FC42AE7647E}"/>
                          </a:ext>
                        </a:extLst>
                      </p:cNvPr>
                      <p:cNvSpPr/>
                      <p:nvPr/>
                    </p:nvSpPr>
                    <p:spPr>
                      <a:xfrm>
                        <a:off x="9658030" y="10940916"/>
                        <a:ext cx="153599" cy="91007"/>
                      </a:xfrm>
                      <a:custGeom>
                        <a:avLst/>
                        <a:gdLst>
                          <a:gd name="connsiteX0" fmla="*/ 7394 w 153599"/>
                          <a:gd name="connsiteY0" fmla="*/ 9459 h 91007"/>
                          <a:gd name="connsiteX1" fmla="*/ 142961 w 153599"/>
                          <a:gd name="connsiteY1" fmla="*/ 0 h 91007"/>
                          <a:gd name="connsiteX2" fmla="*/ 153599 w 153599"/>
                          <a:gd name="connsiteY2" fmla="*/ 91007 h 91007"/>
                          <a:gd name="connsiteX3" fmla="*/ 0 w 153599"/>
                          <a:gd name="connsiteY3" fmla="*/ 91007 h 91007"/>
                          <a:gd name="connsiteX4" fmla="*/ 7394 w 153599"/>
                          <a:gd name="connsiteY4" fmla="*/ 9459 h 91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599" h="91007">
                            <a:moveTo>
                              <a:pt x="7394" y="9459"/>
                            </a:moveTo>
                            <a:lnTo>
                              <a:pt x="142961" y="0"/>
                            </a:lnTo>
                            <a:lnTo>
                              <a:pt x="153599" y="91007"/>
                            </a:lnTo>
                            <a:lnTo>
                              <a:pt x="0" y="91007"/>
                            </a:lnTo>
                            <a:lnTo>
                              <a:pt x="7394" y="9459"/>
                            </a:ln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870" name="Graphic 10">
                        <a:extLst>
                          <a:ext uri="{FF2B5EF4-FFF2-40B4-BE49-F238E27FC236}">
                            <a16:creationId xmlns:a16="http://schemas.microsoft.com/office/drawing/2014/main" id="{F0B2D997-A46B-4EB5-BCE8-4D2333745409}"/>
                          </a:ext>
                        </a:extLst>
                      </p:cNvPr>
                      <p:cNvGrpSpPr/>
                      <p:nvPr/>
                    </p:nvGrpSpPr>
                    <p:grpSpPr>
                      <a:xfrm>
                        <a:off x="9827795" y="10773299"/>
                        <a:ext cx="188739" cy="198818"/>
                        <a:chOff x="9827795" y="10773299"/>
                        <a:chExt cx="188739" cy="198818"/>
                      </a:xfrm>
                    </p:grpSpPr>
                    <p:sp>
                      <p:nvSpPr>
                        <p:cNvPr id="878" name="Freeform: Shape 877">
                          <a:extLst>
                            <a:ext uri="{FF2B5EF4-FFF2-40B4-BE49-F238E27FC236}">
                              <a16:creationId xmlns:a16="http://schemas.microsoft.com/office/drawing/2014/main" id="{7E540C0C-95C6-44A4-AA81-D51CF2D00FE9}"/>
                            </a:ext>
                          </a:extLst>
                        </p:cNvPr>
                        <p:cNvSpPr/>
                        <p:nvPr/>
                      </p:nvSpPr>
                      <p:spPr>
                        <a:xfrm>
                          <a:off x="9827795" y="10773299"/>
                          <a:ext cx="71257" cy="187871"/>
                        </a:xfrm>
                        <a:custGeom>
                          <a:avLst/>
                          <a:gdLst>
                            <a:gd name="connsiteX0" fmla="*/ 44323 w 71257"/>
                            <a:gd name="connsiteY0" fmla="*/ 187852 h 187871"/>
                            <a:gd name="connsiteX1" fmla="*/ 15397 w 71257"/>
                            <a:gd name="connsiteY1" fmla="*/ 185374 h 187871"/>
                            <a:gd name="connsiteX2" fmla="*/ 176 w 71257"/>
                            <a:gd name="connsiteY2" fmla="*/ 52107 h 187871"/>
                            <a:gd name="connsiteX3" fmla="*/ 62179 w 71257"/>
                            <a:gd name="connsiteY3" fmla="*/ 6446 h 187871"/>
                            <a:gd name="connsiteX4" fmla="*/ 51147 w 71257"/>
                            <a:gd name="connsiteY4" fmla="*/ 178550 h 187871"/>
                            <a:gd name="connsiteX5" fmla="*/ 44323 w 71257"/>
                            <a:gd name="connsiteY5" fmla="*/ 187871 h 18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257" h="187871">
                              <a:moveTo>
                                <a:pt x="44323" y="187852"/>
                              </a:moveTo>
                              <a:lnTo>
                                <a:pt x="15397" y="185374"/>
                              </a:lnTo>
                              <a:cubicBezTo>
                                <a:pt x="15397" y="185374"/>
                                <a:pt x="1789" y="106303"/>
                                <a:pt x="176" y="52107"/>
                              </a:cubicBezTo>
                              <a:cubicBezTo>
                                <a:pt x="-2970" y="-947"/>
                                <a:pt x="36812" y="-7771"/>
                                <a:pt x="62179" y="6446"/>
                              </a:cubicBezTo>
                              <a:cubicBezTo>
                                <a:pt x="85068" y="21195"/>
                                <a:pt x="58324" y="124257"/>
                                <a:pt x="51147" y="178550"/>
                              </a:cubicBezTo>
                              <a:lnTo>
                                <a:pt x="44323" y="187871"/>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79" name="Freeform: Shape 878">
                          <a:extLst>
                            <a:ext uri="{FF2B5EF4-FFF2-40B4-BE49-F238E27FC236}">
                              <a16:creationId xmlns:a16="http://schemas.microsoft.com/office/drawing/2014/main" id="{097D685C-F996-4950-8E83-6A7C85A6A260}"/>
                            </a:ext>
                          </a:extLst>
                        </p:cNvPr>
                        <p:cNvSpPr/>
                        <p:nvPr/>
                      </p:nvSpPr>
                      <p:spPr>
                        <a:xfrm>
                          <a:off x="9843191" y="10928016"/>
                          <a:ext cx="125085" cy="44101"/>
                        </a:xfrm>
                        <a:custGeom>
                          <a:avLst/>
                          <a:gdLst>
                            <a:gd name="connsiteX0" fmla="*/ 19605 w 125085"/>
                            <a:gd name="connsiteY0" fmla="*/ 0 h 44101"/>
                            <a:gd name="connsiteX1" fmla="*/ 125086 w 125085"/>
                            <a:gd name="connsiteY1" fmla="*/ 22162 h 44101"/>
                            <a:gd name="connsiteX2" fmla="*/ 123277 w 125085"/>
                            <a:gd name="connsiteY2" fmla="*/ 36222 h 44101"/>
                            <a:gd name="connsiteX3" fmla="*/ 0 w 125085"/>
                            <a:gd name="connsiteY3" fmla="*/ 30637 h 44101"/>
                            <a:gd name="connsiteX4" fmla="*/ 19605 w 125085"/>
                            <a:gd name="connsiteY4" fmla="*/ 0 h 44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85" h="44101">
                              <a:moveTo>
                                <a:pt x="19605" y="0"/>
                              </a:moveTo>
                              <a:lnTo>
                                <a:pt x="125086" y="22162"/>
                              </a:lnTo>
                              <a:lnTo>
                                <a:pt x="123277" y="36222"/>
                              </a:lnTo>
                              <a:cubicBezTo>
                                <a:pt x="89258" y="45169"/>
                                <a:pt x="20156" y="50145"/>
                                <a:pt x="0" y="30637"/>
                              </a:cubicBezTo>
                              <a:lnTo>
                                <a:pt x="19605" y="0"/>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80" name="Freeform: Shape 879">
                          <a:extLst>
                            <a:ext uri="{FF2B5EF4-FFF2-40B4-BE49-F238E27FC236}">
                              <a16:creationId xmlns:a16="http://schemas.microsoft.com/office/drawing/2014/main" id="{01EC0122-CB72-4A65-8504-8AA11C32A211}"/>
                            </a:ext>
                          </a:extLst>
                        </p:cNvPr>
                        <p:cNvSpPr/>
                        <p:nvPr/>
                      </p:nvSpPr>
                      <p:spPr>
                        <a:xfrm>
                          <a:off x="9965504" y="10942489"/>
                          <a:ext cx="51029" cy="21768"/>
                        </a:xfrm>
                        <a:custGeom>
                          <a:avLst/>
                          <a:gdLst>
                            <a:gd name="connsiteX0" fmla="*/ 0 w 51029"/>
                            <a:gd name="connsiteY0" fmla="*/ 7610 h 21768"/>
                            <a:gd name="connsiteX1" fmla="*/ 25132 w 51029"/>
                            <a:gd name="connsiteY1" fmla="*/ 0 h 21768"/>
                            <a:gd name="connsiteX2" fmla="*/ 45052 w 51029"/>
                            <a:gd name="connsiteY2" fmla="*/ 8298 h 21768"/>
                            <a:gd name="connsiteX3" fmla="*/ 51030 w 51029"/>
                            <a:gd name="connsiteY3" fmla="*/ 20077 h 21768"/>
                            <a:gd name="connsiteX4" fmla="*/ 37068 w 51029"/>
                            <a:gd name="connsiteY4" fmla="*/ 15849 h 21768"/>
                            <a:gd name="connsiteX5" fmla="*/ 983 w 51029"/>
                            <a:gd name="connsiteY5" fmla="*/ 21769 h 21768"/>
                            <a:gd name="connsiteX6" fmla="*/ 0 w 51029"/>
                            <a:gd name="connsiteY6" fmla="*/ 7610 h 2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29" h="21768">
                              <a:moveTo>
                                <a:pt x="0" y="7610"/>
                              </a:moveTo>
                              <a:lnTo>
                                <a:pt x="25132" y="0"/>
                              </a:lnTo>
                              <a:lnTo>
                                <a:pt x="45052" y="8298"/>
                              </a:lnTo>
                              <a:lnTo>
                                <a:pt x="51030" y="20077"/>
                              </a:lnTo>
                              <a:lnTo>
                                <a:pt x="37068" y="15849"/>
                              </a:lnTo>
                              <a:lnTo>
                                <a:pt x="983" y="21769"/>
                              </a:lnTo>
                              <a:lnTo>
                                <a:pt x="0" y="7610"/>
                              </a:lnTo>
                              <a:close/>
                            </a:path>
                          </a:pathLst>
                        </a:custGeom>
                        <a:solidFill>
                          <a:srgbClr val="F4ACC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871" name="Graphic 10">
                        <a:extLst>
                          <a:ext uri="{FF2B5EF4-FFF2-40B4-BE49-F238E27FC236}">
                            <a16:creationId xmlns:a16="http://schemas.microsoft.com/office/drawing/2014/main" id="{9D72B557-F175-4A4B-8E36-B84D7766B0AD}"/>
                          </a:ext>
                        </a:extLst>
                      </p:cNvPr>
                      <p:cNvGrpSpPr/>
                      <p:nvPr/>
                    </p:nvGrpSpPr>
                    <p:grpSpPr>
                      <a:xfrm>
                        <a:off x="9658011" y="11024038"/>
                        <a:ext cx="378757" cy="323324"/>
                        <a:chOff x="9658011" y="11024038"/>
                        <a:chExt cx="378757" cy="323324"/>
                      </a:xfrm>
                      <a:solidFill>
                        <a:srgbClr val="214178"/>
                      </a:solidFill>
                    </p:grpSpPr>
                    <p:sp>
                      <p:nvSpPr>
                        <p:cNvPr id="876" name="Freeform: Shape 875">
                          <a:extLst>
                            <a:ext uri="{FF2B5EF4-FFF2-40B4-BE49-F238E27FC236}">
                              <a16:creationId xmlns:a16="http://schemas.microsoft.com/office/drawing/2014/main" id="{D45C8589-363D-4FCA-8267-CD225876E3F1}"/>
                            </a:ext>
                          </a:extLst>
                        </p:cNvPr>
                        <p:cNvSpPr/>
                        <p:nvPr/>
                      </p:nvSpPr>
                      <p:spPr>
                        <a:xfrm>
                          <a:off x="9674489" y="11024038"/>
                          <a:ext cx="253730" cy="323324"/>
                        </a:xfrm>
                        <a:custGeom>
                          <a:avLst/>
                          <a:gdLst>
                            <a:gd name="connsiteX0" fmla="*/ 222248 w 253730"/>
                            <a:gd name="connsiteY0" fmla="*/ 20 h 323324"/>
                            <a:gd name="connsiteX1" fmla="*/ 253731 w 253730"/>
                            <a:gd name="connsiteY1" fmla="*/ 36556 h 323324"/>
                            <a:gd name="connsiteX2" fmla="*/ 228069 w 253730"/>
                            <a:gd name="connsiteY2" fmla="*/ 323324 h 323324"/>
                            <a:gd name="connsiteX3" fmla="*/ 187560 w 253730"/>
                            <a:gd name="connsiteY3" fmla="*/ 323324 h 323324"/>
                            <a:gd name="connsiteX4" fmla="*/ 170334 w 253730"/>
                            <a:gd name="connsiteY4" fmla="*/ 85619 h 323324"/>
                            <a:gd name="connsiteX5" fmla="*/ 68255 w 253730"/>
                            <a:gd name="connsiteY5" fmla="*/ 95629 h 323324"/>
                            <a:gd name="connsiteX6" fmla="*/ 0 w 253730"/>
                            <a:gd name="connsiteY6" fmla="*/ 0 h 323324"/>
                            <a:gd name="connsiteX7" fmla="*/ 222228 w 253730"/>
                            <a:gd name="connsiteY7" fmla="*/ 0 h 32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730" h="323324">
                              <a:moveTo>
                                <a:pt x="222248" y="20"/>
                              </a:moveTo>
                              <a:cubicBezTo>
                                <a:pt x="244095" y="20"/>
                                <a:pt x="253731" y="26705"/>
                                <a:pt x="253731" y="36556"/>
                              </a:cubicBezTo>
                              <a:lnTo>
                                <a:pt x="228069" y="323324"/>
                              </a:lnTo>
                              <a:lnTo>
                                <a:pt x="187560" y="323324"/>
                              </a:lnTo>
                              <a:cubicBezTo>
                                <a:pt x="173028" y="246101"/>
                                <a:pt x="165143" y="152931"/>
                                <a:pt x="170334" y="85619"/>
                              </a:cubicBezTo>
                              <a:cubicBezTo>
                                <a:pt x="126128" y="90181"/>
                                <a:pt x="107054" y="95629"/>
                                <a:pt x="68255" y="95629"/>
                              </a:cubicBezTo>
                              <a:cubicBezTo>
                                <a:pt x="11110" y="95629"/>
                                <a:pt x="0" y="43891"/>
                                <a:pt x="0" y="0"/>
                              </a:cubicBezTo>
                              <a:lnTo>
                                <a:pt x="222228" y="0"/>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77" name="Freeform: Shape 876">
                          <a:extLst>
                            <a:ext uri="{FF2B5EF4-FFF2-40B4-BE49-F238E27FC236}">
                              <a16:creationId xmlns:a16="http://schemas.microsoft.com/office/drawing/2014/main" id="{47278E99-B7FE-4A6C-B742-F0CB14F4C7B4}"/>
                            </a:ext>
                          </a:extLst>
                        </p:cNvPr>
                        <p:cNvSpPr/>
                        <p:nvPr/>
                      </p:nvSpPr>
                      <p:spPr>
                        <a:xfrm>
                          <a:off x="9658011" y="11024038"/>
                          <a:ext cx="378757" cy="323324"/>
                        </a:xfrm>
                        <a:custGeom>
                          <a:avLst/>
                          <a:gdLst>
                            <a:gd name="connsiteX0" fmla="*/ 316913 w 378757"/>
                            <a:gd name="connsiteY0" fmla="*/ 20 h 323324"/>
                            <a:gd name="connsiteX1" fmla="*/ 353037 w 378757"/>
                            <a:gd name="connsiteY1" fmla="*/ 36556 h 323324"/>
                            <a:gd name="connsiteX2" fmla="*/ 378758 w 378757"/>
                            <a:gd name="connsiteY2" fmla="*/ 323324 h 323324"/>
                            <a:gd name="connsiteX3" fmla="*/ 333824 w 378757"/>
                            <a:gd name="connsiteY3" fmla="*/ 323324 h 323324"/>
                            <a:gd name="connsiteX4" fmla="*/ 263819 w 378757"/>
                            <a:gd name="connsiteY4" fmla="*/ 83535 h 323324"/>
                            <a:gd name="connsiteX5" fmla="*/ 82413 w 378757"/>
                            <a:gd name="connsiteY5" fmla="*/ 95629 h 323324"/>
                            <a:gd name="connsiteX6" fmla="*/ 0 w 378757"/>
                            <a:gd name="connsiteY6" fmla="*/ 0 h 323324"/>
                            <a:gd name="connsiteX7" fmla="*/ 316913 w 378757"/>
                            <a:gd name="connsiteY7" fmla="*/ 0 h 323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8757" h="323324">
                              <a:moveTo>
                                <a:pt x="316913" y="20"/>
                              </a:moveTo>
                              <a:cubicBezTo>
                                <a:pt x="338761" y="20"/>
                                <a:pt x="351425" y="26705"/>
                                <a:pt x="353037" y="36556"/>
                              </a:cubicBezTo>
                              <a:lnTo>
                                <a:pt x="378758" y="323324"/>
                              </a:lnTo>
                              <a:lnTo>
                                <a:pt x="333824" y="323324"/>
                              </a:lnTo>
                              <a:cubicBezTo>
                                <a:pt x="305705" y="250880"/>
                                <a:pt x="271076" y="150729"/>
                                <a:pt x="263819" y="83535"/>
                              </a:cubicBezTo>
                              <a:cubicBezTo>
                                <a:pt x="197589" y="88294"/>
                                <a:pt x="127386" y="95629"/>
                                <a:pt x="82413" y="95629"/>
                              </a:cubicBezTo>
                              <a:cubicBezTo>
                                <a:pt x="25269" y="95629"/>
                                <a:pt x="0" y="49004"/>
                                <a:pt x="0" y="0"/>
                              </a:cubicBezTo>
                              <a:lnTo>
                                <a:pt x="316913" y="0"/>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872" name="Graphic 10">
                        <a:extLst>
                          <a:ext uri="{FF2B5EF4-FFF2-40B4-BE49-F238E27FC236}">
                            <a16:creationId xmlns:a16="http://schemas.microsoft.com/office/drawing/2014/main" id="{2842B7D9-B40F-4A25-AEBC-A159B9FEA9EA}"/>
                          </a:ext>
                        </a:extLst>
                      </p:cNvPr>
                      <p:cNvGrpSpPr/>
                      <p:nvPr/>
                    </p:nvGrpSpPr>
                    <p:grpSpPr>
                      <a:xfrm>
                        <a:off x="9765241" y="10606914"/>
                        <a:ext cx="101823" cy="47765"/>
                        <a:chOff x="9765241" y="10606914"/>
                        <a:chExt cx="101823" cy="47765"/>
                      </a:xfrm>
                    </p:grpSpPr>
                    <p:sp>
                      <p:nvSpPr>
                        <p:cNvPr id="873" name="Freeform: Shape 872">
                          <a:extLst>
                            <a:ext uri="{FF2B5EF4-FFF2-40B4-BE49-F238E27FC236}">
                              <a16:creationId xmlns:a16="http://schemas.microsoft.com/office/drawing/2014/main" id="{D00DF4B8-8C2C-4844-B504-7486CEE49D50}"/>
                            </a:ext>
                          </a:extLst>
                        </p:cNvPr>
                        <p:cNvSpPr/>
                        <p:nvPr/>
                      </p:nvSpPr>
                      <p:spPr>
                        <a:xfrm>
                          <a:off x="9769016" y="10606914"/>
                          <a:ext cx="90713" cy="39761"/>
                        </a:xfrm>
                        <a:custGeom>
                          <a:avLst/>
                          <a:gdLst>
                            <a:gd name="connsiteX0" fmla="*/ 0 w 90713"/>
                            <a:gd name="connsiteY0" fmla="*/ 39762 h 39761"/>
                            <a:gd name="connsiteX1" fmla="*/ 39762 w 90713"/>
                            <a:gd name="connsiteY1" fmla="*/ 0 h 39761"/>
                            <a:gd name="connsiteX2" fmla="*/ 90713 w 90713"/>
                            <a:gd name="connsiteY2" fmla="*/ 39762 h 39761"/>
                            <a:gd name="connsiteX3" fmla="*/ 0 w 90713"/>
                            <a:gd name="connsiteY3" fmla="*/ 39762 h 39761"/>
                          </a:gdLst>
                          <a:ahLst/>
                          <a:cxnLst>
                            <a:cxn ang="0">
                              <a:pos x="connsiteX0" y="connsiteY0"/>
                            </a:cxn>
                            <a:cxn ang="0">
                              <a:pos x="connsiteX1" y="connsiteY1"/>
                            </a:cxn>
                            <a:cxn ang="0">
                              <a:pos x="connsiteX2" y="connsiteY2"/>
                            </a:cxn>
                            <a:cxn ang="0">
                              <a:pos x="connsiteX3" y="connsiteY3"/>
                            </a:cxn>
                          </a:cxnLst>
                          <a:rect l="l" t="t" r="r" b="b"/>
                          <a:pathLst>
                            <a:path w="90713" h="39761">
                              <a:moveTo>
                                <a:pt x="0" y="39762"/>
                              </a:moveTo>
                              <a:cubicBezTo>
                                <a:pt x="0" y="17796"/>
                                <a:pt x="17797" y="0"/>
                                <a:pt x="39762" y="0"/>
                              </a:cubicBezTo>
                              <a:cubicBezTo>
                                <a:pt x="70301" y="0"/>
                                <a:pt x="90713" y="17796"/>
                                <a:pt x="90713" y="39762"/>
                              </a:cubicBezTo>
                              <a:lnTo>
                                <a:pt x="0" y="39762"/>
                              </a:ln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74" name="Freeform: Shape 873">
                          <a:extLst>
                            <a:ext uri="{FF2B5EF4-FFF2-40B4-BE49-F238E27FC236}">
                              <a16:creationId xmlns:a16="http://schemas.microsoft.com/office/drawing/2014/main" id="{051B80FD-6DA0-4FA0-9D2C-FC33592A6DE3}"/>
                            </a:ext>
                          </a:extLst>
                        </p:cNvPr>
                        <p:cNvSpPr/>
                        <p:nvPr/>
                      </p:nvSpPr>
                      <p:spPr>
                        <a:xfrm>
                          <a:off x="9819569" y="10614780"/>
                          <a:ext cx="38606" cy="31895"/>
                        </a:xfrm>
                        <a:custGeom>
                          <a:avLst/>
                          <a:gdLst>
                            <a:gd name="connsiteX0" fmla="*/ 890 w 38606"/>
                            <a:gd name="connsiteY0" fmla="*/ 31896 h 31895"/>
                            <a:gd name="connsiteX1" fmla="*/ 11941 w 38606"/>
                            <a:gd name="connsiteY1" fmla="*/ 0 h 31895"/>
                            <a:gd name="connsiteX2" fmla="*/ 38606 w 38606"/>
                            <a:gd name="connsiteY2" fmla="*/ 31896 h 31895"/>
                            <a:gd name="connsiteX3" fmla="*/ 870 w 38606"/>
                            <a:gd name="connsiteY3" fmla="*/ 31896 h 31895"/>
                          </a:gdLst>
                          <a:ahLst/>
                          <a:cxnLst>
                            <a:cxn ang="0">
                              <a:pos x="connsiteX0" y="connsiteY0"/>
                            </a:cxn>
                            <a:cxn ang="0">
                              <a:pos x="connsiteX1" y="connsiteY1"/>
                            </a:cxn>
                            <a:cxn ang="0">
                              <a:pos x="connsiteX2" y="connsiteY2"/>
                            </a:cxn>
                            <a:cxn ang="0">
                              <a:pos x="connsiteX3" y="connsiteY3"/>
                            </a:cxn>
                          </a:cxnLst>
                          <a:rect l="l" t="t" r="r" b="b"/>
                          <a:pathLst>
                            <a:path w="38606" h="31895">
                              <a:moveTo>
                                <a:pt x="890" y="31896"/>
                              </a:moveTo>
                              <a:cubicBezTo>
                                <a:pt x="-2139" y="14276"/>
                                <a:pt x="2817" y="0"/>
                                <a:pt x="11941" y="0"/>
                              </a:cubicBezTo>
                              <a:cubicBezTo>
                                <a:pt x="24644" y="0"/>
                                <a:pt x="35578" y="14276"/>
                                <a:pt x="38606" y="31896"/>
                              </a:cubicBezTo>
                              <a:lnTo>
                                <a:pt x="870" y="31896"/>
                              </a:ln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75" name="Freeform: Shape 874">
                          <a:extLst>
                            <a:ext uri="{FF2B5EF4-FFF2-40B4-BE49-F238E27FC236}">
                              <a16:creationId xmlns:a16="http://schemas.microsoft.com/office/drawing/2014/main" id="{A221EA74-F6FE-41D6-8E8B-8ED92BB5742F}"/>
                            </a:ext>
                          </a:extLst>
                        </p:cNvPr>
                        <p:cNvSpPr/>
                        <p:nvPr/>
                      </p:nvSpPr>
                      <p:spPr>
                        <a:xfrm>
                          <a:off x="9765241" y="10646656"/>
                          <a:ext cx="101823" cy="8023"/>
                        </a:xfrm>
                        <a:custGeom>
                          <a:avLst/>
                          <a:gdLst>
                            <a:gd name="connsiteX0" fmla="*/ 97812 w 101823"/>
                            <a:gd name="connsiteY0" fmla="*/ 8023 h 8023"/>
                            <a:gd name="connsiteX1" fmla="*/ 4012 w 101823"/>
                            <a:gd name="connsiteY1" fmla="*/ 8023 h 8023"/>
                            <a:gd name="connsiteX2" fmla="*/ 0 w 101823"/>
                            <a:gd name="connsiteY2" fmla="*/ 4012 h 8023"/>
                            <a:gd name="connsiteX3" fmla="*/ 4012 w 101823"/>
                            <a:gd name="connsiteY3" fmla="*/ 0 h 8023"/>
                            <a:gd name="connsiteX4" fmla="*/ 97812 w 101823"/>
                            <a:gd name="connsiteY4" fmla="*/ 0 h 8023"/>
                            <a:gd name="connsiteX5" fmla="*/ 101823 w 101823"/>
                            <a:gd name="connsiteY5" fmla="*/ 4012 h 8023"/>
                            <a:gd name="connsiteX6" fmla="*/ 97812 w 101823"/>
                            <a:gd name="connsiteY6" fmla="*/ 8023 h 8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823" h="8023">
                              <a:moveTo>
                                <a:pt x="97812" y="8023"/>
                              </a:moveTo>
                              <a:lnTo>
                                <a:pt x="4012" y="8023"/>
                              </a:lnTo>
                              <a:cubicBezTo>
                                <a:pt x="1809" y="8023"/>
                                <a:pt x="0" y="6234"/>
                                <a:pt x="0" y="4012"/>
                              </a:cubicBezTo>
                              <a:cubicBezTo>
                                <a:pt x="0" y="1789"/>
                                <a:pt x="1790" y="0"/>
                                <a:pt x="4012" y="0"/>
                              </a:cubicBezTo>
                              <a:lnTo>
                                <a:pt x="97812" y="0"/>
                              </a:lnTo>
                              <a:cubicBezTo>
                                <a:pt x="100013" y="0"/>
                                <a:pt x="101823" y="1789"/>
                                <a:pt x="101823" y="4012"/>
                              </a:cubicBezTo>
                              <a:cubicBezTo>
                                <a:pt x="101823" y="6234"/>
                                <a:pt x="100034" y="8023"/>
                                <a:pt x="97812" y="8023"/>
                              </a:cubicBez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grpSp>
                  <p:nvGrpSpPr>
                    <p:cNvPr id="862" name="Graphic 10">
                      <a:extLst>
                        <a:ext uri="{FF2B5EF4-FFF2-40B4-BE49-F238E27FC236}">
                          <a16:creationId xmlns:a16="http://schemas.microsoft.com/office/drawing/2014/main" id="{7C3C7619-044C-4C44-A174-976690D49756}"/>
                        </a:ext>
                      </a:extLst>
                    </p:cNvPr>
                    <p:cNvGrpSpPr/>
                    <p:nvPr/>
                  </p:nvGrpSpPr>
                  <p:grpSpPr>
                    <a:xfrm>
                      <a:off x="9588597" y="10825406"/>
                      <a:ext cx="330853" cy="302381"/>
                      <a:chOff x="9588597" y="10825406"/>
                      <a:chExt cx="330853" cy="302381"/>
                    </a:xfrm>
                  </p:grpSpPr>
                  <p:sp>
                    <p:nvSpPr>
                      <p:cNvPr id="863" name="Freeform: Shape 862">
                        <a:extLst>
                          <a:ext uri="{FF2B5EF4-FFF2-40B4-BE49-F238E27FC236}">
                            <a16:creationId xmlns:a16="http://schemas.microsoft.com/office/drawing/2014/main" id="{D6E4E882-B86B-4031-8D91-7D0BE851D425}"/>
                          </a:ext>
                        </a:extLst>
                      </p:cNvPr>
                      <p:cNvSpPr/>
                      <p:nvPr/>
                    </p:nvSpPr>
                    <p:spPr>
                      <a:xfrm>
                        <a:off x="9588597" y="10825406"/>
                        <a:ext cx="275713" cy="302381"/>
                      </a:xfrm>
                      <a:custGeom>
                        <a:avLst/>
                        <a:gdLst>
                          <a:gd name="connsiteX0" fmla="*/ 51578 w 275713"/>
                          <a:gd name="connsiteY0" fmla="*/ 0 h 302381"/>
                          <a:gd name="connsiteX1" fmla="*/ 118673 w 275713"/>
                          <a:gd name="connsiteY1" fmla="*/ 0 h 302381"/>
                          <a:gd name="connsiteX2" fmla="*/ 182720 w 275713"/>
                          <a:gd name="connsiteY2" fmla="*/ 73250 h 302381"/>
                          <a:gd name="connsiteX3" fmla="*/ 222738 w 275713"/>
                          <a:gd name="connsiteY3" fmla="*/ 284801 h 302381"/>
                          <a:gd name="connsiteX4" fmla="*/ 266924 w 275713"/>
                          <a:gd name="connsiteY4" fmla="*/ 284801 h 302381"/>
                          <a:gd name="connsiteX5" fmla="*/ 275714 w 275713"/>
                          <a:gd name="connsiteY5" fmla="*/ 293591 h 302381"/>
                          <a:gd name="connsiteX6" fmla="*/ 266924 w 275713"/>
                          <a:gd name="connsiteY6" fmla="*/ 302381 h 302381"/>
                          <a:gd name="connsiteX7" fmla="*/ 55000 w 275713"/>
                          <a:gd name="connsiteY7" fmla="*/ 302381 h 302381"/>
                          <a:gd name="connsiteX8" fmla="*/ 46209 w 275713"/>
                          <a:gd name="connsiteY8" fmla="*/ 293591 h 302381"/>
                          <a:gd name="connsiteX9" fmla="*/ 391 w 275713"/>
                          <a:gd name="connsiteY9" fmla="*/ 73250 h 302381"/>
                          <a:gd name="connsiteX10" fmla="*/ 51578 w 275713"/>
                          <a:gd name="connsiteY10" fmla="*/ 0 h 30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5713" h="302381">
                            <a:moveTo>
                              <a:pt x="51578" y="0"/>
                            </a:moveTo>
                            <a:lnTo>
                              <a:pt x="118673" y="0"/>
                            </a:lnTo>
                            <a:cubicBezTo>
                              <a:pt x="157079" y="0"/>
                              <a:pt x="174973" y="33430"/>
                              <a:pt x="182720" y="73250"/>
                            </a:cubicBezTo>
                            <a:lnTo>
                              <a:pt x="222738" y="284801"/>
                            </a:lnTo>
                            <a:lnTo>
                              <a:pt x="266924" y="284801"/>
                            </a:lnTo>
                            <a:cubicBezTo>
                              <a:pt x="271781" y="284801"/>
                              <a:pt x="275714" y="288734"/>
                              <a:pt x="275714" y="293591"/>
                            </a:cubicBezTo>
                            <a:cubicBezTo>
                              <a:pt x="275714" y="298448"/>
                              <a:pt x="271781" y="302381"/>
                              <a:pt x="266924" y="302381"/>
                            </a:cubicBezTo>
                            <a:lnTo>
                              <a:pt x="55000" y="302381"/>
                            </a:lnTo>
                            <a:cubicBezTo>
                              <a:pt x="50142" y="302381"/>
                              <a:pt x="46918" y="298901"/>
                              <a:pt x="46209" y="293591"/>
                            </a:cubicBezTo>
                            <a:lnTo>
                              <a:pt x="391" y="73250"/>
                            </a:lnTo>
                            <a:cubicBezTo>
                              <a:pt x="-2774" y="29811"/>
                              <a:pt x="13173" y="0"/>
                              <a:pt x="51578" y="0"/>
                            </a:cubicBezTo>
                            <a:close/>
                          </a:path>
                        </a:pathLst>
                      </a:custGeom>
                      <a:solidFill>
                        <a:srgbClr val="6878B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64" name="Freeform: Shape 863">
                        <a:extLst>
                          <a:ext uri="{FF2B5EF4-FFF2-40B4-BE49-F238E27FC236}">
                            <a16:creationId xmlns:a16="http://schemas.microsoft.com/office/drawing/2014/main" id="{B879D8C5-D939-4569-B2D1-CFDBAAC46865}"/>
                          </a:ext>
                        </a:extLst>
                      </p:cNvPr>
                      <p:cNvSpPr/>
                      <p:nvPr/>
                    </p:nvSpPr>
                    <p:spPr>
                      <a:xfrm>
                        <a:off x="9697123" y="10825406"/>
                        <a:ext cx="222327" cy="302381"/>
                      </a:xfrm>
                      <a:custGeom>
                        <a:avLst/>
                        <a:gdLst>
                          <a:gd name="connsiteX0" fmla="*/ 10147 w 222327"/>
                          <a:gd name="connsiteY0" fmla="*/ 0 h 302381"/>
                          <a:gd name="connsiteX1" fmla="*/ 74194 w 222327"/>
                          <a:gd name="connsiteY1" fmla="*/ 73250 h 302381"/>
                          <a:gd name="connsiteX2" fmla="*/ 114605 w 222327"/>
                          <a:gd name="connsiteY2" fmla="*/ 284801 h 302381"/>
                          <a:gd name="connsiteX3" fmla="*/ 213538 w 222327"/>
                          <a:gd name="connsiteY3" fmla="*/ 284801 h 302381"/>
                          <a:gd name="connsiteX4" fmla="*/ 222327 w 222327"/>
                          <a:gd name="connsiteY4" fmla="*/ 293591 h 302381"/>
                          <a:gd name="connsiteX5" fmla="*/ 213538 w 222327"/>
                          <a:gd name="connsiteY5" fmla="*/ 302381 h 302381"/>
                          <a:gd name="connsiteX6" fmla="*/ 109689 w 222327"/>
                          <a:gd name="connsiteY6" fmla="*/ 302381 h 302381"/>
                          <a:gd name="connsiteX7" fmla="*/ 100447 w 222327"/>
                          <a:gd name="connsiteY7" fmla="*/ 294575 h 302381"/>
                          <a:gd name="connsiteX8" fmla="*/ 62671 w 222327"/>
                          <a:gd name="connsiteY8" fmla="*/ 73250 h 302381"/>
                          <a:gd name="connsiteX9" fmla="*/ 0 w 222327"/>
                          <a:gd name="connsiteY9" fmla="*/ 0 h 302381"/>
                          <a:gd name="connsiteX10" fmla="*/ 10147 w 222327"/>
                          <a:gd name="connsiteY10" fmla="*/ 0 h 30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2327" h="302381">
                            <a:moveTo>
                              <a:pt x="10147" y="0"/>
                            </a:moveTo>
                            <a:cubicBezTo>
                              <a:pt x="48553" y="0"/>
                              <a:pt x="66446" y="33430"/>
                              <a:pt x="74194" y="73250"/>
                            </a:cubicBezTo>
                            <a:lnTo>
                              <a:pt x="114605" y="284801"/>
                            </a:lnTo>
                            <a:lnTo>
                              <a:pt x="213538" y="284801"/>
                            </a:lnTo>
                            <a:cubicBezTo>
                              <a:pt x="218394" y="284801"/>
                              <a:pt x="222327" y="288734"/>
                              <a:pt x="222327" y="293591"/>
                            </a:cubicBezTo>
                            <a:cubicBezTo>
                              <a:pt x="222327" y="298448"/>
                              <a:pt x="218394" y="302381"/>
                              <a:pt x="213538" y="302381"/>
                            </a:cubicBezTo>
                            <a:lnTo>
                              <a:pt x="109689" y="302381"/>
                            </a:lnTo>
                            <a:cubicBezTo>
                              <a:pt x="105107" y="302381"/>
                              <a:pt x="101214" y="299078"/>
                              <a:pt x="100447" y="294575"/>
                            </a:cubicBezTo>
                            <a:lnTo>
                              <a:pt x="62671" y="73250"/>
                            </a:lnTo>
                            <a:cubicBezTo>
                              <a:pt x="55670" y="33430"/>
                              <a:pt x="38385" y="0"/>
                              <a:pt x="0" y="0"/>
                            </a:cubicBezTo>
                            <a:lnTo>
                              <a:pt x="10147" y="0"/>
                            </a:lnTo>
                            <a:close/>
                          </a:path>
                        </a:pathLst>
                      </a:custGeom>
                      <a:solidFill>
                        <a:srgbClr val="C8DDF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grpSp>
            <p:grpSp>
              <p:nvGrpSpPr>
                <p:cNvPr id="841" name="Graphic 10">
                  <a:extLst>
                    <a:ext uri="{FF2B5EF4-FFF2-40B4-BE49-F238E27FC236}">
                      <a16:creationId xmlns:a16="http://schemas.microsoft.com/office/drawing/2014/main" id="{4FD44625-BBB8-487F-8D2D-BFCAFAF5133D}"/>
                    </a:ext>
                  </a:extLst>
                </p:cNvPr>
                <p:cNvGrpSpPr/>
                <p:nvPr/>
              </p:nvGrpSpPr>
              <p:grpSpPr>
                <a:xfrm>
                  <a:off x="8437119" y="10456703"/>
                  <a:ext cx="412994" cy="921531"/>
                  <a:chOff x="8437119" y="10456703"/>
                  <a:chExt cx="412994" cy="921531"/>
                </a:xfrm>
              </p:grpSpPr>
              <p:sp>
                <p:nvSpPr>
                  <p:cNvPr id="842" name="Freeform: Shape 841">
                    <a:extLst>
                      <a:ext uri="{FF2B5EF4-FFF2-40B4-BE49-F238E27FC236}">
                        <a16:creationId xmlns:a16="http://schemas.microsoft.com/office/drawing/2014/main" id="{A9ED26B9-9DAE-4E70-A486-D5ACE70F5758}"/>
                      </a:ext>
                    </a:extLst>
                  </p:cNvPr>
                  <p:cNvSpPr/>
                  <p:nvPr/>
                </p:nvSpPr>
                <p:spPr>
                  <a:xfrm>
                    <a:off x="8461694" y="10861038"/>
                    <a:ext cx="114787" cy="486736"/>
                  </a:xfrm>
                  <a:custGeom>
                    <a:avLst/>
                    <a:gdLst>
                      <a:gd name="connsiteX0" fmla="*/ 114787 w 114787"/>
                      <a:gd name="connsiteY0" fmla="*/ 0 h 486736"/>
                      <a:gd name="connsiteX1" fmla="*/ 2759 w 114787"/>
                      <a:gd name="connsiteY1" fmla="*/ 0 h 486736"/>
                      <a:gd name="connsiteX2" fmla="*/ 14027 w 114787"/>
                      <a:gd name="connsiteY2" fmla="*/ 228836 h 486736"/>
                      <a:gd name="connsiteX3" fmla="*/ 28736 w 114787"/>
                      <a:gd name="connsiteY3" fmla="*/ 486736 h 486736"/>
                      <a:gd name="connsiteX4" fmla="*/ 66432 w 114787"/>
                      <a:gd name="connsiteY4" fmla="*/ 486736 h 486736"/>
                      <a:gd name="connsiteX5" fmla="*/ 114787 w 114787"/>
                      <a:gd name="connsiteY5" fmla="*/ 0 h 48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787" h="486736">
                        <a:moveTo>
                          <a:pt x="114787" y="0"/>
                        </a:moveTo>
                        <a:lnTo>
                          <a:pt x="2759" y="0"/>
                        </a:lnTo>
                        <a:cubicBezTo>
                          <a:pt x="-7467" y="55375"/>
                          <a:pt x="14027" y="146933"/>
                          <a:pt x="14027" y="228836"/>
                        </a:cubicBezTo>
                        <a:cubicBezTo>
                          <a:pt x="11372" y="313629"/>
                          <a:pt x="5433" y="387489"/>
                          <a:pt x="28736" y="486736"/>
                        </a:cubicBezTo>
                        <a:lnTo>
                          <a:pt x="66432" y="486736"/>
                        </a:lnTo>
                        <a:lnTo>
                          <a:pt x="114787" y="0"/>
                        </a:ln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43" name="Freeform: Shape 842">
                    <a:extLst>
                      <a:ext uri="{FF2B5EF4-FFF2-40B4-BE49-F238E27FC236}">
                        <a16:creationId xmlns:a16="http://schemas.microsoft.com/office/drawing/2014/main" id="{3EF68C2F-5443-4719-B62B-BAFA96CD9231}"/>
                      </a:ext>
                    </a:extLst>
                  </p:cNvPr>
                  <p:cNvSpPr/>
                  <p:nvPr/>
                </p:nvSpPr>
                <p:spPr>
                  <a:xfrm>
                    <a:off x="8492376" y="11347775"/>
                    <a:ext cx="70123" cy="30460"/>
                  </a:xfrm>
                  <a:custGeom>
                    <a:avLst/>
                    <a:gdLst>
                      <a:gd name="connsiteX0" fmla="*/ 3953 w 70123"/>
                      <a:gd name="connsiteY0" fmla="*/ 0 h 30460"/>
                      <a:gd name="connsiteX1" fmla="*/ 27885 w 70123"/>
                      <a:gd name="connsiteY1" fmla="*/ 0 h 30460"/>
                      <a:gd name="connsiteX2" fmla="*/ 49771 w 70123"/>
                      <a:gd name="connsiteY2" fmla="*/ 16951 h 30460"/>
                      <a:gd name="connsiteX3" fmla="*/ 70124 w 70123"/>
                      <a:gd name="connsiteY3" fmla="*/ 20372 h 30460"/>
                      <a:gd name="connsiteX4" fmla="*/ 68807 w 70123"/>
                      <a:gd name="connsiteY4" fmla="*/ 30460 h 30460"/>
                      <a:gd name="connsiteX5" fmla="*/ 0 w 70123"/>
                      <a:gd name="connsiteY5" fmla="*/ 30460 h 30460"/>
                      <a:gd name="connsiteX6" fmla="*/ 3953 w 70123"/>
                      <a:gd name="connsiteY6" fmla="*/ 0 h 3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23" h="30460">
                        <a:moveTo>
                          <a:pt x="3953" y="0"/>
                        </a:moveTo>
                        <a:lnTo>
                          <a:pt x="27885" y="0"/>
                        </a:lnTo>
                        <a:lnTo>
                          <a:pt x="49771" y="16951"/>
                        </a:lnTo>
                        <a:lnTo>
                          <a:pt x="70124" y="20372"/>
                        </a:lnTo>
                        <a:lnTo>
                          <a:pt x="68807" y="30460"/>
                        </a:lnTo>
                        <a:lnTo>
                          <a:pt x="0" y="30460"/>
                        </a:lnTo>
                        <a:lnTo>
                          <a:pt x="3953"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44" name="Freeform: Shape 843">
                    <a:extLst>
                      <a:ext uri="{FF2B5EF4-FFF2-40B4-BE49-F238E27FC236}">
                        <a16:creationId xmlns:a16="http://schemas.microsoft.com/office/drawing/2014/main" id="{3360F529-34CB-4669-B011-26C6D01D3607}"/>
                      </a:ext>
                    </a:extLst>
                  </p:cNvPr>
                  <p:cNvSpPr/>
                  <p:nvPr/>
                </p:nvSpPr>
                <p:spPr>
                  <a:xfrm>
                    <a:off x="8612566" y="11347775"/>
                    <a:ext cx="70123" cy="30460"/>
                  </a:xfrm>
                  <a:custGeom>
                    <a:avLst/>
                    <a:gdLst>
                      <a:gd name="connsiteX0" fmla="*/ 3952 w 70123"/>
                      <a:gd name="connsiteY0" fmla="*/ 0 h 30460"/>
                      <a:gd name="connsiteX1" fmla="*/ 27885 w 70123"/>
                      <a:gd name="connsiteY1" fmla="*/ 0 h 30460"/>
                      <a:gd name="connsiteX2" fmla="*/ 49771 w 70123"/>
                      <a:gd name="connsiteY2" fmla="*/ 16951 h 30460"/>
                      <a:gd name="connsiteX3" fmla="*/ 70124 w 70123"/>
                      <a:gd name="connsiteY3" fmla="*/ 20372 h 30460"/>
                      <a:gd name="connsiteX4" fmla="*/ 68807 w 70123"/>
                      <a:gd name="connsiteY4" fmla="*/ 30460 h 30460"/>
                      <a:gd name="connsiteX5" fmla="*/ 0 w 70123"/>
                      <a:gd name="connsiteY5" fmla="*/ 30460 h 30460"/>
                      <a:gd name="connsiteX6" fmla="*/ 3952 w 70123"/>
                      <a:gd name="connsiteY6" fmla="*/ 0 h 30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123" h="30460">
                        <a:moveTo>
                          <a:pt x="3952" y="0"/>
                        </a:moveTo>
                        <a:lnTo>
                          <a:pt x="27885" y="0"/>
                        </a:lnTo>
                        <a:lnTo>
                          <a:pt x="49771" y="16951"/>
                        </a:lnTo>
                        <a:lnTo>
                          <a:pt x="70124" y="20372"/>
                        </a:lnTo>
                        <a:lnTo>
                          <a:pt x="68807" y="30460"/>
                        </a:lnTo>
                        <a:lnTo>
                          <a:pt x="0" y="30460"/>
                        </a:lnTo>
                        <a:lnTo>
                          <a:pt x="3952" y="0"/>
                        </a:lnTo>
                        <a:close/>
                      </a:path>
                    </a:pathLst>
                  </a:custGeom>
                  <a:solidFill>
                    <a:srgbClr val="130F4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45" name="Freeform: Shape 844">
                    <a:extLst>
                      <a:ext uri="{FF2B5EF4-FFF2-40B4-BE49-F238E27FC236}">
                        <a16:creationId xmlns:a16="http://schemas.microsoft.com/office/drawing/2014/main" id="{A492B554-1F4A-4FD9-95BF-68554C72CC9B}"/>
                      </a:ext>
                    </a:extLst>
                  </p:cNvPr>
                  <p:cNvSpPr/>
                  <p:nvPr/>
                </p:nvSpPr>
                <p:spPr>
                  <a:xfrm>
                    <a:off x="8463941" y="10783836"/>
                    <a:ext cx="196920" cy="563938"/>
                  </a:xfrm>
                  <a:custGeom>
                    <a:avLst/>
                    <a:gdLst>
                      <a:gd name="connsiteX0" fmla="*/ 138242 w 196920"/>
                      <a:gd name="connsiteY0" fmla="*/ 0 h 563938"/>
                      <a:gd name="connsiteX1" fmla="*/ 32289 w 196920"/>
                      <a:gd name="connsiteY1" fmla="*/ 0 h 563938"/>
                      <a:gd name="connsiteX2" fmla="*/ 0 w 196920"/>
                      <a:gd name="connsiteY2" fmla="*/ 77203 h 563938"/>
                      <a:gd name="connsiteX3" fmla="*/ 121586 w 196920"/>
                      <a:gd name="connsiteY3" fmla="*/ 306039 h 563938"/>
                      <a:gd name="connsiteX4" fmla="*/ 146677 w 196920"/>
                      <a:gd name="connsiteY4" fmla="*/ 563939 h 563938"/>
                      <a:gd name="connsiteX5" fmla="*/ 186341 w 196920"/>
                      <a:gd name="connsiteY5" fmla="*/ 563939 h 563938"/>
                      <a:gd name="connsiteX6" fmla="*/ 196921 w 196920"/>
                      <a:gd name="connsiteY6" fmla="*/ 306019 h 563938"/>
                      <a:gd name="connsiteX7" fmla="*/ 138242 w 196920"/>
                      <a:gd name="connsiteY7" fmla="*/ 0 h 56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920" h="563938">
                        <a:moveTo>
                          <a:pt x="138242" y="0"/>
                        </a:moveTo>
                        <a:lnTo>
                          <a:pt x="32289" y="0"/>
                        </a:lnTo>
                        <a:cubicBezTo>
                          <a:pt x="32289" y="0"/>
                          <a:pt x="0" y="46625"/>
                          <a:pt x="0" y="77203"/>
                        </a:cubicBezTo>
                        <a:cubicBezTo>
                          <a:pt x="0" y="150394"/>
                          <a:pt x="100152" y="238845"/>
                          <a:pt x="121586" y="306039"/>
                        </a:cubicBezTo>
                        <a:cubicBezTo>
                          <a:pt x="118931" y="390832"/>
                          <a:pt x="123376" y="464692"/>
                          <a:pt x="146677" y="563939"/>
                        </a:cubicBezTo>
                        <a:lnTo>
                          <a:pt x="186341" y="563939"/>
                        </a:lnTo>
                        <a:lnTo>
                          <a:pt x="196921" y="306019"/>
                        </a:lnTo>
                        <a:cubicBezTo>
                          <a:pt x="196921" y="306019"/>
                          <a:pt x="149805" y="25131"/>
                          <a:pt x="138242" y="0"/>
                        </a:cubicBezTo>
                        <a:close/>
                      </a:path>
                    </a:pathLst>
                  </a:custGeom>
                  <a:solidFill>
                    <a:srgbClr val="214178"/>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46" name="Freeform: Shape 845">
                    <a:extLst>
                      <a:ext uri="{FF2B5EF4-FFF2-40B4-BE49-F238E27FC236}">
                        <a16:creationId xmlns:a16="http://schemas.microsoft.com/office/drawing/2014/main" id="{2DE6922C-732C-4D8C-BB85-522425D7AD90}"/>
                      </a:ext>
                    </a:extLst>
                  </p:cNvPr>
                  <p:cNvSpPr/>
                  <p:nvPr/>
                </p:nvSpPr>
                <p:spPr>
                  <a:xfrm>
                    <a:off x="8531784" y="10538855"/>
                    <a:ext cx="30696" cy="44697"/>
                  </a:xfrm>
                  <a:custGeom>
                    <a:avLst/>
                    <a:gdLst>
                      <a:gd name="connsiteX0" fmla="*/ 30696 w 30696"/>
                      <a:gd name="connsiteY0" fmla="*/ 11327 h 44697"/>
                      <a:gd name="connsiteX1" fmla="*/ 26646 w 30696"/>
                      <a:gd name="connsiteY1" fmla="*/ 43694 h 44697"/>
                      <a:gd name="connsiteX2" fmla="*/ 0 w 30696"/>
                      <a:gd name="connsiteY2" fmla="*/ 44697 h 44697"/>
                      <a:gd name="connsiteX3" fmla="*/ 216 w 30696"/>
                      <a:gd name="connsiteY3" fmla="*/ 0 h 44697"/>
                      <a:gd name="connsiteX4" fmla="*/ 30696 w 30696"/>
                      <a:gd name="connsiteY4" fmla="*/ 11327 h 446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96" h="44697">
                        <a:moveTo>
                          <a:pt x="30696" y="11327"/>
                        </a:moveTo>
                        <a:lnTo>
                          <a:pt x="26646" y="43694"/>
                        </a:lnTo>
                        <a:lnTo>
                          <a:pt x="0" y="44697"/>
                        </a:lnTo>
                        <a:lnTo>
                          <a:pt x="216" y="0"/>
                        </a:lnTo>
                        <a:lnTo>
                          <a:pt x="30696" y="11327"/>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47" name="Freeform: Shape 846">
                    <a:extLst>
                      <a:ext uri="{FF2B5EF4-FFF2-40B4-BE49-F238E27FC236}">
                        <a16:creationId xmlns:a16="http://schemas.microsoft.com/office/drawing/2014/main" id="{55BC392D-34CD-4E73-8FE5-9D294854D758}"/>
                      </a:ext>
                    </a:extLst>
                  </p:cNvPr>
                  <p:cNvSpPr/>
                  <p:nvPr/>
                </p:nvSpPr>
                <p:spPr>
                  <a:xfrm>
                    <a:off x="8437119" y="10580964"/>
                    <a:ext cx="187636" cy="301272"/>
                  </a:xfrm>
                  <a:custGeom>
                    <a:avLst/>
                    <a:gdLst>
                      <a:gd name="connsiteX0" fmla="*/ 186597 w 187636"/>
                      <a:gd name="connsiteY0" fmla="*/ 301272 h 301272"/>
                      <a:gd name="connsiteX1" fmla="*/ 170492 w 187636"/>
                      <a:gd name="connsiteY1" fmla="*/ 21486 h 301272"/>
                      <a:gd name="connsiteX2" fmla="*/ 22045 w 187636"/>
                      <a:gd name="connsiteY2" fmla="*/ 19893 h 301272"/>
                      <a:gd name="connsiteX3" fmla="*/ 0 w 187636"/>
                      <a:gd name="connsiteY3" fmla="*/ 301155 h 301272"/>
                      <a:gd name="connsiteX4" fmla="*/ 186578 w 187636"/>
                      <a:gd name="connsiteY4" fmla="*/ 301272 h 301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636" h="301272">
                        <a:moveTo>
                          <a:pt x="186597" y="301272"/>
                        </a:moveTo>
                        <a:cubicBezTo>
                          <a:pt x="186636" y="259682"/>
                          <a:pt x="193695" y="47522"/>
                          <a:pt x="170492" y="21486"/>
                        </a:cubicBezTo>
                        <a:cubicBezTo>
                          <a:pt x="145695" y="-6340"/>
                          <a:pt x="78836" y="-7421"/>
                          <a:pt x="22045" y="19893"/>
                        </a:cubicBezTo>
                        <a:cubicBezTo>
                          <a:pt x="20098" y="78237"/>
                          <a:pt x="0" y="301155"/>
                          <a:pt x="0" y="301155"/>
                        </a:cubicBezTo>
                        <a:lnTo>
                          <a:pt x="186578" y="301272"/>
                        </a:lnTo>
                        <a:close/>
                      </a:path>
                    </a:pathLst>
                  </a:custGeom>
                  <a:solidFill>
                    <a:srgbClr val="E0C48B"/>
                  </a:solidFill>
                  <a:ln w="878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48" name="Freeform: Shape 847">
                    <a:extLst>
                      <a:ext uri="{FF2B5EF4-FFF2-40B4-BE49-F238E27FC236}">
                        <a16:creationId xmlns:a16="http://schemas.microsoft.com/office/drawing/2014/main" id="{37278498-50BF-403F-83D8-3DC20FFF1A13}"/>
                      </a:ext>
                    </a:extLst>
                  </p:cNvPr>
                  <p:cNvSpPr/>
                  <p:nvPr/>
                </p:nvSpPr>
                <p:spPr>
                  <a:xfrm>
                    <a:off x="8627551" y="10741577"/>
                    <a:ext cx="161937" cy="63474"/>
                  </a:xfrm>
                  <a:custGeom>
                    <a:avLst/>
                    <a:gdLst>
                      <a:gd name="connsiteX0" fmla="*/ 23892 w 161937"/>
                      <a:gd name="connsiteY0" fmla="*/ 0 h 63474"/>
                      <a:gd name="connsiteX1" fmla="*/ 156785 w 161937"/>
                      <a:gd name="connsiteY1" fmla="*/ 40234 h 63474"/>
                      <a:gd name="connsiteX2" fmla="*/ 161937 w 161937"/>
                      <a:gd name="connsiteY2" fmla="*/ 62868 h 63474"/>
                      <a:gd name="connsiteX3" fmla="*/ 0 w 161937"/>
                      <a:gd name="connsiteY3" fmla="*/ 26921 h 63474"/>
                      <a:gd name="connsiteX4" fmla="*/ 23872 w 161937"/>
                      <a:gd name="connsiteY4" fmla="*/ 20 h 63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37" h="63474">
                        <a:moveTo>
                          <a:pt x="23892" y="0"/>
                        </a:moveTo>
                        <a:lnTo>
                          <a:pt x="156785" y="40234"/>
                        </a:lnTo>
                        <a:lnTo>
                          <a:pt x="161937" y="62868"/>
                        </a:lnTo>
                        <a:cubicBezTo>
                          <a:pt x="127328" y="66368"/>
                          <a:pt x="36616" y="54785"/>
                          <a:pt x="0" y="26921"/>
                        </a:cubicBezTo>
                        <a:lnTo>
                          <a:pt x="23872" y="20"/>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49" name="Freeform: Shape 848">
                    <a:extLst>
                      <a:ext uri="{FF2B5EF4-FFF2-40B4-BE49-F238E27FC236}">
                        <a16:creationId xmlns:a16="http://schemas.microsoft.com/office/drawing/2014/main" id="{590EC59C-3095-4DE5-994E-B6605D98E94A}"/>
                      </a:ext>
                    </a:extLst>
                  </p:cNvPr>
                  <p:cNvSpPr/>
                  <p:nvPr/>
                </p:nvSpPr>
                <p:spPr>
                  <a:xfrm>
                    <a:off x="8784336" y="10768478"/>
                    <a:ext cx="65777" cy="44028"/>
                  </a:xfrm>
                  <a:custGeom>
                    <a:avLst/>
                    <a:gdLst>
                      <a:gd name="connsiteX0" fmla="*/ 0 w 65777"/>
                      <a:gd name="connsiteY0" fmla="*/ 13333 h 44028"/>
                      <a:gd name="connsiteX1" fmla="*/ 32308 w 65777"/>
                      <a:gd name="connsiteY1" fmla="*/ 0 h 44028"/>
                      <a:gd name="connsiteX2" fmla="*/ 35710 w 65777"/>
                      <a:gd name="connsiteY2" fmla="*/ 2399 h 44028"/>
                      <a:gd name="connsiteX3" fmla="*/ 27431 w 65777"/>
                      <a:gd name="connsiteY3" fmla="*/ 13647 h 44028"/>
                      <a:gd name="connsiteX4" fmla="*/ 65777 w 65777"/>
                      <a:gd name="connsiteY4" fmla="*/ 28101 h 44028"/>
                      <a:gd name="connsiteX5" fmla="*/ 63732 w 65777"/>
                      <a:gd name="connsiteY5" fmla="*/ 30991 h 44028"/>
                      <a:gd name="connsiteX6" fmla="*/ 56260 w 65777"/>
                      <a:gd name="connsiteY6" fmla="*/ 33567 h 44028"/>
                      <a:gd name="connsiteX7" fmla="*/ 41414 w 65777"/>
                      <a:gd name="connsiteY7" fmla="*/ 44029 h 44028"/>
                      <a:gd name="connsiteX8" fmla="*/ 590 w 65777"/>
                      <a:gd name="connsiteY8" fmla="*/ 36320 h 44028"/>
                      <a:gd name="connsiteX9" fmla="*/ 0 w 65777"/>
                      <a:gd name="connsiteY9" fmla="*/ 13333 h 4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777" h="44028">
                        <a:moveTo>
                          <a:pt x="0" y="13333"/>
                        </a:moveTo>
                        <a:lnTo>
                          <a:pt x="32308" y="0"/>
                        </a:lnTo>
                        <a:lnTo>
                          <a:pt x="35710" y="2399"/>
                        </a:lnTo>
                        <a:lnTo>
                          <a:pt x="27431" y="13647"/>
                        </a:lnTo>
                        <a:lnTo>
                          <a:pt x="65777" y="28101"/>
                        </a:lnTo>
                        <a:lnTo>
                          <a:pt x="63732" y="30991"/>
                        </a:lnTo>
                        <a:lnTo>
                          <a:pt x="56260" y="33567"/>
                        </a:lnTo>
                        <a:lnTo>
                          <a:pt x="41414" y="44029"/>
                        </a:lnTo>
                        <a:lnTo>
                          <a:pt x="590" y="36320"/>
                        </a:lnTo>
                        <a:lnTo>
                          <a:pt x="0" y="13333"/>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50" name="Freeform: Shape 849">
                    <a:extLst>
                      <a:ext uri="{FF2B5EF4-FFF2-40B4-BE49-F238E27FC236}">
                        <a16:creationId xmlns:a16="http://schemas.microsoft.com/office/drawing/2014/main" id="{179A7424-34BD-4794-B024-47F6448E7E2C}"/>
                      </a:ext>
                    </a:extLst>
                  </p:cNvPr>
                  <p:cNvSpPr/>
                  <p:nvPr/>
                </p:nvSpPr>
                <p:spPr>
                  <a:xfrm>
                    <a:off x="8554170" y="10597071"/>
                    <a:ext cx="110585" cy="178552"/>
                  </a:xfrm>
                  <a:custGeom>
                    <a:avLst/>
                    <a:gdLst>
                      <a:gd name="connsiteX0" fmla="*/ 110566 w 110585"/>
                      <a:gd name="connsiteY0" fmla="*/ 158585 h 178552"/>
                      <a:gd name="connsiteX1" fmla="*/ 73400 w 110585"/>
                      <a:gd name="connsiteY1" fmla="*/ 171407 h 178552"/>
                      <a:gd name="connsiteX2" fmla="*/ 2371 w 110585"/>
                      <a:gd name="connsiteY2" fmla="*/ 41837 h 178552"/>
                      <a:gd name="connsiteX3" fmla="*/ 18359 w 110585"/>
                      <a:gd name="connsiteY3" fmla="*/ 2410 h 178552"/>
                      <a:gd name="connsiteX4" fmla="*/ 58239 w 110585"/>
                      <a:gd name="connsiteY4" fmla="*/ 19184 h 178552"/>
                      <a:gd name="connsiteX5" fmla="*/ 110586 w 110585"/>
                      <a:gd name="connsiteY5" fmla="*/ 158605 h 17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585" h="178552">
                        <a:moveTo>
                          <a:pt x="110566" y="158585"/>
                        </a:moveTo>
                        <a:cubicBezTo>
                          <a:pt x="106732" y="170286"/>
                          <a:pt x="91158" y="188869"/>
                          <a:pt x="73400" y="171407"/>
                        </a:cubicBezTo>
                        <a:cubicBezTo>
                          <a:pt x="50157" y="145056"/>
                          <a:pt x="18890" y="81029"/>
                          <a:pt x="2371" y="41837"/>
                        </a:cubicBezTo>
                        <a:cubicBezTo>
                          <a:pt x="-4078" y="26538"/>
                          <a:pt x="3080" y="8899"/>
                          <a:pt x="18359" y="2410"/>
                        </a:cubicBezTo>
                        <a:cubicBezTo>
                          <a:pt x="33992" y="-4237"/>
                          <a:pt x="52045" y="3354"/>
                          <a:pt x="58239" y="19184"/>
                        </a:cubicBezTo>
                        <a:lnTo>
                          <a:pt x="110586" y="158605"/>
                        </a:lnTo>
                        <a:close/>
                      </a:path>
                    </a:pathLst>
                  </a:custGeom>
                  <a:solidFill>
                    <a:srgbClr val="E0C48B"/>
                  </a:solidFill>
                  <a:ln w="878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851" name="Graphic 10">
                    <a:extLst>
                      <a:ext uri="{FF2B5EF4-FFF2-40B4-BE49-F238E27FC236}">
                        <a16:creationId xmlns:a16="http://schemas.microsoft.com/office/drawing/2014/main" id="{3D40CF9A-8B6C-4676-B466-8049B636B2C7}"/>
                      </a:ext>
                    </a:extLst>
                  </p:cNvPr>
                  <p:cNvGrpSpPr/>
                  <p:nvPr/>
                </p:nvGrpSpPr>
                <p:grpSpPr>
                  <a:xfrm>
                    <a:off x="8456541" y="10467737"/>
                    <a:ext cx="123020" cy="156935"/>
                    <a:chOff x="8456541" y="10467737"/>
                    <a:chExt cx="123020" cy="156935"/>
                  </a:xfrm>
                </p:grpSpPr>
                <p:sp>
                  <p:nvSpPr>
                    <p:cNvPr id="856" name="Freeform: Shape 855">
                      <a:extLst>
                        <a:ext uri="{FF2B5EF4-FFF2-40B4-BE49-F238E27FC236}">
                          <a16:creationId xmlns:a16="http://schemas.microsoft.com/office/drawing/2014/main" id="{EE40C3DA-A2CE-420D-B331-5400F2205AD6}"/>
                        </a:ext>
                      </a:extLst>
                    </p:cNvPr>
                    <p:cNvSpPr/>
                    <p:nvPr/>
                  </p:nvSpPr>
                  <p:spPr>
                    <a:xfrm>
                      <a:off x="8517252" y="10477797"/>
                      <a:ext cx="62150" cy="79334"/>
                    </a:xfrm>
                    <a:custGeom>
                      <a:avLst/>
                      <a:gdLst>
                        <a:gd name="connsiteX0" fmla="*/ 62061 w 62150"/>
                        <a:gd name="connsiteY0" fmla="*/ 66505 h 79334"/>
                        <a:gd name="connsiteX1" fmla="*/ 40352 w 62150"/>
                        <a:gd name="connsiteY1" fmla="*/ 78147 h 79334"/>
                        <a:gd name="connsiteX2" fmla="*/ 14808 w 62150"/>
                        <a:gd name="connsiteY2" fmla="*/ 65149 h 79334"/>
                        <a:gd name="connsiteX3" fmla="*/ 0 w 62150"/>
                        <a:gd name="connsiteY3" fmla="*/ 32112 h 79334"/>
                        <a:gd name="connsiteX4" fmla="*/ 10502 w 62150"/>
                        <a:gd name="connsiteY4" fmla="*/ 1711 h 79334"/>
                        <a:gd name="connsiteX5" fmla="*/ 55179 w 62150"/>
                        <a:gd name="connsiteY5" fmla="*/ 0 h 79334"/>
                        <a:gd name="connsiteX6" fmla="*/ 62061 w 62150"/>
                        <a:gd name="connsiteY6" fmla="*/ 66505 h 79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150" h="79334">
                          <a:moveTo>
                            <a:pt x="62061" y="66505"/>
                          </a:moveTo>
                          <a:cubicBezTo>
                            <a:pt x="63045" y="74489"/>
                            <a:pt x="55867" y="82394"/>
                            <a:pt x="40352" y="78147"/>
                          </a:cubicBezTo>
                          <a:lnTo>
                            <a:pt x="14808" y="65149"/>
                          </a:lnTo>
                          <a:lnTo>
                            <a:pt x="0" y="32112"/>
                          </a:lnTo>
                          <a:lnTo>
                            <a:pt x="10502" y="1711"/>
                          </a:lnTo>
                          <a:lnTo>
                            <a:pt x="55179" y="0"/>
                          </a:lnTo>
                          <a:lnTo>
                            <a:pt x="62061" y="66505"/>
                          </a:lnTo>
                          <a:close/>
                        </a:path>
                      </a:pathLst>
                    </a:custGeom>
                    <a:solidFill>
                      <a:srgbClr val="B3680A"/>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57" name="Freeform: Shape 856">
                      <a:extLst>
                        <a:ext uri="{FF2B5EF4-FFF2-40B4-BE49-F238E27FC236}">
                          <a16:creationId xmlns:a16="http://schemas.microsoft.com/office/drawing/2014/main" id="{E95BEAF2-694E-41F2-9059-6034B143D62F}"/>
                        </a:ext>
                      </a:extLst>
                    </p:cNvPr>
                    <p:cNvSpPr/>
                    <p:nvPr/>
                  </p:nvSpPr>
                  <p:spPr>
                    <a:xfrm>
                      <a:off x="8507477" y="10467737"/>
                      <a:ext cx="72084" cy="41778"/>
                    </a:xfrm>
                    <a:custGeom>
                      <a:avLst/>
                      <a:gdLst>
                        <a:gd name="connsiteX0" fmla="*/ 35909 w 72084"/>
                        <a:gd name="connsiteY0" fmla="*/ 34955 h 41778"/>
                        <a:gd name="connsiteX1" fmla="*/ 54158 w 72084"/>
                        <a:gd name="connsiteY1" fmla="*/ 28072 h 41778"/>
                        <a:gd name="connsiteX2" fmla="*/ 71895 w 72084"/>
                        <a:gd name="connsiteY2" fmla="*/ 8034 h 41778"/>
                        <a:gd name="connsiteX3" fmla="*/ 63715 w 72084"/>
                        <a:gd name="connsiteY3" fmla="*/ 286 h 41778"/>
                        <a:gd name="connsiteX4" fmla="*/ 20886 w 72084"/>
                        <a:gd name="connsiteY4" fmla="*/ 4573 h 41778"/>
                        <a:gd name="connsiteX5" fmla="*/ 3325 w 72084"/>
                        <a:gd name="connsiteY5" fmla="*/ 41778 h 41778"/>
                        <a:gd name="connsiteX6" fmla="*/ 35909 w 72084"/>
                        <a:gd name="connsiteY6" fmla="*/ 34955 h 4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084" h="41778">
                          <a:moveTo>
                            <a:pt x="35909" y="34955"/>
                          </a:moveTo>
                          <a:lnTo>
                            <a:pt x="54158" y="28072"/>
                          </a:lnTo>
                          <a:cubicBezTo>
                            <a:pt x="63007" y="24729"/>
                            <a:pt x="69653" y="17237"/>
                            <a:pt x="71895" y="8034"/>
                          </a:cubicBezTo>
                          <a:cubicBezTo>
                            <a:pt x="73075" y="3157"/>
                            <a:pt x="68533" y="-1169"/>
                            <a:pt x="63715" y="286"/>
                          </a:cubicBezTo>
                          <a:lnTo>
                            <a:pt x="20886" y="4573"/>
                          </a:lnTo>
                          <a:cubicBezTo>
                            <a:pt x="1792" y="6264"/>
                            <a:pt x="-4599" y="21209"/>
                            <a:pt x="3325" y="41778"/>
                          </a:cubicBezTo>
                          <a:lnTo>
                            <a:pt x="35909" y="34955"/>
                          </a:lnTo>
                          <a:close/>
                        </a:path>
                      </a:pathLst>
                    </a:custGeom>
                    <a:solidFill>
                      <a:srgbClr val="37384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58" name="Freeform: Shape 857">
                      <a:extLst>
                        <a:ext uri="{FF2B5EF4-FFF2-40B4-BE49-F238E27FC236}">
                          <a16:creationId xmlns:a16="http://schemas.microsoft.com/office/drawing/2014/main" id="{24D793AD-5226-4A9B-9D3E-51CE6AD1B618}"/>
                        </a:ext>
                      </a:extLst>
                    </p:cNvPr>
                    <p:cNvSpPr/>
                    <p:nvPr/>
                  </p:nvSpPr>
                  <p:spPr>
                    <a:xfrm>
                      <a:off x="8456541" y="10498936"/>
                      <a:ext cx="98499" cy="125736"/>
                    </a:xfrm>
                    <a:custGeom>
                      <a:avLst/>
                      <a:gdLst>
                        <a:gd name="connsiteX0" fmla="*/ 54242 w 98499"/>
                        <a:gd name="connsiteY0" fmla="*/ 10580 h 125736"/>
                        <a:gd name="connsiteX1" fmla="*/ 27577 w 98499"/>
                        <a:gd name="connsiteY1" fmla="*/ 64893 h 125736"/>
                        <a:gd name="connsiteX2" fmla="*/ 8620 w 98499"/>
                        <a:gd name="connsiteY2" fmla="*/ 78973 h 125736"/>
                        <a:gd name="connsiteX3" fmla="*/ 1324 w 98499"/>
                        <a:gd name="connsiteY3" fmla="*/ 103534 h 125736"/>
                        <a:gd name="connsiteX4" fmla="*/ 44173 w 98499"/>
                        <a:gd name="connsiteY4" fmla="*/ 125420 h 125736"/>
                        <a:gd name="connsiteX5" fmla="*/ 96834 w 98499"/>
                        <a:gd name="connsiteY5" fmla="*/ 0 h 125736"/>
                        <a:gd name="connsiteX6" fmla="*/ 54222 w 98499"/>
                        <a:gd name="connsiteY6" fmla="*/ 10599 h 12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499" h="125736">
                          <a:moveTo>
                            <a:pt x="54242" y="10580"/>
                          </a:moveTo>
                          <a:cubicBezTo>
                            <a:pt x="61222" y="36084"/>
                            <a:pt x="43524" y="52288"/>
                            <a:pt x="27577" y="64893"/>
                          </a:cubicBezTo>
                          <a:lnTo>
                            <a:pt x="8620" y="78973"/>
                          </a:lnTo>
                          <a:cubicBezTo>
                            <a:pt x="1009" y="84616"/>
                            <a:pt x="-1960" y="94626"/>
                            <a:pt x="1324" y="103534"/>
                          </a:cubicBezTo>
                          <a:cubicBezTo>
                            <a:pt x="5158" y="113877"/>
                            <a:pt x="18019" y="128036"/>
                            <a:pt x="44173" y="125420"/>
                          </a:cubicBezTo>
                          <a:cubicBezTo>
                            <a:pt x="77288" y="122117"/>
                            <a:pt x="105782" y="89572"/>
                            <a:pt x="96834" y="0"/>
                          </a:cubicBezTo>
                          <a:lnTo>
                            <a:pt x="54222" y="10599"/>
                          </a:lnTo>
                          <a:close/>
                        </a:path>
                      </a:pathLst>
                    </a:custGeom>
                    <a:solidFill>
                      <a:srgbClr val="37384F"/>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852" name="Graphic 10">
                    <a:extLst>
                      <a:ext uri="{FF2B5EF4-FFF2-40B4-BE49-F238E27FC236}">
                        <a16:creationId xmlns:a16="http://schemas.microsoft.com/office/drawing/2014/main" id="{6C023038-D702-450E-AEE0-C5ADC863AEAC}"/>
                      </a:ext>
                    </a:extLst>
                  </p:cNvPr>
                  <p:cNvGrpSpPr/>
                  <p:nvPr/>
                </p:nvGrpSpPr>
                <p:grpSpPr>
                  <a:xfrm>
                    <a:off x="8497368" y="10456703"/>
                    <a:ext cx="96204" cy="62785"/>
                    <a:chOff x="8497368" y="10456703"/>
                    <a:chExt cx="96204" cy="62785"/>
                  </a:xfrm>
                </p:grpSpPr>
                <p:sp>
                  <p:nvSpPr>
                    <p:cNvPr id="853" name="Freeform: Shape 852">
                      <a:extLst>
                        <a:ext uri="{FF2B5EF4-FFF2-40B4-BE49-F238E27FC236}">
                          <a16:creationId xmlns:a16="http://schemas.microsoft.com/office/drawing/2014/main" id="{7457CDA0-1D60-4F19-BC39-A2AB9FB014F4}"/>
                        </a:ext>
                      </a:extLst>
                    </p:cNvPr>
                    <p:cNvSpPr/>
                    <p:nvPr/>
                  </p:nvSpPr>
                  <p:spPr>
                    <a:xfrm>
                      <a:off x="8497388" y="10456703"/>
                      <a:ext cx="87686" cy="55113"/>
                    </a:xfrm>
                    <a:custGeom>
                      <a:avLst/>
                      <a:gdLst>
                        <a:gd name="connsiteX0" fmla="*/ 2382 w 87686"/>
                        <a:gd name="connsiteY0" fmla="*/ 55113 h 55113"/>
                        <a:gd name="connsiteX1" fmla="*/ 26254 w 87686"/>
                        <a:gd name="connsiteY1" fmla="*/ 4182 h 55113"/>
                        <a:gd name="connsiteX2" fmla="*/ 87687 w 87686"/>
                        <a:gd name="connsiteY2" fmla="*/ 24259 h 55113"/>
                        <a:gd name="connsiteX3" fmla="*/ 2382 w 87686"/>
                        <a:gd name="connsiteY3" fmla="*/ 55113 h 55113"/>
                      </a:gdLst>
                      <a:ahLst/>
                      <a:cxnLst>
                        <a:cxn ang="0">
                          <a:pos x="connsiteX0" y="connsiteY0"/>
                        </a:cxn>
                        <a:cxn ang="0">
                          <a:pos x="connsiteX1" y="connsiteY1"/>
                        </a:cxn>
                        <a:cxn ang="0">
                          <a:pos x="connsiteX2" y="connsiteY2"/>
                        </a:cxn>
                        <a:cxn ang="0">
                          <a:pos x="connsiteX3" y="connsiteY3"/>
                        </a:cxn>
                      </a:cxnLst>
                      <a:rect l="l" t="t" r="r" b="b"/>
                      <a:pathLst>
                        <a:path w="87686" h="55113">
                          <a:moveTo>
                            <a:pt x="2382" y="55113"/>
                          </a:moveTo>
                          <a:cubicBezTo>
                            <a:pt x="-5091" y="34465"/>
                            <a:pt x="5606" y="11655"/>
                            <a:pt x="26254" y="4182"/>
                          </a:cubicBezTo>
                          <a:cubicBezTo>
                            <a:pt x="54965" y="-6201"/>
                            <a:pt x="80214" y="3592"/>
                            <a:pt x="87687" y="24259"/>
                          </a:cubicBezTo>
                          <a:lnTo>
                            <a:pt x="2382" y="55113"/>
                          </a:ln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54" name="Freeform: Shape 853">
                      <a:extLst>
                        <a:ext uri="{FF2B5EF4-FFF2-40B4-BE49-F238E27FC236}">
                          <a16:creationId xmlns:a16="http://schemas.microsoft.com/office/drawing/2014/main" id="{D321B23B-E645-4914-8FD1-39F65D674412}"/>
                        </a:ext>
                      </a:extLst>
                    </p:cNvPr>
                    <p:cNvSpPr/>
                    <p:nvPr/>
                  </p:nvSpPr>
                  <p:spPr>
                    <a:xfrm>
                      <a:off x="8541376" y="10459519"/>
                      <a:ext cx="42243" cy="34795"/>
                    </a:xfrm>
                    <a:custGeom>
                      <a:avLst/>
                      <a:gdLst>
                        <a:gd name="connsiteX0" fmla="*/ 6770 w 42243"/>
                        <a:gd name="connsiteY0" fmla="*/ 34796 h 34795"/>
                        <a:gd name="connsiteX1" fmla="*/ 6316 w 42243"/>
                        <a:gd name="connsiteY1" fmla="*/ 1032 h 34795"/>
                        <a:gd name="connsiteX2" fmla="*/ 42243 w 42243"/>
                        <a:gd name="connsiteY2" fmla="*/ 21955 h 34795"/>
                        <a:gd name="connsiteX3" fmla="*/ 6770 w 42243"/>
                        <a:gd name="connsiteY3" fmla="*/ 34796 h 34795"/>
                      </a:gdLst>
                      <a:ahLst/>
                      <a:cxnLst>
                        <a:cxn ang="0">
                          <a:pos x="connsiteX0" y="connsiteY0"/>
                        </a:cxn>
                        <a:cxn ang="0">
                          <a:pos x="connsiteX1" y="connsiteY1"/>
                        </a:cxn>
                        <a:cxn ang="0">
                          <a:pos x="connsiteX2" y="connsiteY2"/>
                        </a:cxn>
                        <a:cxn ang="0">
                          <a:pos x="connsiteX3" y="connsiteY3"/>
                        </a:cxn>
                      </a:cxnLst>
                      <a:rect l="l" t="t" r="r" b="b"/>
                      <a:pathLst>
                        <a:path w="42243" h="34795">
                          <a:moveTo>
                            <a:pt x="6770" y="34796"/>
                          </a:moveTo>
                          <a:cubicBezTo>
                            <a:pt x="-2080" y="19261"/>
                            <a:pt x="-2276" y="4139"/>
                            <a:pt x="6316" y="1032"/>
                          </a:cubicBezTo>
                          <a:cubicBezTo>
                            <a:pt x="18253" y="-3294"/>
                            <a:pt x="33415" y="6420"/>
                            <a:pt x="42243" y="21955"/>
                          </a:cubicBezTo>
                          <a:lnTo>
                            <a:pt x="6770" y="34796"/>
                          </a:lnTo>
                          <a:close/>
                        </a:path>
                      </a:pathLst>
                    </a:custGeom>
                    <a:solidFill>
                      <a:srgbClr val="F7941D"/>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855" name="Freeform: Shape 854">
                      <a:extLst>
                        <a:ext uri="{FF2B5EF4-FFF2-40B4-BE49-F238E27FC236}">
                          <a16:creationId xmlns:a16="http://schemas.microsoft.com/office/drawing/2014/main" id="{9AD2F3A6-536C-4758-A608-4CBCB44F9FE6}"/>
                        </a:ext>
                      </a:extLst>
                    </p:cNvPr>
                    <p:cNvSpPr/>
                    <p:nvPr/>
                  </p:nvSpPr>
                  <p:spPr>
                    <a:xfrm>
                      <a:off x="8497368" y="10479583"/>
                      <a:ext cx="96204" cy="39905"/>
                    </a:xfrm>
                    <a:custGeom>
                      <a:avLst/>
                      <a:gdLst>
                        <a:gd name="connsiteX0" fmla="*/ 93567 w 96204"/>
                        <a:gd name="connsiteY0" fmla="*/ 7770 h 39905"/>
                        <a:gd name="connsiteX1" fmla="*/ 5371 w 96204"/>
                        <a:gd name="connsiteY1" fmla="*/ 39666 h 39905"/>
                        <a:gd name="connsiteX2" fmla="*/ 239 w 96204"/>
                        <a:gd name="connsiteY2" fmla="*/ 37267 h 39905"/>
                        <a:gd name="connsiteX3" fmla="*/ 2637 w 96204"/>
                        <a:gd name="connsiteY3" fmla="*/ 32135 h 39905"/>
                        <a:gd name="connsiteX4" fmla="*/ 90833 w 96204"/>
                        <a:gd name="connsiteY4" fmla="*/ 239 h 39905"/>
                        <a:gd name="connsiteX5" fmla="*/ 95966 w 96204"/>
                        <a:gd name="connsiteY5" fmla="*/ 2638 h 39905"/>
                        <a:gd name="connsiteX6" fmla="*/ 93567 w 96204"/>
                        <a:gd name="connsiteY6" fmla="*/ 7770 h 3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204" h="39905">
                          <a:moveTo>
                            <a:pt x="93567" y="7770"/>
                          </a:moveTo>
                          <a:lnTo>
                            <a:pt x="5371" y="39666"/>
                          </a:lnTo>
                          <a:cubicBezTo>
                            <a:pt x="3286" y="40414"/>
                            <a:pt x="1006" y="39352"/>
                            <a:pt x="239" y="37267"/>
                          </a:cubicBezTo>
                          <a:cubicBezTo>
                            <a:pt x="-508" y="35183"/>
                            <a:pt x="554" y="32902"/>
                            <a:pt x="2637" y="32135"/>
                          </a:cubicBezTo>
                          <a:lnTo>
                            <a:pt x="90833" y="239"/>
                          </a:lnTo>
                          <a:cubicBezTo>
                            <a:pt x="92917" y="-508"/>
                            <a:pt x="95218" y="554"/>
                            <a:pt x="95966" y="2638"/>
                          </a:cubicBezTo>
                          <a:cubicBezTo>
                            <a:pt x="96713" y="4722"/>
                            <a:pt x="95651" y="7004"/>
                            <a:pt x="93567" y="7770"/>
                          </a:cubicBezTo>
                          <a:close/>
                        </a:path>
                      </a:pathLst>
                    </a:custGeom>
                    <a:solidFill>
                      <a:srgbClr val="E37C00"/>
                    </a:solidFill>
                    <a:ln w="196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grpSp>
            </p:grpSp>
          </p:grpSp>
        </p:grpSp>
        <p:sp>
          <p:nvSpPr>
            <p:cNvPr id="765" name="Rectangle 764">
              <a:extLst>
                <a:ext uri="{FF2B5EF4-FFF2-40B4-BE49-F238E27FC236}">
                  <a16:creationId xmlns:a16="http://schemas.microsoft.com/office/drawing/2014/main" id="{6F5AB21F-ACB2-4F68-B399-11E78E154FE0}"/>
                </a:ext>
              </a:extLst>
            </p:cNvPr>
            <p:cNvSpPr/>
            <p:nvPr/>
          </p:nvSpPr>
          <p:spPr>
            <a:xfrm>
              <a:off x="4372911" y="2192485"/>
              <a:ext cx="7278931" cy="45719"/>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Verdana"/>
                <a:ea typeface="+mn-ea"/>
                <a:cs typeface="+mn-cs"/>
              </a:endParaRPr>
            </a:p>
          </p:txBody>
        </p:sp>
      </p:grpSp>
    </p:spTree>
    <p:extLst>
      <p:ext uri="{BB962C8B-B14F-4D97-AF65-F5344CB8AC3E}">
        <p14:creationId xmlns:p14="http://schemas.microsoft.com/office/powerpoint/2010/main" val="32932468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38A079D0-8C58-1B17-DFE6-CCE66FECED0A}"/>
              </a:ext>
            </a:extLst>
          </p:cNvPr>
          <p:cNvSpPr>
            <a:spLocks noGrp="1"/>
          </p:cNvSpPr>
          <p:nvPr>
            <p:ph type="title"/>
          </p:nvPr>
        </p:nvSpPr>
        <p:spPr>
          <a:xfrm>
            <a:off x="1314824" y="735106"/>
            <a:ext cx="10053763" cy="2928470"/>
          </a:xfrm>
        </p:spPr>
        <p:txBody>
          <a:bodyPr vert="horz" lIns="91440" tIns="45720" rIns="91440" bIns="45720" rtlCol="0" anchor="b">
            <a:normAutofit/>
          </a:bodyPr>
          <a:lstStyle/>
          <a:p>
            <a:r>
              <a:rPr lang="en-IN" sz="3200" dirty="0">
                <a:solidFill>
                  <a:srgbClr val="FFFFFF"/>
                </a:solidFill>
              </a:rPr>
              <a:t>Updates &amp; Recent Achievement</a:t>
            </a:r>
            <a:br>
              <a:rPr lang="en-IN" sz="3200" dirty="0">
                <a:solidFill>
                  <a:srgbClr val="FFFFFF"/>
                </a:solidFill>
              </a:rPr>
            </a:br>
            <a:r>
              <a:rPr lang="en-IN" sz="2000" dirty="0">
                <a:solidFill>
                  <a:srgbClr val="FFFFFF"/>
                </a:solidFill>
              </a:rPr>
              <a:t> - Capacities</a:t>
            </a:r>
            <a:br>
              <a:rPr lang="en-IN" sz="2000" dirty="0">
                <a:solidFill>
                  <a:srgbClr val="FFFFFF"/>
                </a:solidFill>
              </a:rPr>
            </a:br>
            <a:r>
              <a:rPr lang="en-IN" sz="2000" dirty="0">
                <a:solidFill>
                  <a:srgbClr val="FFFFFF"/>
                </a:solidFill>
              </a:rPr>
              <a:t> - Commercial Scale Chemistry</a:t>
            </a:r>
            <a:br>
              <a:rPr lang="en-IN" sz="2000" dirty="0">
                <a:solidFill>
                  <a:srgbClr val="FFFFFF"/>
                </a:solidFill>
              </a:rPr>
            </a:br>
            <a:r>
              <a:rPr lang="en-IN" sz="2000" dirty="0">
                <a:solidFill>
                  <a:srgbClr val="FFFFFF"/>
                </a:solidFill>
              </a:rPr>
              <a:t> - Developments at Pilot &amp; Lab Scale</a:t>
            </a:r>
            <a:br>
              <a:rPr lang="en-IN" sz="2000" dirty="0">
                <a:solidFill>
                  <a:srgbClr val="FFFFFF"/>
                </a:solidFill>
              </a:rPr>
            </a:br>
            <a:r>
              <a:rPr lang="en-IN" sz="2000" dirty="0">
                <a:solidFill>
                  <a:srgbClr val="FFFFFF"/>
                </a:solidFill>
              </a:rPr>
              <a:t> - Contracts &amp; Agreements – Pharma &amp; Agro</a:t>
            </a:r>
            <a:br>
              <a:rPr lang="en-IN" sz="2000" dirty="0">
                <a:solidFill>
                  <a:srgbClr val="FFFFFF"/>
                </a:solidFill>
              </a:rPr>
            </a:br>
            <a:r>
              <a:rPr lang="en-IN" sz="2000" dirty="0">
                <a:solidFill>
                  <a:srgbClr val="FFFFFF"/>
                </a:solidFill>
              </a:rPr>
              <a:t> - Inventys Strengths</a:t>
            </a:r>
            <a:endParaRPr lang="en-IN" sz="3200" dirty="0">
              <a:solidFill>
                <a:srgbClr val="FFFFFF"/>
              </a:solidFill>
            </a:endParaRPr>
          </a:p>
        </p:txBody>
      </p:sp>
      <p:sp>
        <p:nvSpPr>
          <p:cNvPr id="5" name="Text Placeholder 4">
            <a:extLst>
              <a:ext uri="{FF2B5EF4-FFF2-40B4-BE49-F238E27FC236}">
                <a16:creationId xmlns:a16="http://schemas.microsoft.com/office/drawing/2014/main" id="{A03761A0-6581-09FA-AB58-A5107B8F10C4}"/>
              </a:ext>
            </a:extLst>
          </p:cNvPr>
          <p:cNvSpPr>
            <a:spLocks noGrp="1"/>
          </p:cNvSpPr>
          <p:nvPr>
            <p:ph type="body" idx="1"/>
          </p:nvPr>
        </p:nvSpPr>
        <p:spPr>
          <a:xfrm>
            <a:off x="1350682" y="4870824"/>
            <a:ext cx="10005951" cy="1458258"/>
          </a:xfrm>
        </p:spPr>
        <p:txBody>
          <a:bodyPr vert="horz" lIns="91440" tIns="45720" rIns="91440" bIns="45720" rtlCol="0" anchor="ctr">
            <a:normAutofit/>
          </a:bodyPr>
          <a:lstStyle/>
          <a:p>
            <a:r>
              <a:rPr lang="en-US" dirty="0"/>
              <a:t>Updates &amp; Recent Achievement at Inventys</a:t>
            </a:r>
          </a:p>
          <a:p>
            <a:r>
              <a:rPr lang="en-US" dirty="0"/>
              <a:t>Last ~12 months</a:t>
            </a:r>
          </a:p>
        </p:txBody>
      </p:sp>
    </p:spTree>
    <p:extLst>
      <p:ext uri="{BB962C8B-B14F-4D97-AF65-F5344CB8AC3E}">
        <p14:creationId xmlns:p14="http://schemas.microsoft.com/office/powerpoint/2010/main" val="1541916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C5289"/>
        </a:solidFill>
        <a:effectLst/>
      </p:bgPr>
    </p:bg>
    <p:spTree>
      <p:nvGrpSpPr>
        <p:cNvPr id="1" name=""/>
        <p:cNvGrpSpPr/>
        <p:nvPr/>
      </p:nvGrpSpPr>
      <p:grpSpPr>
        <a:xfrm>
          <a:off x="0" y="0"/>
          <a:ext cx="0" cy="0"/>
          <a:chOff x="0" y="0"/>
          <a:chExt cx="0" cy="0"/>
        </a:xfrm>
      </p:grpSpPr>
      <p:sp>
        <p:nvSpPr>
          <p:cNvPr id="31" name="Rectangle: Top Corners Rounded 30">
            <a:extLst>
              <a:ext uri="{FF2B5EF4-FFF2-40B4-BE49-F238E27FC236}">
                <a16:creationId xmlns:a16="http://schemas.microsoft.com/office/drawing/2014/main" id="{6252F1A7-84C8-4C48-93FE-45E1BED26717}"/>
              </a:ext>
            </a:extLst>
          </p:cNvPr>
          <p:cNvSpPr/>
          <p:nvPr/>
        </p:nvSpPr>
        <p:spPr>
          <a:xfrm rot="5400000">
            <a:off x="1503440" y="-314314"/>
            <a:ext cx="4720063" cy="7726944"/>
          </a:xfrm>
          <a:prstGeom prst="round2SameRect">
            <a:avLst>
              <a:gd name="adj1" fmla="val 3544"/>
              <a:gd name="adj2"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 name="Title 1">
            <a:extLst>
              <a:ext uri="{FF2B5EF4-FFF2-40B4-BE49-F238E27FC236}">
                <a16:creationId xmlns:a16="http://schemas.microsoft.com/office/drawing/2014/main" id="{E8DB072E-31F7-430B-BFFC-9DD53AAF2957}"/>
              </a:ext>
            </a:extLst>
          </p:cNvPr>
          <p:cNvSpPr>
            <a:spLocks noGrp="1"/>
          </p:cNvSpPr>
          <p:nvPr>
            <p:ph type="title"/>
          </p:nvPr>
        </p:nvSpPr>
        <p:spPr>
          <a:xfrm>
            <a:off x="838200" y="540646"/>
            <a:ext cx="10515600" cy="443198"/>
          </a:xfrm>
        </p:spPr>
        <p:txBody>
          <a:bodyPr/>
          <a:lstStyle/>
          <a:p>
            <a:r>
              <a:rPr lang="en-US" dirty="0">
                <a:solidFill>
                  <a:schemeClr val="bg1"/>
                </a:solidFill>
              </a:rPr>
              <a:t>Safety &amp; Sustainability</a:t>
            </a:r>
            <a:endParaRPr lang="en-US" dirty="0">
              <a:solidFill>
                <a:schemeClr val="accent3"/>
              </a:solidFill>
            </a:endParaRPr>
          </a:p>
        </p:txBody>
      </p:sp>
      <p:sp>
        <p:nvSpPr>
          <p:cNvPr id="5" name="Slide Number Placeholder 4">
            <a:extLst>
              <a:ext uri="{FF2B5EF4-FFF2-40B4-BE49-F238E27FC236}">
                <a16:creationId xmlns:a16="http://schemas.microsoft.com/office/drawing/2014/main" id="{E5FC6641-3E0E-473E-A64B-B96132B195FC}"/>
              </a:ext>
            </a:extLst>
          </p:cNvPr>
          <p:cNvSpPr>
            <a:spLocks noGrp="1"/>
          </p:cNvSpPr>
          <p:nvPr>
            <p:ph type="sldNum" sz="quarter" idx="12"/>
          </p:nvPr>
        </p:nvSpPr>
        <p:spPr>
          <a:xfrm>
            <a:off x="11072190" y="6356350"/>
            <a:ext cx="281609"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27212B-DAB7-41D9-8B3C-111279E9B140}" type="slidenum">
              <a:rPr kumimoji="0" lang="en-US" sz="1050" b="0" i="0" u="none" strike="noStrike" kern="1200" cap="none" spc="0" normalizeH="0" baseline="0" noProof="0" smtClean="0">
                <a:ln>
                  <a:noFill/>
                </a:ln>
                <a:solidFill>
                  <a:prstClr val="white"/>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50" b="0" i="0" u="none" strike="noStrike" kern="1200" cap="none" spc="0" normalizeH="0" baseline="0" noProof="0">
              <a:ln>
                <a:noFill/>
              </a:ln>
              <a:solidFill>
                <a:prstClr val="white"/>
              </a:solidFill>
              <a:effectLst/>
              <a:uLnTx/>
              <a:uFillTx/>
              <a:latin typeface="Segoe UI"/>
              <a:ea typeface="+mn-ea"/>
              <a:cs typeface="+mn-cs"/>
            </a:endParaRPr>
          </a:p>
        </p:txBody>
      </p:sp>
      <p:sp>
        <p:nvSpPr>
          <p:cNvPr id="24" name="Rectangle: Top Corners Rounded 23">
            <a:extLst>
              <a:ext uri="{FF2B5EF4-FFF2-40B4-BE49-F238E27FC236}">
                <a16:creationId xmlns:a16="http://schemas.microsoft.com/office/drawing/2014/main" id="{33D5297C-8E98-4A1D-9B4E-A341C7343071}"/>
              </a:ext>
            </a:extLst>
          </p:cNvPr>
          <p:cNvSpPr/>
          <p:nvPr/>
        </p:nvSpPr>
        <p:spPr>
          <a:xfrm rot="16200000">
            <a:off x="7449026" y="835450"/>
            <a:ext cx="3842231" cy="5643716"/>
          </a:xfrm>
          <a:prstGeom prst="round2SameRect">
            <a:avLst>
              <a:gd name="adj1" fmla="val 5272"/>
              <a:gd name="adj2" fmla="val 0"/>
            </a:avLst>
          </a:prstGeom>
          <a:solidFill>
            <a:srgbClr val="00A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25" name="TextBox 24">
            <a:extLst>
              <a:ext uri="{FF2B5EF4-FFF2-40B4-BE49-F238E27FC236}">
                <a16:creationId xmlns:a16="http://schemas.microsoft.com/office/drawing/2014/main" id="{FA55C4C5-0880-43BB-8034-9EF8F7D1EB4E}"/>
              </a:ext>
            </a:extLst>
          </p:cNvPr>
          <p:cNvSpPr txBox="1"/>
          <p:nvPr/>
        </p:nvSpPr>
        <p:spPr>
          <a:xfrm>
            <a:off x="7191086" y="2862566"/>
            <a:ext cx="4828847" cy="147732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Segoe UI"/>
                <a:ea typeface="Microsoft JhengHei UI" panose="020B0604030504040204" pitchFamily="34" charset="-120"/>
                <a:cs typeface="+mn-cs"/>
              </a:rPr>
              <a:t>Decade+ long demonstrated commitment excellence in Safe Manufacturing &amp; Sustainable Practices</a:t>
            </a:r>
          </a:p>
        </p:txBody>
      </p:sp>
      <p:sp>
        <p:nvSpPr>
          <p:cNvPr id="33" name="Right Triangle 32">
            <a:extLst>
              <a:ext uri="{FF2B5EF4-FFF2-40B4-BE49-F238E27FC236}">
                <a16:creationId xmlns:a16="http://schemas.microsoft.com/office/drawing/2014/main" id="{6383BBA4-4F7F-4F12-95E9-3B012728090A}"/>
              </a:ext>
            </a:extLst>
          </p:cNvPr>
          <p:cNvSpPr/>
          <p:nvPr/>
        </p:nvSpPr>
        <p:spPr>
          <a:xfrm flipH="1">
            <a:off x="6964771" y="1484930"/>
            <a:ext cx="163082" cy="251901"/>
          </a:xfrm>
          <a:prstGeom prst="rtTriangle">
            <a:avLst/>
          </a:prstGeom>
          <a:solidFill>
            <a:srgbClr val="00AF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2" name="Rectangle: Top Corners Rounded 31">
            <a:extLst>
              <a:ext uri="{FF2B5EF4-FFF2-40B4-BE49-F238E27FC236}">
                <a16:creationId xmlns:a16="http://schemas.microsoft.com/office/drawing/2014/main" id="{D991223B-6505-4C33-9D7C-01D18DB355D5}"/>
              </a:ext>
            </a:extLst>
          </p:cNvPr>
          <p:cNvSpPr/>
          <p:nvPr/>
        </p:nvSpPr>
        <p:spPr>
          <a:xfrm rot="10800000">
            <a:off x="7121401" y="1484930"/>
            <a:ext cx="848887" cy="984539"/>
          </a:xfrm>
          <a:prstGeom prst="round2SameRect">
            <a:avLst/>
          </a:prstGeom>
          <a:solidFill>
            <a:srgbClr val="ACCF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cxnSp>
        <p:nvCxnSpPr>
          <p:cNvPr id="35" name="Straight Connector 34">
            <a:extLst>
              <a:ext uri="{FF2B5EF4-FFF2-40B4-BE49-F238E27FC236}">
                <a16:creationId xmlns:a16="http://schemas.microsoft.com/office/drawing/2014/main" id="{68402FD7-6D8F-4A45-9604-C9AEB4BCA454}"/>
              </a:ext>
            </a:extLst>
          </p:cNvPr>
          <p:cNvCxnSpPr/>
          <p:nvPr/>
        </p:nvCxnSpPr>
        <p:spPr>
          <a:xfrm>
            <a:off x="7191087" y="4827639"/>
            <a:ext cx="5000913" cy="0"/>
          </a:xfrm>
          <a:prstGeom prst="line">
            <a:avLst/>
          </a:prstGeom>
          <a:ln>
            <a:solidFill>
              <a:schemeClr val="bg1">
                <a:alpha val="48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3A9FFC3-D004-4DC9-9718-E3157E9F89CD}"/>
              </a:ext>
            </a:extLst>
          </p:cNvPr>
          <p:cNvCxnSpPr/>
          <p:nvPr/>
        </p:nvCxnSpPr>
        <p:spPr>
          <a:xfrm>
            <a:off x="7121401" y="4827639"/>
            <a:ext cx="508431" cy="0"/>
          </a:xfrm>
          <a:prstGeom prst="line">
            <a:avLst/>
          </a:prstGeom>
          <a:ln w="47625">
            <a:solidFill>
              <a:srgbClr val="FBB425"/>
            </a:solidFill>
          </a:ln>
        </p:spPr>
        <p:style>
          <a:lnRef idx="1">
            <a:schemeClr val="accent1"/>
          </a:lnRef>
          <a:fillRef idx="0">
            <a:schemeClr val="accent1"/>
          </a:fillRef>
          <a:effectRef idx="0">
            <a:schemeClr val="accent1"/>
          </a:effectRef>
          <a:fontRef idx="minor">
            <a:schemeClr val="tx1"/>
          </a:fontRef>
        </p:style>
      </p:cxnSp>
      <p:pic>
        <p:nvPicPr>
          <p:cNvPr id="39" name="Graphic 38">
            <a:extLst>
              <a:ext uri="{FF2B5EF4-FFF2-40B4-BE49-F238E27FC236}">
                <a16:creationId xmlns:a16="http://schemas.microsoft.com/office/drawing/2014/main" id="{A57D3D87-0760-44DE-8FF0-0230D8401E0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43239" y="1686510"/>
            <a:ext cx="608533" cy="608533"/>
          </a:xfrm>
          <a:prstGeom prst="rect">
            <a:avLst/>
          </a:prstGeom>
        </p:spPr>
      </p:pic>
      <p:cxnSp>
        <p:nvCxnSpPr>
          <p:cNvPr id="38" name="Straight Connector 37">
            <a:extLst>
              <a:ext uri="{FF2B5EF4-FFF2-40B4-BE49-F238E27FC236}">
                <a16:creationId xmlns:a16="http://schemas.microsoft.com/office/drawing/2014/main" id="{7551AB21-9427-4AB9-AF55-7234AFB10008}"/>
              </a:ext>
            </a:extLst>
          </p:cNvPr>
          <p:cNvCxnSpPr>
            <a:cxnSpLocks/>
          </p:cNvCxnSpPr>
          <p:nvPr/>
        </p:nvCxnSpPr>
        <p:spPr>
          <a:xfrm>
            <a:off x="1097538" y="4597060"/>
            <a:ext cx="0" cy="38064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6D7DF2FC-C304-4310-B6A3-592E29A31099}"/>
              </a:ext>
            </a:extLst>
          </p:cNvPr>
          <p:cNvGrpSpPr/>
          <p:nvPr/>
        </p:nvGrpSpPr>
        <p:grpSpPr>
          <a:xfrm>
            <a:off x="838199" y="3694204"/>
            <a:ext cx="5413648" cy="1588009"/>
            <a:chOff x="838199" y="3897295"/>
            <a:chExt cx="5413648" cy="1111480"/>
          </a:xfrm>
        </p:grpSpPr>
        <p:sp>
          <p:nvSpPr>
            <p:cNvPr id="30" name="Rectangle: Rounded Corners 29">
              <a:extLst>
                <a:ext uri="{FF2B5EF4-FFF2-40B4-BE49-F238E27FC236}">
                  <a16:creationId xmlns:a16="http://schemas.microsoft.com/office/drawing/2014/main" id="{85D5CFF7-ACC9-4B5A-93F1-D2FE1C367028}"/>
                </a:ext>
              </a:extLst>
            </p:cNvPr>
            <p:cNvSpPr/>
            <p:nvPr/>
          </p:nvSpPr>
          <p:spPr>
            <a:xfrm>
              <a:off x="868122" y="3897298"/>
              <a:ext cx="5383725" cy="1111477"/>
            </a:xfrm>
            <a:prstGeom prst="roundRect">
              <a:avLst>
                <a:gd name="adj" fmla="val 11112"/>
              </a:avLst>
            </a:prstGeom>
            <a:solidFill>
              <a:schemeClr val="bg1"/>
            </a:solidFill>
            <a:ln w="95250">
              <a:noFill/>
            </a:ln>
            <a:effectLst>
              <a:outerShdw blurRad="152400" dist="381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34" name="TextBox 33">
              <a:extLst>
                <a:ext uri="{FF2B5EF4-FFF2-40B4-BE49-F238E27FC236}">
                  <a16:creationId xmlns:a16="http://schemas.microsoft.com/office/drawing/2014/main" id="{6CC11625-B35D-4581-8A1C-C85E47EDDF56}"/>
                </a:ext>
              </a:extLst>
            </p:cNvPr>
            <p:cNvSpPr txBox="1"/>
            <p:nvPr/>
          </p:nvSpPr>
          <p:spPr>
            <a:xfrm>
              <a:off x="2828412" y="4027812"/>
              <a:ext cx="3380402" cy="861677"/>
            </a:xfrm>
            <a:prstGeom prst="rect">
              <a:avLst/>
            </a:prstGeom>
            <a:noFill/>
          </p:spPr>
          <p:txBody>
            <a:bodyPr wrap="square" lIns="0" tIns="0" rIns="0" bIns="0" rtlCol="0">
              <a:spAutoFit/>
            </a:bodyPr>
            <a:lstStyle/>
            <a:p>
              <a:pPr lvl="0" algn="ctr"/>
              <a:r>
                <a:rPr kumimoji="0" lang="en-IN" sz="2000" b="0" i="0" u="none" strike="noStrike" kern="1200" cap="none" spc="0" normalizeH="0" baseline="0" noProof="0" dirty="0">
                  <a:ln>
                    <a:noFill/>
                  </a:ln>
                  <a:solidFill>
                    <a:prstClr val="black"/>
                  </a:solidFill>
                  <a:effectLst/>
                  <a:uLnTx/>
                  <a:uFillTx/>
                  <a:latin typeface="Segoe UI"/>
                  <a:ea typeface="+mn-ea"/>
                  <a:cs typeface="+mn-cs"/>
                </a:rPr>
                <a:t>&gt; </a:t>
              </a:r>
              <a:r>
                <a:rPr kumimoji="0" lang="en-IN" sz="2000" b="0" i="0" u="none" strike="noStrike" kern="1200" cap="none" spc="0" normalizeH="0" baseline="0" noProof="0" dirty="0">
                  <a:ln>
                    <a:noFill/>
                  </a:ln>
                  <a:solidFill>
                    <a:srgbClr val="FBB425">
                      <a:lumMod val="75000"/>
                    </a:srgbClr>
                  </a:solidFill>
                  <a:effectLst/>
                  <a:uLnTx/>
                  <a:uFillTx/>
                  <a:latin typeface="Segoe UI"/>
                  <a:ea typeface="+mn-ea"/>
                  <a:cs typeface="+mn-cs"/>
                </a:rPr>
                <a:t>51%</a:t>
              </a:r>
              <a:r>
                <a:rPr kumimoji="0" lang="en-IN" sz="2000" b="0" i="0" u="none" strike="noStrike" kern="1200" cap="none" spc="0" normalizeH="0" baseline="0" noProof="0" dirty="0">
                  <a:ln>
                    <a:noFill/>
                  </a:ln>
                  <a:solidFill>
                    <a:prstClr val="black"/>
                  </a:solidFill>
                  <a:effectLst/>
                  <a:uLnTx/>
                  <a:uFillTx/>
                  <a:latin typeface="Segoe UI"/>
                  <a:ea typeface="+mn-ea"/>
                  <a:cs typeface="+mn-cs"/>
                </a:rPr>
                <a:t> of the total energy add </a:t>
              </a:r>
              <a:r>
                <a:rPr lang="en-IN" sz="2000" dirty="0">
                  <a:solidFill>
                    <a:srgbClr val="FBB425">
                      <a:lumMod val="75000"/>
                    </a:srgbClr>
                  </a:solidFill>
                </a:rPr>
                <a:t>NETZERO Carbon</a:t>
              </a:r>
              <a:endParaRPr kumimoji="0" lang="en-IN" sz="2000" b="0" i="0" u="none" strike="noStrike" kern="1200" cap="none" spc="0" normalizeH="0" baseline="0" noProof="0" dirty="0">
                <a:ln>
                  <a:noFill/>
                </a:ln>
                <a:solidFill>
                  <a:prstClr val="black"/>
                </a:solidFill>
                <a:effectLst/>
                <a:uLnTx/>
                <a:uFillTx/>
                <a:latin typeface="Segoe U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prstClr val="black"/>
                  </a:solidFill>
                  <a:effectLst/>
                  <a:uLnTx/>
                  <a:uFillTx/>
                  <a:latin typeface="Segoe UI"/>
                  <a:ea typeface="+mn-ea"/>
                  <a:cs typeface="+mn-cs"/>
                </a:rPr>
                <a:t>Using renewable resour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000" b="0" i="0" u="none" strike="noStrike" kern="1200" cap="none" spc="0" normalizeH="0" baseline="0" noProof="0" dirty="0">
                  <a:ln>
                    <a:noFill/>
                  </a:ln>
                  <a:solidFill>
                    <a:srgbClr val="FBB425">
                      <a:lumMod val="75000"/>
                    </a:srgbClr>
                  </a:solidFill>
                  <a:effectLst/>
                  <a:uLnTx/>
                  <a:uFillTx/>
                  <a:latin typeface="Segoe UI"/>
                  <a:ea typeface="+mn-ea"/>
                  <a:cs typeface="+mn-cs"/>
                </a:rPr>
                <a:t>Since 2012</a:t>
              </a:r>
            </a:p>
          </p:txBody>
        </p:sp>
        <p:sp>
          <p:nvSpPr>
            <p:cNvPr id="36" name="Rectangle: Top Corners Rounded 35">
              <a:extLst>
                <a:ext uri="{FF2B5EF4-FFF2-40B4-BE49-F238E27FC236}">
                  <a16:creationId xmlns:a16="http://schemas.microsoft.com/office/drawing/2014/main" id="{7FD9AFC3-CE64-4EC8-909A-B2E8696DFC53}"/>
                </a:ext>
              </a:extLst>
            </p:cNvPr>
            <p:cNvSpPr/>
            <p:nvPr/>
          </p:nvSpPr>
          <p:spPr>
            <a:xfrm rot="16200000">
              <a:off x="1372564" y="3362930"/>
              <a:ext cx="1111479" cy="2180209"/>
            </a:xfrm>
            <a:prstGeom prst="round2SameRect">
              <a:avLst/>
            </a:prstGeom>
            <a:solidFill>
              <a:schemeClr val="accent3">
                <a:lumMod val="40000"/>
                <a:lumOff val="6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nvGrpSpPr>
            <p:cNvPr id="9" name="Group 8">
              <a:extLst>
                <a:ext uri="{FF2B5EF4-FFF2-40B4-BE49-F238E27FC236}">
                  <a16:creationId xmlns:a16="http://schemas.microsoft.com/office/drawing/2014/main" id="{AA875EEA-C4B2-4045-8181-36C4AA65EAB4}"/>
                </a:ext>
              </a:extLst>
            </p:cNvPr>
            <p:cNvGrpSpPr/>
            <p:nvPr/>
          </p:nvGrpSpPr>
          <p:grpSpPr>
            <a:xfrm>
              <a:off x="924231" y="4163714"/>
              <a:ext cx="2094165" cy="526896"/>
              <a:chOff x="948351" y="5161443"/>
              <a:chExt cx="2270444" cy="652742"/>
            </a:xfrm>
          </p:grpSpPr>
          <p:pic>
            <p:nvPicPr>
              <p:cNvPr id="27" name="Picture 26">
                <a:extLst>
                  <a:ext uri="{FF2B5EF4-FFF2-40B4-BE49-F238E27FC236}">
                    <a16:creationId xmlns:a16="http://schemas.microsoft.com/office/drawing/2014/main" id="{771DA8B8-2BC2-4C58-BE48-E7794834A007}"/>
                  </a:ext>
                </a:extLst>
              </p:cNvPr>
              <p:cNvPicPr>
                <a:picLocks noChangeAspect="1"/>
              </p:cNvPicPr>
              <p:nvPr/>
            </p:nvPicPr>
            <p:blipFill>
              <a:blip r:embed="rId5"/>
              <a:stretch>
                <a:fillRect/>
              </a:stretch>
            </p:blipFill>
            <p:spPr>
              <a:xfrm>
                <a:off x="948351" y="5161443"/>
                <a:ext cx="2270444" cy="652742"/>
              </a:xfrm>
              <a:prstGeom prst="rect">
                <a:avLst/>
              </a:prstGeom>
            </p:spPr>
          </p:pic>
          <p:sp>
            <p:nvSpPr>
              <p:cNvPr id="40" name="Rectangle 39">
                <a:extLst>
                  <a:ext uri="{FF2B5EF4-FFF2-40B4-BE49-F238E27FC236}">
                    <a16:creationId xmlns:a16="http://schemas.microsoft.com/office/drawing/2014/main" id="{9DF8A748-07D9-4629-81DC-9B5DAC0352E7}"/>
                  </a:ext>
                </a:extLst>
              </p:cNvPr>
              <p:cNvSpPr/>
              <p:nvPr/>
            </p:nvSpPr>
            <p:spPr>
              <a:xfrm>
                <a:off x="1079782" y="5312726"/>
                <a:ext cx="434734"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92D050"/>
                    </a:solidFill>
                    <a:effectLst/>
                    <a:uLnTx/>
                    <a:uFillTx/>
                    <a:latin typeface="Segoe UI"/>
                    <a:ea typeface="+mn-ea"/>
                    <a:cs typeface="+mn-cs"/>
                  </a:rPr>
                  <a:t>89</a:t>
                </a: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grpSp>
      </p:grpSp>
      <p:grpSp>
        <p:nvGrpSpPr>
          <p:cNvPr id="12" name="Group 11">
            <a:extLst>
              <a:ext uri="{FF2B5EF4-FFF2-40B4-BE49-F238E27FC236}">
                <a16:creationId xmlns:a16="http://schemas.microsoft.com/office/drawing/2014/main" id="{D0A7196E-06D7-434D-866C-BE4CDFD89A0E}"/>
              </a:ext>
            </a:extLst>
          </p:cNvPr>
          <p:cNvGrpSpPr/>
          <p:nvPr/>
        </p:nvGrpSpPr>
        <p:grpSpPr>
          <a:xfrm>
            <a:off x="838199" y="2034070"/>
            <a:ext cx="5443144" cy="1454858"/>
            <a:chOff x="838199" y="1803246"/>
            <a:chExt cx="5443144" cy="1454858"/>
          </a:xfrm>
        </p:grpSpPr>
        <p:sp>
          <p:nvSpPr>
            <p:cNvPr id="17" name="Rectangle: Rounded Corners 16">
              <a:extLst>
                <a:ext uri="{FF2B5EF4-FFF2-40B4-BE49-F238E27FC236}">
                  <a16:creationId xmlns:a16="http://schemas.microsoft.com/office/drawing/2014/main" id="{1153A4A3-8571-4CE0-9707-5D3BC29E02DC}"/>
                </a:ext>
              </a:extLst>
            </p:cNvPr>
            <p:cNvSpPr/>
            <p:nvPr/>
          </p:nvSpPr>
          <p:spPr>
            <a:xfrm>
              <a:off x="867694" y="1803251"/>
              <a:ext cx="5413649" cy="1454853"/>
            </a:xfrm>
            <a:prstGeom prst="roundRect">
              <a:avLst>
                <a:gd name="adj" fmla="val 11112"/>
              </a:avLst>
            </a:prstGeom>
            <a:solidFill>
              <a:schemeClr val="bg1"/>
            </a:solidFill>
            <a:ln w="95250">
              <a:noFill/>
            </a:ln>
            <a:effectLst>
              <a:outerShdw blurRad="152400" dist="381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986FEB5E-4ACD-40D5-B403-7762E19D3B06}"/>
                </a:ext>
              </a:extLst>
            </p:cNvPr>
            <p:cNvSpPr txBox="1"/>
            <p:nvPr/>
          </p:nvSpPr>
          <p:spPr>
            <a:xfrm>
              <a:off x="2822691" y="1911749"/>
              <a:ext cx="3395252" cy="123110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a:ea typeface="+mn-ea"/>
                  <a:cs typeface="+mn-cs"/>
                </a:rPr>
                <a:t>Cult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a:ea typeface="+mn-ea"/>
                  <a:cs typeface="+mn-cs"/>
                </a:rPr>
                <a:t>Syste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a:ea typeface="+mn-ea"/>
                  <a:cs typeface="+mn-cs"/>
                </a:rPr>
                <a:t>Hardwa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Segoe UI"/>
                  <a:ea typeface="+mn-ea"/>
                  <a:cs typeface="+mn-cs"/>
                </a:rPr>
                <a:t>Training </a:t>
              </a:r>
            </a:p>
          </p:txBody>
        </p:sp>
        <p:sp>
          <p:nvSpPr>
            <p:cNvPr id="20" name="Rectangle: Top Corners Rounded 19">
              <a:extLst>
                <a:ext uri="{FF2B5EF4-FFF2-40B4-BE49-F238E27FC236}">
                  <a16:creationId xmlns:a16="http://schemas.microsoft.com/office/drawing/2014/main" id="{0F882359-F7BE-41FB-B0D3-AB207B0F8B3D}"/>
                </a:ext>
              </a:extLst>
            </p:cNvPr>
            <p:cNvSpPr/>
            <p:nvPr/>
          </p:nvSpPr>
          <p:spPr>
            <a:xfrm rot="16200000">
              <a:off x="1200877" y="1440568"/>
              <a:ext cx="1454853" cy="2180209"/>
            </a:xfrm>
            <a:prstGeom prst="round2Same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a:ea typeface="+mn-ea"/>
                <a:cs typeface="+mn-cs"/>
              </a:endParaRPr>
            </a:p>
          </p:txBody>
        </p:sp>
        <p:sp>
          <p:nvSpPr>
            <p:cNvPr id="41" name="TextBox 40">
              <a:extLst>
                <a:ext uri="{FF2B5EF4-FFF2-40B4-BE49-F238E27FC236}">
                  <a16:creationId xmlns:a16="http://schemas.microsoft.com/office/drawing/2014/main" id="{46A99833-B1FC-491C-968D-369F026BABDE}"/>
                </a:ext>
              </a:extLst>
            </p:cNvPr>
            <p:cNvSpPr txBox="1"/>
            <p:nvPr/>
          </p:nvSpPr>
          <p:spPr>
            <a:xfrm>
              <a:off x="867694" y="2191527"/>
              <a:ext cx="2150702"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C5289">
                      <a:lumMod val="60000"/>
                      <a:lumOff val="40000"/>
                    </a:srgbClr>
                  </a:solidFill>
                  <a:effectLst/>
                  <a:uLnTx/>
                  <a:uFillTx/>
                  <a:latin typeface="Segoe UI"/>
                  <a:ea typeface="+mn-ea"/>
                  <a:cs typeface="+mn-cs"/>
                </a:rPr>
                <a:t>Saf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C5289">
                      <a:lumMod val="60000"/>
                      <a:lumOff val="40000"/>
                    </a:srgbClr>
                  </a:solidFill>
                  <a:effectLst/>
                  <a:uLnTx/>
                  <a:uFillTx/>
                  <a:latin typeface="Segoe UI"/>
                  <a:ea typeface="+mn-ea"/>
                  <a:cs typeface="+mn-cs"/>
                </a:rPr>
                <a:t>Manufacturing</a:t>
              </a:r>
            </a:p>
          </p:txBody>
        </p:sp>
      </p:grpSp>
      <p:sp>
        <p:nvSpPr>
          <p:cNvPr id="26" name="Footer Placeholder 3">
            <a:extLst>
              <a:ext uri="{FF2B5EF4-FFF2-40B4-BE49-F238E27FC236}">
                <a16:creationId xmlns:a16="http://schemas.microsoft.com/office/drawing/2014/main" id="{FED6C8B7-2045-46E4-A95F-8A8900E9A4D1}"/>
              </a:ext>
            </a:extLst>
          </p:cNvPr>
          <p:cNvSpPr>
            <a:spLocks noGrp="1"/>
          </p:cNvSpPr>
          <p:nvPr>
            <p:ph type="ftr" sz="quarter" idx="11"/>
          </p:nvPr>
        </p:nvSpPr>
        <p:spPr>
          <a:xfrm>
            <a:off x="6361043" y="6356350"/>
            <a:ext cx="461507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Segoe UI"/>
                <a:ea typeface="+mn-ea"/>
                <a:cs typeface="+mn-cs"/>
              </a:rPr>
              <a:t>Copyright © 2005-2024  Inventys Research Company, All Rights Reserved. </a:t>
            </a:r>
          </a:p>
        </p:txBody>
      </p:sp>
    </p:spTree>
    <p:extLst>
      <p:ext uri="{BB962C8B-B14F-4D97-AF65-F5344CB8AC3E}">
        <p14:creationId xmlns:p14="http://schemas.microsoft.com/office/powerpoint/2010/main" val="26587072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F265F4F-1DE6-EBA1-658E-718145880EC9}"/>
              </a:ext>
            </a:extLst>
          </p:cNvPr>
          <p:cNvSpPr>
            <a:spLocks noGrp="1"/>
          </p:cNvSpPr>
          <p:nvPr>
            <p:ph type="title"/>
          </p:nvPr>
        </p:nvSpPr>
        <p:spPr>
          <a:xfrm>
            <a:off x="466722" y="586855"/>
            <a:ext cx="3201366" cy="5521401"/>
          </a:xfrm>
        </p:spPr>
        <p:txBody>
          <a:bodyPr anchor="b">
            <a:normAutofit/>
          </a:bodyPr>
          <a:lstStyle/>
          <a:p>
            <a:pPr algn="r"/>
            <a:r>
              <a:rPr lang="en-US" sz="4000" dirty="0">
                <a:solidFill>
                  <a:schemeClr val="bg1"/>
                </a:solidFill>
                <a:latin typeface="Verdana" panose="020B0604030504040204" pitchFamily="34" charset="0"/>
                <a:ea typeface="Verdana" panose="020B0604030504040204" pitchFamily="34" charset="0"/>
                <a:cs typeface="Verdana" panose="020B0604030504040204" pitchFamily="34" charset="0"/>
              </a:rPr>
              <a:t>New Capacities</a:t>
            </a:r>
          </a:p>
        </p:txBody>
      </p:sp>
      <p:graphicFrame>
        <p:nvGraphicFramePr>
          <p:cNvPr id="22" name="Content Placeholder 2">
            <a:extLst>
              <a:ext uri="{FF2B5EF4-FFF2-40B4-BE49-F238E27FC236}">
                <a16:creationId xmlns:a16="http://schemas.microsoft.com/office/drawing/2014/main" id="{88908868-341D-29BE-EB64-6DF811531379}"/>
              </a:ext>
            </a:extLst>
          </p:cNvPr>
          <p:cNvGraphicFramePr>
            <a:graphicFrameLocks noGrp="1"/>
          </p:cNvGraphicFramePr>
          <p:nvPr>
            <p:ph idx="1"/>
          </p:nvPr>
        </p:nvGraphicFramePr>
        <p:xfrm>
          <a:off x="4810259" y="649480"/>
          <a:ext cx="6555347" cy="55460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165837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84A9CE-4041-4C6A-9CF6-D3C83EC259F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object 3">
            <a:extLst>
              <a:ext uri="{FF2B5EF4-FFF2-40B4-BE49-F238E27FC236}">
                <a16:creationId xmlns:a16="http://schemas.microsoft.com/office/drawing/2014/main" id="{915E07A3-ED80-49D4-8D31-0421231336D8}"/>
              </a:ext>
            </a:extLst>
          </p:cNvPr>
          <p:cNvSpPr txBox="1"/>
          <p:nvPr/>
        </p:nvSpPr>
        <p:spPr>
          <a:xfrm>
            <a:off x="10156063" y="180601"/>
            <a:ext cx="1543685" cy="299720"/>
          </a:xfrm>
          <a:prstGeom prst="rect">
            <a:avLst/>
          </a:prstGeom>
        </p:spPr>
        <p:txBody>
          <a:bodyPr vert="horz" wrap="square" lIns="0" tIns="12700" rIns="0" bIns="0" rtlCol="0">
            <a:spAutoFit/>
          </a:bodyPr>
          <a:lstStyle>
            <a:def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IN" sz="1800" b="0" i="0" u="none" strike="noStrike" kern="0" cap="none" spc="-10" normalizeH="0" baseline="0" noProof="0" dirty="0">
                <a:ln>
                  <a:noFill/>
                </a:ln>
                <a:solidFill>
                  <a:srgbClr val="FFFF00"/>
                </a:solidFill>
                <a:effectLst/>
                <a:uLnTx/>
                <a:uFillTx/>
                <a:latin typeface="Carlito"/>
                <a:cs typeface="Carlito"/>
              </a:rPr>
              <a:t>June 2024</a:t>
            </a:r>
            <a:endParaRPr kumimoji="0" lang="en-IN" sz="1800" b="0" i="0" u="none" strike="noStrike" kern="0" cap="none" spc="0" normalizeH="0" baseline="0" noProof="0" dirty="0">
              <a:ln>
                <a:noFill/>
              </a:ln>
              <a:solidFill>
                <a:srgbClr val="FFFF00"/>
              </a:solidFill>
              <a:effectLst/>
              <a:uLnTx/>
              <a:uFillTx/>
              <a:latin typeface="Carlito"/>
              <a:cs typeface="Carlito"/>
            </a:endParaRPr>
          </a:p>
        </p:txBody>
      </p:sp>
      <p:sp>
        <p:nvSpPr>
          <p:cNvPr id="8" name="object 2">
            <a:extLst>
              <a:ext uri="{FF2B5EF4-FFF2-40B4-BE49-F238E27FC236}">
                <a16:creationId xmlns:a16="http://schemas.microsoft.com/office/drawing/2014/main" id="{F5C89F4D-EC7C-41D0-AA3D-917ACCB36209}"/>
              </a:ext>
            </a:extLst>
          </p:cNvPr>
          <p:cNvSpPr txBox="1"/>
          <p:nvPr/>
        </p:nvSpPr>
        <p:spPr>
          <a:xfrm>
            <a:off x="158872" y="170009"/>
            <a:ext cx="4852670" cy="299720"/>
          </a:xfrm>
          <a:prstGeom prst="rect">
            <a:avLst/>
          </a:prstGeom>
        </p:spPr>
        <p:txBody>
          <a:bodyPr vert="horz" wrap="square" lIns="0" tIns="12700" rIns="0" bIns="0" rtlCol="0">
            <a:spAutoFit/>
          </a:bodyPr>
          <a:lstStyle>
            <a:def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800" b="0" i="0" u="none" strike="noStrike" kern="0" cap="none" spc="0" normalizeH="0" baseline="0" noProof="0" dirty="0">
                <a:ln>
                  <a:noFill/>
                </a:ln>
                <a:solidFill>
                  <a:srgbClr val="FFFF00"/>
                </a:solidFill>
                <a:effectLst/>
                <a:uLnTx/>
                <a:uFillTx/>
                <a:latin typeface="Carlito"/>
                <a:cs typeface="Carlito"/>
              </a:rPr>
              <a:t>Inventys New Sites 2 &amp; 3</a:t>
            </a:r>
            <a:endParaRPr kumimoji="0" sz="1800" b="0" i="0" u="none" strike="noStrike" kern="0" cap="none" spc="0" normalizeH="0" baseline="0" noProof="0" dirty="0">
              <a:ln>
                <a:noFill/>
              </a:ln>
              <a:solidFill>
                <a:srgbClr val="FFFF00"/>
              </a:solidFill>
              <a:effectLst/>
              <a:uLnTx/>
              <a:uFillTx/>
              <a:latin typeface="Carlito"/>
              <a:cs typeface="Carlito"/>
            </a:endParaRPr>
          </a:p>
        </p:txBody>
      </p:sp>
      <p:sp>
        <p:nvSpPr>
          <p:cNvPr id="9" name="Slide Number Placeholder 4">
            <a:extLst>
              <a:ext uri="{FF2B5EF4-FFF2-40B4-BE49-F238E27FC236}">
                <a16:creationId xmlns:a16="http://schemas.microsoft.com/office/drawing/2014/main" id="{3041A762-6D78-4CAB-843A-7CA1ABC51CA3}"/>
              </a:ext>
            </a:extLst>
          </p:cNvPr>
          <p:cNvSpPr txBox="1">
            <a:spLocks/>
          </p:cNvSpPr>
          <p:nvPr/>
        </p:nvSpPr>
        <p:spPr>
          <a:xfrm>
            <a:off x="11072190" y="6356350"/>
            <a:ext cx="28160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8427212B-DAB7-41D9-8B3C-111279E9B140}" type="slidenum">
              <a:rPr lang="en-US" sz="1050" smtClean="0">
                <a:solidFill>
                  <a:prstClr val="white"/>
                </a:solidFill>
                <a:latin typeface="Segoe UI"/>
              </a:rPr>
              <a:pPr algn="r">
                <a:defRPr/>
              </a:pPr>
              <a:t>6</a:t>
            </a:fld>
            <a:endParaRPr lang="en-US" sz="1050" dirty="0">
              <a:solidFill>
                <a:prstClr val="white"/>
              </a:solidFill>
              <a:latin typeface="Segoe UI"/>
            </a:endParaRPr>
          </a:p>
        </p:txBody>
      </p:sp>
      <p:sp>
        <p:nvSpPr>
          <p:cNvPr id="10" name="Footer Placeholder 3">
            <a:extLst>
              <a:ext uri="{FF2B5EF4-FFF2-40B4-BE49-F238E27FC236}">
                <a16:creationId xmlns:a16="http://schemas.microsoft.com/office/drawing/2014/main" id="{9B66066E-FBA1-4B84-94B2-C1A21B3863BC}"/>
              </a:ext>
            </a:extLst>
          </p:cNvPr>
          <p:cNvSpPr txBox="1">
            <a:spLocks/>
          </p:cNvSpPr>
          <p:nvPr/>
        </p:nvSpPr>
        <p:spPr>
          <a:xfrm>
            <a:off x="6361043" y="6356350"/>
            <a:ext cx="461507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050">
                <a:solidFill>
                  <a:prstClr val="white"/>
                </a:solidFill>
                <a:latin typeface="Segoe UI"/>
              </a:rPr>
              <a:t>Copyright © 2005-2024  Inventys Research Company, All Rights Reserved. </a:t>
            </a:r>
            <a:endParaRPr lang="en-US" sz="1050" dirty="0">
              <a:solidFill>
                <a:prstClr val="white"/>
              </a:solidFill>
              <a:latin typeface="Segoe UI"/>
            </a:endParaRPr>
          </a:p>
        </p:txBody>
      </p:sp>
    </p:spTree>
    <p:extLst>
      <p:ext uri="{BB962C8B-B14F-4D97-AF65-F5344CB8AC3E}">
        <p14:creationId xmlns:p14="http://schemas.microsoft.com/office/powerpoint/2010/main" val="380045819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9C5083E-6915-4A5D-AB5D-6409CEB72FF5}"/>
              </a:ext>
            </a:extLst>
          </p:cNvPr>
          <p:cNvPicPr>
            <a:picLocks noChangeAspect="1"/>
          </p:cNvPicPr>
          <p:nvPr/>
        </p:nvPicPr>
        <p:blipFill>
          <a:blip r:embed="rId2"/>
          <a:stretch>
            <a:fillRect/>
          </a:stretch>
        </p:blipFill>
        <p:spPr>
          <a:xfrm>
            <a:off x="-1" y="-1"/>
            <a:ext cx="12192001" cy="6858001"/>
          </a:xfrm>
          <a:prstGeom prst="rect">
            <a:avLst/>
          </a:prstGeom>
        </p:spPr>
      </p:pic>
      <p:sp>
        <p:nvSpPr>
          <p:cNvPr id="7" name="object 3">
            <a:extLst>
              <a:ext uri="{FF2B5EF4-FFF2-40B4-BE49-F238E27FC236}">
                <a16:creationId xmlns:a16="http://schemas.microsoft.com/office/drawing/2014/main" id="{915E07A3-ED80-49D4-8D31-0421231336D8}"/>
              </a:ext>
            </a:extLst>
          </p:cNvPr>
          <p:cNvSpPr txBox="1"/>
          <p:nvPr/>
        </p:nvSpPr>
        <p:spPr>
          <a:xfrm>
            <a:off x="10156063" y="180601"/>
            <a:ext cx="1543685" cy="299720"/>
          </a:xfrm>
          <a:prstGeom prst="rect">
            <a:avLst/>
          </a:prstGeom>
        </p:spPr>
        <p:txBody>
          <a:bodyPr vert="horz" wrap="square" lIns="0" tIns="12700" rIns="0" bIns="0" rtlCol="0">
            <a:spAutoFit/>
          </a:bodyPr>
          <a:lstStyle>
            <a:def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IN" sz="1800" b="0" i="0" u="none" strike="noStrike" kern="0" cap="none" spc="-10" normalizeH="0" baseline="0" noProof="0" dirty="0">
                <a:ln>
                  <a:noFill/>
                </a:ln>
                <a:solidFill>
                  <a:srgbClr val="FFFF00"/>
                </a:solidFill>
                <a:effectLst/>
                <a:uLnTx/>
                <a:uFillTx/>
                <a:latin typeface="Carlito"/>
                <a:cs typeface="Carlito"/>
              </a:rPr>
              <a:t>June 2024</a:t>
            </a:r>
            <a:endParaRPr kumimoji="0" lang="en-IN" sz="1800" b="0" i="0" u="none" strike="noStrike" kern="0" cap="none" spc="0" normalizeH="0" baseline="0" noProof="0" dirty="0">
              <a:ln>
                <a:noFill/>
              </a:ln>
              <a:solidFill>
                <a:srgbClr val="FFFF00"/>
              </a:solidFill>
              <a:effectLst/>
              <a:uLnTx/>
              <a:uFillTx/>
              <a:latin typeface="Carlito"/>
              <a:cs typeface="Carlito"/>
            </a:endParaRPr>
          </a:p>
        </p:txBody>
      </p:sp>
      <p:sp>
        <p:nvSpPr>
          <p:cNvPr id="8" name="object 2">
            <a:extLst>
              <a:ext uri="{FF2B5EF4-FFF2-40B4-BE49-F238E27FC236}">
                <a16:creationId xmlns:a16="http://schemas.microsoft.com/office/drawing/2014/main" id="{F5C89F4D-EC7C-41D0-AA3D-917ACCB36209}"/>
              </a:ext>
            </a:extLst>
          </p:cNvPr>
          <p:cNvSpPr txBox="1"/>
          <p:nvPr/>
        </p:nvSpPr>
        <p:spPr>
          <a:xfrm>
            <a:off x="158872" y="170009"/>
            <a:ext cx="4852670" cy="299720"/>
          </a:xfrm>
          <a:prstGeom prst="rect">
            <a:avLst/>
          </a:prstGeom>
        </p:spPr>
        <p:txBody>
          <a:bodyPr vert="horz" wrap="square" lIns="0" tIns="12700" rIns="0" bIns="0" rtlCol="0">
            <a:spAutoFit/>
          </a:bodyPr>
          <a:lstStyle>
            <a:def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800" b="0" i="0" u="none" strike="noStrike" kern="0" cap="none" spc="0" normalizeH="0" baseline="0" noProof="0" dirty="0">
                <a:ln>
                  <a:noFill/>
                </a:ln>
                <a:solidFill>
                  <a:srgbClr val="FFFF00"/>
                </a:solidFill>
                <a:effectLst/>
                <a:uLnTx/>
                <a:uFillTx/>
                <a:latin typeface="Carlito"/>
                <a:cs typeface="Carlito"/>
              </a:rPr>
              <a:t>Inventys New Site 2 – Intermediates &amp; Actives</a:t>
            </a:r>
            <a:endParaRPr kumimoji="0" sz="1800" b="0" i="0" u="none" strike="noStrike" kern="0" cap="none" spc="0" normalizeH="0" baseline="0" noProof="0" dirty="0">
              <a:ln>
                <a:noFill/>
              </a:ln>
              <a:solidFill>
                <a:srgbClr val="FFFF00"/>
              </a:solidFill>
              <a:effectLst/>
              <a:uLnTx/>
              <a:uFillTx/>
              <a:latin typeface="Carlito"/>
              <a:cs typeface="Carlito"/>
            </a:endParaRPr>
          </a:p>
        </p:txBody>
      </p:sp>
      <p:sp>
        <p:nvSpPr>
          <p:cNvPr id="6" name="Slide Number Placeholder 4">
            <a:extLst>
              <a:ext uri="{FF2B5EF4-FFF2-40B4-BE49-F238E27FC236}">
                <a16:creationId xmlns:a16="http://schemas.microsoft.com/office/drawing/2014/main" id="{84AB3D7E-7CA3-4947-9DBD-9CA96F76E498}"/>
              </a:ext>
            </a:extLst>
          </p:cNvPr>
          <p:cNvSpPr txBox="1">
            <a:spLocks/>
          </p:cNvSpPr>
          <p:nvPr/>
        </p:nvSpPr>
        <p:spPr>
          <a:xfrm>
            <a:off x="11072190" y="6356350"/>
            <a:ext cx="28160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8427212B-DAB7-41D9-8B3C-111279E9B140}" type="slidenum">
              <a:rPr lang="en-US" sz="1050" smtClean="0">
                <a:solidFill>
                  <a:prstClr val="white"/>
                </a:solidFill>
                <a:latin typeface="Segoe UI"/>
              </a:rPr>
              <a:pPr algn="r">
                <a:defRPr/>
              </a:pPr>
              <a:t>7</a:t>
            </a:fld>
            <a:endParaRPr lang="en-US" sz="1050" dirty="0">
              <a:solidFill>
                <a:prstClr val="white"/>
              </a:solidFill>
              <a:latin typeface="Segoe UI"/>
            </a:endParaRPr>
          </a:p>
        </p:txBody>
      </p:sp>
      <p:sp>
        <p:nvSpPr>
          <p:cNvPr id="9" name="Footer Placeholder 3">
            <a:extLst>
              <a:ext uri="{FF2B5EF4-FFF2-40B4-BE49-F238E27FC236}">
                <a16:creationId xmlns:a16="http://schemas.microsoft.com/office/drawing/2014/main" id="{BAEE4D8A-2E4B-4026-AE0E-52EE35FD6D7A}"/>
              </a:ext>
            </a:extLst>
          </p:cNvPr>
          <p:cNvSpPr txBox="1">
            <a:spLocks/>
          </p:cNvSpPr>
          <p:nvPr/>
        </p:nvSpPr>
        <p:spPr>
          <a:xfrm>
            <a:off x="6361043" y="6356350"/>
            <a:ext cx="461507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050">
                <a:solidFill>
                  <a:prstClr val="white"/>
                </a:solidFill>
                <a:latin typeface="Segoe UI"/>
              </a:rPr>
              <a:t>Copyright © 2005-2024  Inventys Research Company, All Rights Reserved. </a:t>
            </a:r>
            <a:endParaRPr lang="en-US" sz="1050" dirty="0">
              <a:solidFill>
                <a:prstClr val="white"/>
              </a:solidFill>
              <a:latin typeface="Segoe UI"/>
            </a:endParaRP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00AA8DB-4A62-4CE8-A9CE-7F4B3E82F56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object 3">
            <a:extLst>
              <a:ext uri="{FF2B5EF4-FFF2-40B4-BE49-F238E27FC236}">
                <a16:creationId xmlns:a16="http://schemas.microsoft.com/office/drawing/2014/main" id="{915E07A3-ED80-49D4-8D31-0421231336D8}"/>
              </a:ext>
            </a:extLst>
          </p:cNvPr>
          <p:cNvSpPr txBox="1"/>
          <p:nvPr/>
        </p:nvSpPr>
        <p:spPr>
          <a:xfrm>
            <a:off x="10156063" y="180601"/>
            <a:ext cx="1543685" cy="299720"/>
          </a:xfrm>
          <a:prstGeom prst="rect">
            <a:avLst/>
          </a:prstGeom>
        </p:spPr>
        <p:txBody>
          <a:bodyPr vert="horz" wrap="square" lIns="0" tIns="12700" rIns="0" bIns="0" rtlCol="0">
            <a:spAutoFit/>
          </a:bodyPr>
          <a:lstStyle>
            <a:def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IN" sz="1800" b="0" i="0" u="none" strike="noStrike" kern="0" cap="none" spc="-10" normalizeH="0" baseline="0" noProof="0" dirty="0">
                <a:ln>
                  <a:noFill/>
                </a:ln>
                <a:solidFill>
                  <a:srgbClr val="FFFF00"/>
                </a:solidFill>
                <a:effectLst/>
                <a:uLnTx/>
                <a:uFillTx/>
                <a:latin typeface="Carlito"/>
                <a:cs typeface="Carlito"/>
              </a:rPr>
              <a:t>June 2024</a:t>
            </a:r>
            <a:endParaRPr kumimoji="0" lang="en-IN" sz="1800" b="0" i="0" u="none" strike="noStrike" kern="0" cap="none" spc="0" normalizeH="0" baseline="0" noProof="0" dirty="0">
              <a:ln>
                <a:noFill/>
              </a:ln>
              <a:solidFill>
                <a:srgbClr val="FFFF00"/>
              </a:solidFill>
              <a:effectLst/>
              <a:uLnTx/>
              <a:uFillTx/>
              <a:latin typeface="Carlito"/>
              <a:cs typeface="Carlito"/>
            </a:endParaRPr>
          </a:p>
        </p:txBody>
      </p:sp>
      <p:sp>
        <p:nvSpPr>
          <p:cNvPr id="8" name="object 2">
            <a:extLst>
              <a:ext uri="{FF2B5EF4-FFF2-40B4-BE49-F238E27FC236}">
                <a16:creationId xmlns:a16="http://schemas.microsoft.com/office/drawing/2014/main" id="{F5C89F4D-EC7C-41D0-AA3D-917ACCB36209}"/>
              </a:ext>
            </a:extLst>
          </p:cNvPr>
          <p:cNvSpPr txBox="1"/>
          <p:nvPr/>
        </p:nvSpPr>
        <p:spPr>
          <a:xfrm>
            <a:off x="158872" y="170009"/>
            <a:ext cx="4852670" cy="289823"/>
          </a:xfrm>
          <a:prstGeom prst="rect">
            <a:avLst/>
          </a:prstGeom>
        </p:spPr>
        <p:txBody>
          <a:bodyPr vert="horz" wrap="square" lIns="0" tIns="12700" rIns="0" bIns="0" rtlCol="0">
            <a:spAutoFit/>
          </a:bodyPr>
          <a:lstStyle>
            <a:def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800" b="0" i="0" u="none" strike="noStrike" kern="0" cap="none" spc="0" normalizeH="0" baseline="0" noProof="0" dirty="0">
                <a:ln>
                  <a:noFill/>
                </a:ln>
                <a:solidFill>
                  <a:srgbClr val="FFFF00"/>
                </a:solidFill>
                <a:effectLst/>
                <a:uLnTx/>
                <a:uFillTx/>
                <a:latin typeface="Carlito"/>
                <a:cs typeface="Carlito"/>
              </a:rPr>
              <a:t>Inventys New Site 3 - Herbicides</a:t>
            </a:r>
            <a:endParaRPr kumimoji="0" sz="1800" b="0" i="0" u="none" strike="noStrike" kern="0" cap="none" spc="0" normalizeH="0" baseline="0" noProof="0" dirty="0">
              <a:ln>
                <a:noFill/>
              </a:ln>
              <a:solidFill>
                <a:srgbClr val="FFFF00"/>
              </a:solidFill>
              <a:effectLst/>
              <a:uLnTx/>
              <a:uFillTx/>
              <a:latin typeface="Carlito"/>
              <a:cs typeface="Carlito"/>
            </a:endParaRPr>
          </a:p>
        </p:txBody>
      </p:sp>
      <p:sp>
        <p:nvSpPr>
          <p:cNvPr id="9" name="Slide Number Placeholder 4">
            <a:extLst>
              <a:ext uri="{FF2B5EF4-FFF2-40B4-BE49-F238E27FC236}">
                <a16:creationId xmlns:a16="http://schemas.microsoft.com/office/drawing/2014/main" id="{15090212-4192-4817-945A-671861219E36}"/>
              </a:ext>
            </a:extLst>
          </p:cNvPr>
          <p:cNvSpPr txBox="1">
            <a:spLocks/>
          </p:cNvSpPr>
          <p:nvPr/>
        </p:nvSpPr>
        <p:spPr>
          <a:xfrm>
            <a:off x="11072190" y="6356350"/>
            <a:ext cx="28160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8427212B-DAB7-41D9-8B3C-111279E9B140}" type="slidenum">
              <a:rPr lang="en-US" sz="1050" smtClean="0">
                <a:solidFill>
                  <a:prstClr val="white"/>
                </a:solidFill>
                <a:latin typeface="Segoe UI"/>
              </a:rPr>
              <a:pPr algn="r">
                <a:defRPr/>
              </a:pPr>
              <a:t>8</a:t>
            </a:fld>
            <a:endParaRPr lang="en-US" sz="1050" dirty="0">
              <a:solidFill>
                <a:prstClr val="white"/>
              </a:solidFill>
              <a:latin typeface="Segoe UI"/>
            </a:endParaRPr>
          </a:p>
        </p:txBody>
      </p:sp>
      <p:sp>
        <p:nvSpPr>
          <p:cNvPr id="10" name="Footer Placeholder 3">
            <a:extLst>
              <a:ext uri="{FF2B5EF4-FFF2-40B4-BE49-F238E27FC236}">
                <a16:creationId xmlns:a16="http://schemas.microsoft.com/office/drawing/2014/main" id="{1294AE3D-36AD-477A-A02D-147A65B994C7}"/>
              </a:ext>
            </a:extLst>
          </p:cNvPr>
          <p:cNvSpPr txBox="1">
            <a:spLocks/>
          </p:cNvSpPr>
          <p:nvPr/>
        </p:nvSpPr>
        <p:spPr>
          <a:xfrm>
            <a:off x="6361043" y="6356350"/>
            <a:ext cx="461507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050">
                <a:solidFill>
                  <a:prstClr val="white"/>
                </a:solidFill>
                <a:latin typeface="Segoe UI"/>
              </a:rPr>
              <a:t>Copyright © 2005-2024  Inventys Research Company, All Rights Reserved. </a:t>
            </a:r>
            <a:endParaRPr lang="en-US" sz="1050" dirty="0">
              <a:solidFill>
                <a:prstClr val="white"/>
              </a:solidFill>
              <a:latin typeface="Segoe UI"/>
            </a:endParaRPr>
          </a:p>
        </p:txBody>
      </p:sp>
    </p:spTree>
    <p:extLst>
      <p:ext uri="{BB962C8B-B14F-4D97-AF65-F5344CB8AC3E}">
        <p14:creationId xmlns:p14="http://schemas.microsoft.com/office/powerpoint/2010/main" val="2683213434"/>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0EAA46-2304-4B55-BEE5-404066BCF4F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object 3">
            <a:extLst>
              <a:ext uri="{FF2B5EF4-FFF2-40B4-BE49-F238E27FC236}">
                <a16:creationId xmlns:a16="http://schemas.microsoft.com/office/drawing/2014/main" id="{915E07A3-ED80-49D4-8D31-0421231336D8}"/>
              </a:ext>
            </a:extLst>
          </p:cNvPr>
          <p:cNvSpPr txBox="1"/>
          <p:nvPr/>
        </p:nvSpPr>
        <p:spPr>
          <a:xfrm>
            <a:off x="10156063" y="180601"/>
            <a:ext cx="1543685" cy="299720"/>
          </a:xfrm>
          <a:prstGeom prst="rect">
            <a:avLst/>
          </a:prstGeom>
        </p:spPr>
        <p:txBody>
          <a:bodyPr vert="horz" wrap="square" lIns="0" tIns="12700" rIns="0" bIns="0" rtlCol="0">
            <a:spAutoFit/>
          </a:bodyPr>
          <a:lstStyle>
            <a:def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IN" sz="1800" b="0" i="0" u="none" strike="noStrike" kern="0" cap="none" spc="-10" normalizeH="0" baseline="0" noProof="0" dirty="0">
                <a:ln>
                  <a:noFill/>
                </a:ln>
                <a:solidFill>
                  <a:srgbClr val="FFFF00"/>
                </a:solidFill>
                <a:effectLst/>
                <a:uLnTx/>
                <a:uFillTx/>
                <a:latin typeface="Carlito"/>
                <a:cs typeface="Carlito"/>
              </a:rPr>
              <a:t>June 2024</a:t>
            </a:r>
            <a:endParaRPr kumimoji="0" lang="en-IN" sz="1800" b="0" i="0" u="none" strike="noStrike" kern="0" cap="none" spc="0" normalizeH="0" baseline="0" noProof="0" dirty="0">
              <a:ln>
                <a:noFill/>
              </a:ln>
              <a:solidFill>
                <a:srgbClr val="FFFF00"/>
              </a:solidFill>
              <a:effectLst/>
              <a:uLnTx/>
              <a:uFillTx/>
              <a:latin typeface="Carlito"/>
              <a:cs typeface="Carlito"/>
            </a:endParaRPr>
          </a:p>
        </p:txBody>
      </p:sp>
      <p:sp>
        <p:nvSpPr>
          <p:cNvPr id="8" name="object 2">
            <a:extLst>
              <a:ext uri="{FF2B5EF4-FFF2-40B4-BE49-F238E27FC236}">
                <a16:creationId xmlns:a16="http://schemas.microsoft.com/office/drawing/2014/main" id="{F5C89F4D-EC7C-41D0-AA3D-917ACCB36209}"/>
              </a:ext>
            </a:extLst>
          </p:cNvPr>
          <p:cNvSpPr txBox="1"/>
          <p:nvPr/>
        </p:nvSpPr>
        <p:spPr>
          <a:xfrm>
            <a:off x="158872" y="170009"/>
            <a:ext cx="6149252" cy="289823"/>
          </a:xfrm>
          <a:prstGeom prst="rect">
            <a:avLst/>
          </a:prstGeom>
        </p:spPr>
        <p:txBody>
          <a:bodyPr vert="horz" wrap="square" lIns="0" tIns="12700" rIns="0" bIns="0" rtlCol="0">
            <a:spAutoFit/>
          </a:bodyPr>
          <a:lstStyle>
            <a:def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800" b="0" i="0" u="none" strike="noStrike" kern="0" cap="none" spc="0" normalizeH="0" baseline="0" noProof="0" dirty="0">
                <a:ln>
                  <a:noFill/>
                </a:ln>
                <a:solidFill>
                  <a:srgbClr val="FFFF00"/>
                </a:solidFill>
                <a:effectLst/>
                <a:uLnTx/>
                <a:uFillTx/>
                <a:latin typeface="Carlito"/>
                <a:cs typeface="Carlito"/>
              </a:rPr>
              <a:t>Inventys New Sites 2 &amp; 3 – Production Blocks, Tank Farms, etc</a:t>
            </a:r>
            <a:endParaRPr kumimoji="0" sz="1800" b="0" i="0" u="none" strike="noStrike" kern="0" cap="none" spc="0" normalizeH="0" baseline="0" noProof="0" dirty="0">
              <a:ln>
                <a:noFill/>
              </a:ln>
              <a:solidFill>
                <a:srgbClr val="FFFF00"/>
              </a:solidFill>
              <a:effectLst/>
              <a:uLnTx/>
              <a:uFillTx/>
              <a:latin typeface="Carlito"/>
              <a:cs typeface="Carlito"/>
            </a:endParaRPr>
          </a:p>
        </p:txBody>
      </p:sp>
      <p:sp>
        <p:nvSpPr>
          <p:cNvPr id="9" name="Slide Number Placeholder 4">
            <a:extLst>
              <a:ext uri="{FF2B5EF4-FFF2-40B4-BE49-F238E27FC236}">
                <a16:creationId xmlns:a16="http://schemas.microsoft.com/office/drawing/2014/main" id="{4B6C29B5-6099-49E3-8DCD-3A134D742A26}"/>
              </a:ext>
            </a:extLst>
          </p:cNvPr>
          <p:cNvSpPr txBox="1">
            <a:spLocks/>
          </p:cNvSpPr>
          <p:nvPr/>
        </p:nvSpPr>
        <p:spPr>
          <a:xfrm>
            <a:off x="11072190" y="6356350"/>
            <a:ext cx="281609"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8427212B-DAB7-41D9-8B3C-111279E9B140}" type="slidenum">
              <a:rPr lang="en-US" sz="1050" smtClean="0">
                <a:solidFill>
                  <a:prstClr val="white"/>
                </a:solidFill>
                <a:latin typeface="Segoe UI"/>
              </a:rPr>
              <a:pPr algn="r">
                <a:defRPr/>
              </a:pPr>
              <a:t>9</a:t>
            </a:fld>
            <a:endParaRPr lang="en-US" sz="1050" dirty="0">
              <a:solidFill>
                <a:prstClr val="white"/>
              </a:solidFill>
              <a:latin typeface="Segoe UI"/>
            </a:endParaRPr>
          </a:p>
        </p:txBody>
      </p:sp>
      <p:sp>
        <p:nvSpPr>
          <p:cNvPr id="10" name="Footer Placeholder 3">
            <a:extLst>
              <a:ext uri="{FF2B5EF4-FFF2-40B4-BE49-F238E27FC236}">
                <a16:creationId xmlns:a16="http://schemas.microsoft.com/office/drawing/2014/main" id="{B01F3A85-604C-482B-8E4D-7CAC3F181855}"/>
              </a:ext>
            </a:extLst>
          </p:cNvPr>
          <p:cNvSpPr txBox="1">
            <a:spLocks/>
          </p:cNvSpPr>
          <p:nvPr/>
        </p:nvSpPr>
        <p:spPr>
          <a:xfrm>
            <a:off x="6361043" y="6356350"/>
            <a:ext cx="461507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050">
                <a:solidFill>
                  <a:prstClr val="white"/>
                </a:solidFill>
                <a:latin typeface="Segoe UI"/>
              </a:rPr>
              <a:t>Copyright © 2005-2024  Inventys Research Company, All Rights Reserved. </a:t>
            </a:r>
            <a:endParaRPr lang="en-US" sz="1050" dirty="0">
              <a:solidFill>
                <a:prstClr val="white"/>
              </a:solidFill>
              <a:latin typeface="Segoe UI"/>
            </a:endParaRPr>
          </a:p>
        </p:txBody>
      </p:sp>
    </p:spTree>
    <p:extLst>
      <p:ext uri="{BB962C8B-B14F-4D97-AF65-F5344CB8AC3E}">
        <p14:creationId xmlns:p14="http://schemas.microsoft.com/office/powerpoint/2010/main" val="35616938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5">
      <a:dk1>
        <a:sysClr val="windowText" lastClr="000000"/>
      </a:dk1>
      <a:lt1>
        <a:sysClr val="window" lastClr="FFFFFF"/>
      </a:lt1>
      <a:dk2>
        <a:srgbClr val="44546A"/>
      </a:dk2>
      <a:lt2>
        <a:srgbClr val="E7E6E6"/>
      </a:lt2>
      <a:accent1>
        <a:srgbClr val="1C5289"/>
      </a:accent1>
      <a:accent2>
        <a:srgbClr val="ACCF59"/>
      </a:accent2>
      <a:accent3>
        <a:srgbClr val="FBB425"/>
      </a:accent3>
      <a:accent4>
        <a:srgbClr val="00AFB9"/>
      </a:accent4>
      <a:accent5>
        <a:srgbClr val="ED6A5E"/>
      </a:accent5>
      <a:accent6>
        <a:srgbClr val="70AD47"/>
      </a:accent6>
      <a:hlink>
        <a:srgbClr val="0563C1"/>
      </a:hlink>
      <a:folHlink>
        <a:srgbClr val="954F72"/>
      </a:folHlink>
    </a:clrScheme>
    <a:fontScheme name="Custom 95">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Custom 124">
      <a:dk1>
        <a:sysClr val="windowText" lastClr="000000"/>
      </a:dk1>
      <a:lt1>
        <a:sysClr val="window" lastClr="FFFFFF"/>
      </a:lt1>
      <a:dk2>
        <a:srgbClr val="44546A"/>
      </a:dk2>
      <a:lt2>
        <a:srgbClr val="E7E6E6"/>
      </a:lt2>
      <a:accent1>
        <a:srgbClr val="A1CB45"/>
      </a:accent1>
      <a:accent2>
        <a:srgbClr val="FFC049"/>
      </a:accent2>
      <a:accent3>
        <a:srgbClr val="29528B"/>
      </a:accent3>
      <a:accent4>
        <a:srgbClr val="78806D"/>
      </a:accent4>
      <a:accent5>
        <a:srgbClr val="5B9BD5"/>
      </a:accent5>
      <a:accent6>
        <a:srgbClr val="70AD47"/>
      </a:accent6>
      <a:hlink>
        <a:srgbClr val="0563C1"/>
      </a:hlink>
      <a:folHlink>
        <a:srgbClr val="954F72"/>
      </a:folHlink>
    </a:clrScheme>
    <a:fontScheme name="Custom 45">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34C4DEA1-DC08-CD48-8DE0-8483BB9332DC}tf16401378</Template>
  <TotalTime>1290</TotalTime>
  <Words>2365</Words>
  <Application>Microsoft Office PowerPoint</Application>
  <PresentationFormat>Widescreen</PresentationFormat>
  <Paragraphs>401</Paragraphs>
  <Slides>24</Slides>
  <Notes>8</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8" baseType="lpstr">
      <vt:lpstr>Microsoft JhengHei UI</vt:lpstr>
      <vt:lpstr>Arial</vt:lpstr>
      <vt:lpstr>Calibri</vt:lpstr>
      <vt:lpstr>Calibri Light</vt:lpstr>
      <vt:lpstr>Carlito</vt:lpstr>
      <vt:lpstr>Microsoft Sans Serif</vt:lpstr>
      <vt:lpstr>Segoe UI</vt:lpstr>
      <vt:lpstr>Verdana</vt:lpstr>
      <vt:lpstr>Wingdings</vt:lpstr>
      <vt:lpstr>Office Theme</vt:lpstr>
      <vt:lpstr>2_Office Theme</vt:lpstr>
      <vt:lpstr>3_Office Theme</vt:lpstr>
      <vt:lpstr>1_Office Theme</vt:lpstr>
      <vt:lpstr>think-cell Slide</vt:lpstr>
      <vt:lpstr>Inventys - Sept 2024 Recent Developments</vt:lpstr>
      <vt:lpstr>PowerPoint Presentation</vt:lpstr>
      <vt:lpstr>Updates &amp; Recent Achievement  - Capacities  - Commercial Scale Chemistry  - Developments at Pilot &amp; Lab Scale  - Contracts &amp; Agreements – Pharma &amp; Agro  - Inventys Strengths</vt:lpstr>
      <vt:lpstr>Safety &amp; Sustainability</vt:lpstr>
      <vt:lpstr>New Capacities</vt:lpstr>
      <vt:lpstr>PowerPoint Presentation</vt:lpstr>
      <vt:lpstr>PowerPoint Presentation</vt:lpstr>
      <vt:lpstr>PowerPoint Presentation</vt:lpstr>
      <vt:lpstr>PowerPoint Presentation</vt:lpstr>
      <vt:lpstr>New Site 2 – Production Capacities (33% in 2024)</vt:lpstr>
      <vt:lpstr>New Site 3 – Production Capacities (40% in 2024)</vt:lpstr>
      <vt:lpstr>New Pilot Plant &amp; Kilo Plants   22 Reactors installed + 23 in future  </vt:lpstr>
      <vt:lpstr>Integrated Manufacturing Site 1 –  Pharma &amp; Specialty Chemicals</vt:lpstr>
      <vt:lpstr>Inventys Manufacturing Infrastructure</vt:lpstr>
      <vt:lpstr>New Chemistry</vt:lpstr>
      <vt:lpstr>New Chemistry  @ Commercial Scale</vt:lpstr>
      <vt:lpstr>New Chemistry  @ Lab/Pilot Scale</vt:lpstr>
      <vt:lpstr>Wide range of Chemistry / Hazardous Materials</vt:lpstr>
      <vt:lpstr>New Analytical Equipment</vt:lpstr>
      <vt:lpstr>New Business</vt:lpstr>
      <vt:lpstr>New Business in last 15 months  Exclusive Synthesis  +  CDMO  (42 more molecules in pipeline)</vt:lpstr>
      <vt:lpstr>New Business in 2023  Inventys Chemicals</vt:lpstr>
      <vt:lpstr>Inventys Proposition  Process Development &amp; Exclusive Synthesis</vt:lpstr>
      <vt:lpstr>Inventys  Strength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ventys for Corteva</dc:title>
  <dc:creator>Dr Deepak Birewar</dc:creator>
  <cp:lastModifiedBy>Dr Deepak Birewar</cp:lastModifiedBy>
  <cp:revision>89</cp:revision>
  <cp:lastPrinted>2024-01-31T14:24:42Z</cp:lastPrinted>
  <dcterms:created xsi:type="dcterms:W3CDTF">2023-08-18T14:50:58Z</dcterms:created>
  <dcterms:modified xsi:type="dcterms:W3CDTF">2024-09-04T11:37:41Z</dcterms:modified>
</cp:coreProperties>
</file>